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theme/theme2.xml" ContentType="application/vnd.openxmlformats-officedocument.theme+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236_98E0D14B.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6" r:id="rId1"/>
    <p:sldMasterId id="2147483648" r:id="rId2"/>
    <p:sldMasterId id="2147484595" r:id="rId3"/>
  </p:sldMasterIdLst>
  <p:notesMasterIdLst>
    <p:notesMasterId r:id="rId55"/>
  </p:notesMasterIdLst>
  <p:sldIdLst>
    <p:sldId id="280" r:id="rId4"/>
    <p:sldId id="283" r:id="rId5"/>
    <p:sldId id="638" r:id="rId6"/>
    <p:sldId id="637" r:id="rId7"/>
    <p:sldId id="545" r:id="rId8"/>
    <p:sldId id="616" r:id="rId9"/>
    <p:sldId id="556" r:id="rId10"/>
    <p:sldId id="552" r:id="rId11"/>
    <p:sldId id="555" r:id="rId12"/>
    <p:sldId id="554" r:id="rId13"/>
    <p:sldId id="558" r:id="rId14"/>
    <p:sldId id="553" r:id="rId15"/>
    <p:sldId id="546" r:id="rId16"/>
    <p:sldId id="583" r:id="rId17"/>
    <p:sldId id="584" r:id="rId18"/>
    <p:sldId id="566" r:id="rId19"/>
    <p:sldId id="642" r:id="rId20"/>
    <p:sldId id="565" r:id="rId21"/>
    <p:sldId id="622" r:id="rId22"/>
    <p:sldId id="617" r:id="rId23"/>
    <p:sldId id="577" r:id="rId24"/>
    <p:sldId id="564" r:id="rId25"/>
    <p:sldId id="563" r:id="rId26"/>
    <p:sldId id="630" r:id="rId27"/>
    <p:sldId id="581" r:id="rId28"/>
    <p:sldId id="591" r:id="rId29"/>
    <p:sldId id="631" r:id="rId30"/>
    <p:sldId id="580" r:id="rId31"/>
    <p:sldId id="590" r:id="rId32"/>
    <p:sldId id="589" r:id="rId33"/>
    <p:sldId id="588" r:id="rId34"/>
    <p:sldId id="587" r:id="rId35"/>
    <p:sldId id="632" r:id="rId36"/>
    <p:sldId id="579" r:id="rId37"/>
    <p:sldId id="586" r:id="rId38"/>
    <p:sldId id="633" r:id="rId39"/>
    <p:sldId id="578" r:id="rId40"/>
    <p:sldId id="585" r:id="rId41"/>
    <p:sldId id="548" r:id="rId42"/>
    <p:sldId id="551" r:id="rId43"/>
    <p:sldId id="550" r:id="rId44"/>
    <p:sldId id="549" r:id="rId45"/>
    <p:sldId id="560" r:id="rId46"/>
    <p:sldId id="643" r:id="rId47"/>
    <p:sldId id="646" r:id="rId48"/>
    <p:sldId id="647" r:id="rId49"/>
    <p:sldId id="648" r:id="rId50"/>
    <p:sldId id="562" r:id="rId51"/>
    <p:sldId id="326" r:id="rId52"/>
    <p:sldId id="649" r:id="rId53"/>
    <p:sldId id="639"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668F"/>
    <a:srgbClr val="000000"/>
    <a:srgbClr val="F4B03D"/>
    <a:srgbClr val="7030A0"/>
    <a:srgbClr val="D47FA1"/>
    <a:srgbClr val="4AB1B4"/>
    <a:srgbClr val="F9C0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41ED96-5143-9562-5248-833DF36573A1}" v="1" dt="2023-10-23T23:48:58.023"/>
    <p1510:client id="{11980D98-74D1-71E7-E86A-19E64303BD27}" v="153" dt="2023-10-30T16:12:53.918"/>
    <p1510:client id="{22D2D811-4E65-4C88-896C-E87684E0524E}" v="158" dt="2023-10-27T19:12:45.418"/>
    <p1510:client id="{2D3E1CBF-0F08-92B9-6543-9FE5E77E56E9}" v="418" dt="2023-10-28T14:57:28.029"/>
    <p1510:client id="{2F9B0802-2085-E0B0-3887-F6AEBA41C785}" v="19" dt="2023-10-27T20:01:53.166"/>
    <p1510:client id="{300BD813-CD9C-8649-0637-C0ACE24151DD}" v="50" dt="2023-10-26T17:23:46.185"/>
    <p1510:client id="{305AC9D0-E55A-2A1E-F2E7-EBEA3644D9AC}" v="84" dt="2023-10-24T16:00:52.345"/>
    <p1510:client id="{316D5976-A92B-4DA1-B7A8-34F7AEF9B15D}" v="4" dt="2023-10-25T16:12:34.060"/>
    <p1510:client id="{35DF06BD-25AA-054F-4D8F-840FED1FA1E6}" v="4" dt="2023-10-31T02:20:39.446"/>
    <p1510:client id="{36AFF060-5319-E6D5-0957-513AFAA6A2E5}" v="48" dt="2023-10-24T18:55:21.243"/>
    <p1510:client id="{3A3E4FEE-6F9B-7EC3-B167-3C31BBE96824}" v="665" dt="2023-10-31T16:46:24.892"/>
    <p1510:client id="{4159E2D1-1878-F778-C779-F53B58D257B9}" v="40" dt="2023-10-27T17:39:07.217"/>
    <p1510:client id="{524F6783-CF9C-A7C1-D142-27E8864BC3CB}" v="52" dt="2023-10-24T02:49:43.199"/>
    <p1510:client id="{525C70A3-2AD6-57EA-9F7E-A6FC0841DEBD}" v="24" dt="2023-10-23T23:00:26.391"/>
    <p1510:client id="{5DC65600-F3C9-4205-B138-3708EB0A1C1D}" v="1" dt="2023-05-09T18:50:49.614"/>
    <p1510:client id="{5DE63E3B-4DFC-BF24-AF99-6382A4D106A3}" v="8" dt="2023-11-10T15:45:51.115"/>
    <p1510:client id="{61DCECB8-FCC4-463F-180A-DE94BEA715D4}" v="482" dt="2023-10-30T22:49:41.685"/>
    <p1510:client id="{64CA3CFC-DFB9-4EB2-185A-94BBCF197F69}" v="12" dt="2023-10-31T18:53:06.815"/>
    <p1510:client id="{6F4BA6F9-4A5A-3B13-85C3-6DB0B61CBC00}" v="2882" dt="2023-10-24T15:58:08.213"/>
    <p1510:client id="{782B053E-75E5-959C-8BAD-C5B3CB312E1F}" v="9" dt="2023-10-27T17:32:56.380"/>
    <p1510:client id="{8024C570-7E9A-022B-CE90-C0FD861720C1}" v="843" dt="2023-10-23T23:03:36.862"/>
    <p1510:client id="{85CD7F39-8F26-7081-E17F-9CFE5E103D63}" v="54" dt="2023-10-24T19:03:39.508"/>
    <p1510:client id="{8E3BEBCA-AD6A-76DA-B8D3-33301DA82F27}" v="45" dt="2023-10-24T18:26:04.342"/>
    <p1510:client id="{8E54177A-FEA1-170D-0EA8-ABD6FF4ACD90}" v="42" dt="2023-10-30T19:44:29.502"/>
    <p1510:client id="{96B049F1-23A1-EFBD-700B-2889CC878206}" v="52" dt="2023-10-31T04:45:51.889"/>
    <p1510:client id="{9DE0ADE9-A0A8-D2EA-1EF2-AD3C089DDA7A}" v="252" dt="2023-10-19T17:41:58.437"/>
    <p1510:client id="{9EA480BD-2ABC-0E67-CCB3-672E9005EA21}" v="92" dt="2023-10-31T18:53:54.682"/>
    <p1510:client id="{AC5E249F-4AD8-EC7C-FB2F-902F01AC2000}" v="515" dt="2023-10-27T16:29:18.072"/>
    <p1510:client id="{AFE245F6-AF84-51BF-AB4C-88F7188B99E6}" v="85" dt="2023-10-31T20:15:08.574"/>
    <p1510:client id="{B4964270-B086-4309-6459-65EA28D1CB38}" v="3" dt="2023-10-26T06:44:01.652"/>
    <p1510:client id="{B6F32D0F-7EF8-C22A-D4AE-933B4E9674EC}" v="235" dt="2023-10-24T04:39:00.705"/>
    <p1510:client id="{BC047B72-8F18-01C2-FA60-A38A99380270}" v="753" dt="2023-10-31T04:33:13.284"/>
    <p1510:client id="{C3552A06-5909-6D3B-9B48-7F6146D07F3D}" v="154" dt="2023-10-30T19:52:09.301"/>
    <p1510:client id="{C766F19B-0830-AB8B-3618-23EF0AC64A24}" v="68" dt="2023-10-30T15:49:33.394"/>
    <p1510:client id="{C93D31B3-2B8C-DAAF-7090-3A2197BCB065}" v="274" dt="2023-10-27T21:32:15.542"/>
    <p1510:client id="{DC570ED0-804E-A0E2-5D93-D510896DFB64}" v="865" dt="2023-10-24T14:25:12.957"/>
    <p1510:client id="{FC194283-EEC6-0521-D05D-577D27A78776}" v="273" dt="2023-10-30T20:28:43.602"/>
    <p1510:client id="{FFAD42E9-C519-11DF-E299-D524098D897E}" v="54" dt="2023-10-24T02:47:59.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theme" Target="theme/theme1.xml"/><Relationship Id="rId5" Type="http://schemas.openxmlformats.org/officeDocument/2006/relationships/slide" Target="slides/slide2.xml"/><Relationship Id="rId61" Type="http://schemas.microsoft.com/office/2015/10/relationships/revisionInfo" Target="revisionInfo.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viewProps" Target="view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ena Lida Surenian" userId="S::als0813@ads.northwestern.edu::e2fd0e4e-6417-49b0-ab16-0ba26a1719f0" providerId="AD" clId="Web-{C3552A06-5909-6D3B-9B48-7F6146D07F3D}"/>
    <pc:docChg chg="addSld modSld sldOrd">
      <pc:chgData name="Aleena Lida Surenian" userId="S::als0813@ads.northwestern.edu::e2fd0e4e-6417-49b0-ab16-0ba26a1719f0" providerId="AD" clId="Web-{C3552A06-5909-6D3B-9B48-7F6146D07F3D}" dt="2023-10-30T19:52:03.786" v="107" actId="20577"/>
      <pc:docMkLst>
        <pc:docMk/>
      </pc:docMkLst>
      <pc:sldChg chg="modSp addCm">
        <pc:chgData name="Aleena Lida Surenian" userId="S::als0813@ads.northwestern.edu::e2fd0e4e-6417-49b0-ab16-0ba26a1719f0" providerId="AD" clId="Web-{C3552A06-5909-6D3B-9B48-7F6146D07F3D}" dt="2023-10-30T19:15:11.279" v="12" actId="1076"/>
        <pc:sldMkLst>
          <pc:docMk/>
          <pc:sldMk cId="4044691067" sldId="283"/>
        </pc:sldMkLst>
        <pc:spChg chg="mod">
          <ac:chgData name="Aleena Lida Surenian" userId="S::als0813@ads.northwestern.edu::e2fd0e4e-6417-49b0-ab16-0ba26a1719f0" providerId="AD" clId="Web-{C3552A06-5909-6D3B-9B48-7F6146D07F3D}" dt="2023-10-30T19:15:06.685" v="11" actId="1076"/>
          <ac:spMkLst>
            <pc:docMk/>
            <pc:sldMk cId="4044691067" sldId="283"/>
            <ac:spMk id="2" creationId="{00000000-0000-0000-0000-000000000000}"/>
          </ac:spMkLst>
        </pc:spChg>
        <pc:spChg chg="mod">
          <ac:chgData name="Aleena Lida Surenian" userId="S::als0813@ads.northwestern.edu::e2fd0e4e-6417-49b0-ab16-0ba26a1719f0" providerId="AD" clId="Web-{C3552A06-5909-6D3B-9B48-7F6146D07F3D}" dt="2023-10-30T19:15:11.279" v="12" actId="1076"/>
          <ac:spMkLst>
            <pc:docMk/>
            <pc:sldMk cId="4044691067" sldId="283"/>
            <ac:spMk id="3" creationId="{00000000-0000-0000-0000-000000000000}"/>
          </ac:spMkLst>
        </pc:spChg>
        <pc:spChg chg="mod">
          <ac:chgData name="Aleena Lida Surenian" userId="S::als0813@ads.northwestern.edu::e2fd0e4e-6417-49b0-ab16-0ba26a1719f0" providerId="AD" clId="Web-{C3552A06-5909-6D3B-9B48-7F6146D07F3D}" dt="2023-10-30T19:15:02.420" v="10" actId="14100"/>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add">
              <pc226:chgData name="Aleena Lida Surenian" userId="S::als0813@ads.northwestern.edu::e2fd0e4e-6417-49b0-ab16-0ba26a1719f0" providerId="AD" clId="Web-{C3552A06-5909-6D3B-9B48-7F6146D07F3D}" dt="2023-10-30T19:14:00.558" v="0"/>
              <pc2:cmMkLst xmlns:pc2="http://schemas.microsoft.com/office/powerpoint/2019/9/main/command">
                <pc:docMk/>
                <pc:sldMk cId="4044691067" sldId="283"/>
                <pc2:cmMk id="{51D99AE4-D60E-4433-99C8-10E7EA141D41}"/>
              </pc2:cmMkLst>
            </pc226:cmChg>
          </p:ext>
        </pc:extLst>
      </pc:sldChg>
      <pc:sldChg chg="modSp">
        <pc:chgData name="Aleena Lida Surenian" userId="S::als0813@ads.northwestern.edu::e2fd0e4e-6417-49b0-ab16-0ba26a1719f0" providerId="AD" clId="Web-{C3552A06-5909-6D3B-9B48-7F6146D07F3D}" dt="2023-10-30T19:26:16.305" v="23" actId="1076"/>
        <pc:sldMkLst>
          <pc:docMk/>
          <pc:sldMk cId="714682852" sldId="552"/>
        </pc:sldMkLst>
        <pc:spChg chg="mod">
          <ac:chgData name="Aleena Lida Surenian" userId="S::als0813@ads.northwestern.edu::e2fd0e4e-6417-49b0-ab16-0ba26a1719f0" providerId="AD" clId="Web-{C3552A06-5909-6D3B-9B48-7F6146D07F3D}" dt="2023-10-30T19:26:16.305" v="23" actId="1076"/>
          <ac:spMkLst>
            <pc:docMk/>
            <pc:sldMk cId="714682852" sldId="552"/>
            <ac:spMk id="3" creationId="{B5F4F3C7-3634-23BA-9CDD-53123F8398D7}"/>
          </ac:spMkLst>
        </pc:spChg>
      </pc:sldChg>
      <pc:sldChg chg="modSp">
        <pc:chgData name="Aleena Lida Surenian" userId="S::als0813@ads.northwestern.edu::e2fd0e4e-6417-49b0-ab16-0ba26a1719f0" providerId="AD" clId="Web-{C3552A06-5909-6D3B-9B48-7F6146D07F3D}" dt="2023-10-30T19:23:51.737" v="18" actId="20577"/>
        <pc:sldMkLst>
          <pc:docMk/>
          <pc:sldMk cId="1514756035" sldId="556"/>
        </pc:sldMkLst>
        <pc:spChg chg="mod">
          <ac:chgData name="Aleena Lida Surenian" userId="S::als0813@ads.northwestern.edu::e2fd0e4e-6417-49b0-ab16-0ba26a1719f0" providerId="AD" clId="Web-{C3552A06-5909-6D3B-9B48-7F6146D07F3D}" dt="2023-10-30T19:23:51.737" v="18" actId="20577"/>
          <ac:spMkLst>
            <pc:docMk/>
            <pc:sldMk cId="1514756035" sldId="556"/>
            <ac:spMk id="28" creationId="{8C1D734D-3C73-E6F6-D1A8-CF64A5F8112D}"/>
          </ac:spMkLst>
        </pc:spChg>
      </pc:sldChg>
      <pc:sldChg chg="modSp">
        <pc:chgData name="Aleena Lida Surenian" userId="S::als0813@ads.northwestern.edu::e2fd0e4e-6417-49b0-ab16-0ba26a1719f0" providerId="AD" clId="Web-{C3552A06-5909-6D3B-9B48-7F6146D07F3D}" dt="2023-10-30T19:52:03.786" v="107" actId="20577"/>
        <pc:sldMkLst>
          <pc:docMk/>
          <pc:sldMk cId="4283907660" sldId="580"/>
        </pc:sldMkLst>
        <pc:spChg chg="mod">
          <ac:chgData name="Aleena Lida Surenian" userId="S::als0813@ads.northwestern.edu::e2fd0e4e-6417-49b0-ab16-0ba26a1719f0" providerId="AD" clId="Web-{C3552A06-5909-6D3B-9B48-7F6146D07F3D}" dt="2023-10-30T19:52:03.786" v="107" actId="20577"/>
          <ac:spMkLst>
            <pc:docMk/>
            <pc:sldMk cId="4283907660" sldId="580"/>
            <ac:spMk id="68" creationId="{00000000-0000-0000-0000-000000000000}"/>
          </ac:spMkLst>
        </pc:spChg>
      </pc:sldChg>
      <pc:sldChg chg="addSp modSp">
        <pc:chgData name="Aleena Lida Surenian" userId="S::als0813@ads.northwestern.edu::e2fd0e4e-6417-49b0-ab16-0ba26a1719f0" providerId="AD" clId="Web-{C3552A06-5909-6D3B-9B48-7F6146D07F3D}" dt="2023-10-30T19:35:15.325" v="96" actId="1076"/>
        <pc:sldMkLst>
          <pc:docMk/>
          <pc:sldMk cId="3870927286" sldId="583"/>
        </pc:sldMkLst>
        <pc:spChg chg="mod">
          <ac:chgData name="Aleena Lida Surenian" userId="S::als0813@ads.northwestern.edu::e2fd0e4e-6417-49b0-ab16-0ba26a1719f0" providerId="AD" clId="Web-{C3552A06-5909-6D3B-9B48-7F6146D07F3D}" dt="2023-10-30T19:34:35.464" v="92" actId="20577"/>
          <ac:spMkLst>
            <pc:docMk/>
            <pc:sldMk cId="3870927286" sldId="583"/>
            <ac:spMk id="2" creationId="{00000000-0000-0000-0000-000000000000}"/>
          </ac:spMkLst>
        </pc:spChg>
        <pc:spChg chg="mod">
          <ac:chgData name="Aleena Lida Surenian" userId="S::als0813@ads.northwestern.edu::e2fd0e4e-6417-49b0-ab16-0ba26a1719f0" providerId="AD" clId="Web-{C3552A06-5909-6D3B-9B48-7F6146D07F3D}" dt="2023-10-30T19:33:12.274" v="60" actId="20577"/>
          <ac:spMkLst>
            <pc:docMk/>
            <pc:sldMk cId="3870927286" sldId="583"/>
            <ac:spMk id="12" creationId="{00000000-0000-0000-0000-000000000000}"/>
          </ac:spMkLst>
        </pc:spChg>
        <pc:spChg chg="mod">
          <ac:chgData name="Aleena Lida Surenian" userId="S::als0813@ads.northwestern.edu::e2fd0e4e-6417-49b0-ab16-0ba26a1719f0" providerId="AD" clId="Web-{C3552A06-5909-6D3B-9B48-7F6146D07F3D}" dt="2023-10-30T19:33:23.134" v="62" actId="20577"/>
          <ac:spMkLst>
            <pc:docMk/>
            <pc:sldMk cId="3870927286" sldId="583"/>
            <ac:spMk id="27" creationId="{00000000-0000-0000-0000-000000000000}"/>
          </ac:spMkLst>
        </pc:spChg>
        <pc:spChg chg="mod">
          <ac:chgData name="Aleena Lida Surenian" userId="S::als0813@ads.northwestern.edu::e2fd0e4e-6417-49b0-ab16-0ba26a1719f0" providerId="AD" clId="Web-{C3552A06-5909-6D3B-9B48-7F6146D07F3D}" dt="2023-10-30T19:33:39.494" v="65" actId="14100"/>
          <ac:spMkLst>
            <pc:docMk/>
            <pc:sldMk cId="3870927286" sldId="583"/>
            <ac:spMk id="39" creationId="{00000000-0000-0000-0000-000000000000}"/>
          </ac:spMkLst>
        </pc:spChg>
        <pc:picChg chg="add mod">
          <ac:chgData name="Aleena Lida Surenian" userId="S::als0813@ads.northwestern.edu::e2fd0e4e-6417-49b0-ab16-0ba26a1719f0" providerId="AD" clId="Web-{C3552A06-5909-6D3B-9B48-7F6146D07F3D}" dt="2023-10-30T19:35:15.325" v="96" actId="1076"/>
          <ac:picMkLst>
            <pc:docMk/>
            <pc:sldMk cId="3870927286" sldId="583"/>
            <ac:picMk id="18" creationId="{1199796C-BA73-A007-E570-EBC0C69CD679}"/>
          </ac:picMkLst>
        </pc:picChg>
      </pc:sldChg>
      <pc:sldChg chg="modSp">
        <pc:chgData name="Aleena Lida Surenian" userId="S::als0813@ads.northwestern.edu::e2fd0e4e-6417-49b0-ab16-0ba26a1719f0" providerId="AD" clId="Web-{C3552A06-5909-6D3B-9B48-7F6146D07F3D}" dt="2023-10-30T19:44:55.722" v="105" actId="1076"/>
        <pc:sldMkLst>
          <pc:docMk/>
          <pc:sldMk cId="629433230" sldId="591"/>
        </pc:sldMkLst>
        <pc:spChg chg="mod">
          <ac:chgData name="Aleena Lida Surenian" userId="S::als0813@ads.northwestern.edu::e2fd0e4e-6417-49b0-ab16-0ba26a1719f0" providerId="AD" clId="Web-{C3552A06-5909-6D3B-9B48-7F6146D07F3D}" dt="2023-10-30T19:44:50.566" v="104" actId="14100"/>
          <ac:spMkLst>
            <pc:docMk/>
            <pc:sldMk cId="629433230" sldId="591"/>
            <ac:spMk id="24" creationId="{82DED22A-2957-2107-97D2-7694FF88F0A5}"/>
          </ac:spMkLst>
        </pc:spChg>
        <pc:spChg chg="mod">
          <ac:chgData name="Aleena Lida Surenian" userId="S::als0813@ads.northwestern.edu::e2fd0e4e-6417-49b0-ab16-0ba26a1719f0" providerId="AD" clId="Web-{C3552A06-5909-6D3B-9B48-7F6146D07F3D}" dt="2023-10-30T19:44:55.722" v="105" actId="1076"/>
          <ac:spMkLst>
            <pc:docMk/>
            <pc:sldMk cId="629433230" sldId="591"/>
            <ac:spMk id="26" creationId="{7ADA2A22-B85F-E8A9-52B3-7FA1A111EB25}"/>
          </ac:spMkLst>
        </pc:spChg>
      </pc:sldChg>
      <pc:sldChg chg="mod modShow">
        <pc:chgData name="Aleena Lida Surenian" userId="S::als0813@ads.northwestern.edu::e2fd0e4e-6417-49b0-ab16-0ba26a1719f0" providerId="AD" clId="Web-{C3552A06-5909-6D3B-9B48-7F6146D07F3D}" dt="2023-10-30T19:17:10.971" v="14"/>
        <pc:sldMkLst>
          <pc:docMk/>
          <pc:sldMk cId="2628065282" sldId="597"/>
        </pc:sldMkLst>
      </pc:sldChg>
      <pc:sldChg chg="mod modShow">
        <pc:chgData name="Aleena Lida Surenian" userId="S::als0813@ads.northwestern.edu::e2fd0e4e-6417-49b0-ab16-0ba26a1719f0" providerId="AD" clId="Web-{C3552A06-5909-6D3B-9B48-7F6146D07F3D}" dt="2023-10-30T19:16:52.439" v="13"/>
        <pc:sldMkLst>
          <pc:docMk/>
          <pc:sldMk cId="1478149357" sldId="598"/>
        </pc:sldMkLst>
      </pc:sldChg>
      <pc:sldChg chg="modSp">
        <pc:chgData name="Aleena Lida Surenian" userId="S::als0813@ads.northwestern.edu::e2fd0e4e-6417-49b0-ab16-0ba26a1719f0" providerId="AD" clId="Web-{C3552A06-5909-6D3B-9B48-7F6146D07F3D}" dt="2023-10-30T19:19:19.586" v="17"/>
        <pc:sldMkLst>
          <pc:docMk/>
          <pc:sldMk cId="2470795492" sldId="599"/>
        </pc:sldMkLst>
        <pc:spChg chg="mod">
          <ac:chgData name="Aleena Lida Surenian" userId="S::als0813@ads.northwestern.edu::e2fd0e4e-6417-49b0-ab16-0ba26a1719f0" providerId="AD" clId="Web-{C3552A06-5909-6D3B-9B48-7F6146D07F3D}" dt="2023-10-30T19:19:19.586" v="17"/>
          <ac:spMkLst>
            <pc:docMk/>
            <pc:sldMk cId="2470795492" sldId="599"/>
            <ac:spMk id="16386" creationId="{00000000-0000-0000-0000-000000000000}"/>
          </ac:spMkLst>
        </pc:spChg>
      </pc:sldChg>
      <pc:sldChg chg="modSp">
        <pc:chgData name="Aleena Lida Surenian" userId="S::als0813@ads.northwestern.edu::e2fd0e4e-6417-49b0-ab16-0ba26a1719f0" providerId="AD" clId="Web-{C3552A06-5909-6D3B-9B48-7F6146D07F3D}" dt="2023-10-30T19:19:10.882" v="16"/>
        <pc:sldMkLst>
          <pc:docMk/>
          <pc:sldMk cId="2592767400" sldId="600"/>
        </pc:sldMkLst>
        <pc:spChg chg="mod">
          <ac:chgData name="Aleena Lida Surenian" userId="S::als0813@ads.northwestern.edu::e2fd0e4e-6417-49b0-ab16-0ba26a1719f0" providerId="AD" clId="Web-{C3552A06-5909-6D3B-9B48-7F6146D07F3D}" dt="2023-10-30T19:19:10.882" v="16"/>
          <ac:spMkLst>
            <pc:docMk/>
            <pc:sldMk cId="2592767400" sldId="600"/>
            <ac:spMk id="16386" creationId="{00000000-0000-0000-0000-000000000000}"/>
          </ac:spMkLst>
        </pc:spChg>
      </pc:sldChg>
      <pc:sldChg chg="modSp">
        <pc:chgData name="Aleena Lida Surenian" userId="S::als0813@ads.northwestern.edu::e2fd0e4e-6417-49b0-ab16-0ba26a1719f0" providerId="AD" clId="Web-{C3552A06-5909-6D3B-9B48-7F6146D07F3D}" dt="2023-10-30T19:17:40.566" v="15"/>
        <pc:sldMkLst>
          <pc:docMk/>
          <pc:sldMk cId="1011826885" sldId="602"/>
        </pc:sldMkLst>
        <pc:spChg chg="mod">
          <ac:chgData name="Aleena Lida Surenian" userId="S::als0813@ads.northwestern.edu::e2fd0e4e-6417-49b0-ab16-0ba26a1719f0" providerId="AD" clId="Web-{C3552A06-5909-6D3B-9B48-7F6146D07F3D}" dt="2023-10-30T19:17:40.566" v="15"/>
          <ac:spMkLst>
            <pc:docMk/>
            <pc:sldMk cId="1011826885" sldId="602"/>
            <ac:spMk id="16386" creationId="{00000000-0000-0000-0000-000000000000}"/>
          </ac:spMkLst>
        </pc:spChg>
      </pc:sldChg>
      <pc:sldChg chg="ord">
        <pc:chgData name="Aleena Lida Surenian" userId="S::als0813@ads.northwestern.edu::e2fd0e4e-6417-49b0-ab16-0ba26a1719f0" providerId="AD" clId="Web-{C3552A06-5909-6D3B-9B48-7F6146D07F3D}" dt="2023-10-30T19:24:26.644" v="19"/>
        <pc:sldMkLst>
          <pc:docMk/>
          <pc:sldMk cId="3726638559" sldId="616"/>
        </pc:sldMkLst>
      </pc:sldChg>
      <pc:sldChg chg="modSp new">
        <pc:chgData name="Aleena Lida Surenian" userId="S::als0813@ads.northwestern.edu::e2fd0e4e-6417-49b0-ab16-0ba26a1719f0" providerId="AD" clId="Web-{C3552A06-5909-6D3B-9B48-7F6146D07F3D}" dt="2023-10-30T19:29:50.454" v="27" actId="20577"/>
        <pc:sldMkLst>
          <pc:docMk/>
          <pc:sldMk cId="3321596273" sldId="640"/>
        </pc:sldMkLst>
        <pc:spChg chg="mod">
          <ac:chgData name="Aleena Lida Surenian" userId="S::als0813@ads.northwestern.edu::e2fd0e4e-6417-49b0-ab16-0ba26a1719f0" providerId="AD" clId="Web-{C3552A06-5909-6D3B-9B48-7F6146D07F3D}" dt="2023-10-30T19:29:50.454" v="27" actId="20577"/>
          <ac:spMkLst>
            <pc:docMk/>
            <pc:sldMk cId="3321596273" sldId="640"/>
            <ac:spMk id="2" creationId="{ED485DCA-3B68-AC74-53C8-6A271DAAA7B7}"/>
          </ac:spMkLst>
        </pc:spChg>
      </pc:sldChg>
      <pc:sldChg chg="modSp new">
        <pc:chgData name="Aleena Lida Surenian" userId="S::als0813@ads.northwestern.edu::e2fd0e4e-6417-49b0-ab16-0ba26a1719f0" providerId="AD" clId="Web-{C3552A06-5909-6D3B-9B48-7F6146D07F3D}" dt="2023-10-30T19:30:34.611" v="51" actId="20577"/>
        <pc:sldMkLst>
          <pc:docMk/>
          <pc:sldMk cId="2460321206" sldId="641"/>
        </pc:sldMkLst>
        <pc:spChg chg="mod">
          <ac:chgData name="Aleena Lida Surenian" userId="S::als0813@ads.northwestern.edu::e2fd0e4e-6417-49b0-ab16-0ba26a1719f0" providerId="AD" clId="Web-{C3552A06-5909-6D3B-9B48-7F6146D07F3D}" dt="2023-10-30T19:30:34.611" v="51" actId="20577"/>
          <ac:spMkLst>
            <pc:docMk/>
            <pc:sldMk cId="2460321206" sldId="641"/>
            <ac:spMk id="2" creationId="{F341808F-A4FF-102A-993E-7096843D4FE9}"/>
          </ac:spMkLst>
        </pc:spChg>
      </pc:sldChg>
      <pc:sldChg chg="modSp new">
        <pc:chgData name="Aleena Lida Surenian" userId="S::als0813@ads.northwestern.edu::e2fd0e4e-6417-49b0-ab16-0ba26a1719f0" providerId="AD" clId="Web-{C3552A06-5909-6D3B-9B48-7F6146D07F3D}" dt="2023-10-30T19:37:13.486" v="103" actId="20577"/>
        <pc:sldMkLst>
          <pc:docMk/>
          <pc:sldMk cId="113281680" sldId="642"/>
        </pc:sldMkLst>
        <pc:spChg chg="mod">
          <ac:chgData name="Aleena Lida Surenian" userId="S::als0813@ads.northwestern.edu::e2fd0e4e-6417-49b0-ab16-0ba26a1719f0" providerId="AD" clId="Web-{C3552A06-5909-6D3B-9B48-7F6146D07F3D}" dt="2023-10-30T19:37:13.486" v="103" actId="20577"/>
          <ac:spMkLst>
            <pc:docMk/>
            <pc:sldMk cId="113281680" sldId="642"/>
            <ac:spMk id="2" creationId="{F4AFEDD1-1B2F-10C8-9EFB-EFBD0CAB6989}"/>
          </ac:spMkLst>
        </pc:spChg>
      </pc:sldChg>
    </pc:docChg>
  </pc:docChgLst>
  <pc:docChgLst>
    <pc:chgData name="Eileen Fleming Suse" userId="S::efs3844@ads.northwestern.edu::725c94ef-d051-42d7-9d33-8572765d592b" providerId="AD" clId="Web-{2D3E1CBF-0F08-92B9-6543-9FE5E77E56E9}"/>
    <pc:docChg chg="addSld delSld modSld">
      <pc:chgData name="Eileen Fleming Suse" userId="S::efs3844@ads.northwestern.edu::725c94ef-d051-42d7-9d33-8572765d592b" providerId="AD" clId="Web-{2D3E1CBF-0F08-92B9-6543-9FE5E77E56E9}" dt="2023-10-28T14:57:28.029" v="305"/>
      <pc:docMkLst>
        <pc:docMk/>
      </pc:docMkLst>
      <pc:sldChg chg="modSp">
        <pc:chgData name="Eileen Fleming Suse" userId="S::efs3844@ads.northwestern.edu::725c94ef-d051-42d7-9d33-8572765d592b" providerId="AD" clId="Web-{2D3E1CBF-0F08-92B9-6543-9FE5E77E56E9}" dt="2023-10-28T14:54:32.961" v="268" actId="20577"/>
        <pc:sldMkLst>
          <pc:docMk/>
          <pc:sldMk cId="2086939794" sldId="326"/>
        </pc:sldMkLst>
        <pc:spChg chg="mod">
          <ac:chgData name="Eileen Fleming Suse" userId="S::efs3844@ads.northwestern.edu::725c94ef-d051-42d7-9d33-8572765d592b" providerId="AD" clId="Web-{2D3E1CBF-0F08-92B9-6543-9FE5E77E56E9}" dt="2023-10-28T14:54:32.961" v="268" actId="20577"/>
          <ac:spMkLst>
            <pc:docMk/>
            <pc:sldMk cId="2086939794" sldId="326"/>
            <ac:spMk id="3" creationId="{1E0FB995-5DD8-5081-A69E-96B5869B0012}"/>
          </ac:spMkLst>
        </pc:spChg>
      </pc:sldChg>
      <pc:sldChg chg="modSp">
        <pc:chgData name="Eileen Fleming Suse" userId="S::efs3844@ads.northwestern.edu::725c94ef-d051-42d7-9d33-8572765d592b" providerId="AD" clId="Web-{2D3E1CBF-0F08-92B9-6543-9FE5E77E56E9}" dt="2023-10-28T14:57:28.029" v="305"/>
        <pc:sldMkLst>
          <pc:docMk/>
          <pc:sldMk cId="3067427377" sldId="560"/>
        </pc:sldMkLst>
        <pc:spChg chg="mod">
          <ac:chgData name="Eileen Fleming Suse" userId="S::efs3844@ads.northwestern.edu::725c94ef-d051-42d7-9d33-8572765d592b" providerId="AD" clId="Web-{2D3E1CBF-0F08-92B9-6543-9FE5E77E56E9}" dt="2023-10-28T14:57:28.029" v="305"/>
          <ac:spMkLst>
            <pc:docMk/>
            <pc:sldMk cId="3067427377" sldId="560"/>
            <ac:spMk id="2" creationId="{85302686-DF06-3304-66CB-1E21F4D086DC}"/>
          </ac:spMkLst>
        </pc:spChg>
      </pc:sldChg>
      <pc:sldChg chg="addSp modSp">
        <pc:chgData name="Eileen Fleming Suse" userId="S::efs3844@ads.northwestern.edu::725c94ef-d051-42d7-9d33-8572765d592b" providerId="AD" clId="Web-{2D3E1CBF-0F08-92B9-6543-9FE5E77E56E9}" dt="2023-10-28T14:57:16.622" v="304" actId="1076"/>
        <pc:sldMkLst>
          <pc:docMk/>
          <pc:sldMk cId="1141815353" sldId="562"/>
        </pc:sldMkLst>
        <pc:spChg chg="add mod">
          <ac:chgData name="Eileen Fleming Suse" userId="S::efs3844@ads.northwestern.edu::725c94ef-d051-42d7-9d33-8572765d592b" providerId="AD" clId="Web-{2D3E1CBF-0F08-92B9-6543-9FE5E77E56E9}" dt="2023-10-28T14:57:16.622" v="304" actId="1076"/>
          <ac:spMkLst>
            <pc:docMk/>
            <pc:sldMk cId="1141815353" sldId="562"/>
            <ac:spMk id="13" creationId="{2FC08365-C48A-7DB8-BBA6-D9EB552FFD55}"/>
          </ac:spMkLst>
        </pc:spChg>
        <pc:spChg chg="mod">
          <ac:chgData name="Eileen Fleming Suse" userId="S::efs3844@ads.northwestern.edu::725c94ef-d051-42d7-9d33-8572765d592b" providerId="AD" clId="Web-{2D3E1CBF-0F08-92B9-6543-9FE5E77E56E9}" dt="2023-10-28T14:57:12.528" v="302" actId="1076"/>
          <ac:spMkLst>
            <pc:docMk/>
            <pc:sldMk cId="1141815353" sldId="562"/>
            <ac:spMk id="360" creationId="{FE59A3A2-BFF2-9772-51D6-9CCB620AEB53}"/>
          </ac:spMkLst>
        </pc:spChg>
      </pc:sldChg>
      <pc:sldChg chg="addSp modSp">
        <pc:chgData name="Eileen Fleming Suse" userId="S::efs3844@ads.northwestern.edu::725c94ef-d051-42d7-9d33-8572765d592b" providerId="AD" clId="Web-{2D3E1CBF-0F08-92B9-6543-9FE5E77E56E9}" dt="2023-10-28T00:19:08.918" v="72" actId="20577"/>
        <pc:sldMkLst>
          <pc:docMk/>
          <pc:sldMk cId="1937423064" sldId="606"/>
        </pc:sldMkLst>
        <pc:spChg chg="add mod">
          <ac:chgData name="Eileen Fleming Suse" userId="S::efs3844@ads.northwestern.edu::725c94ef-d051-42d7-9d33-8572765d592b" providerId="AD" clId="Web-{2D3E1CBF-0F08-92B9-6543-9FE5E77E56E9}" dt="2023-10-28T00:19:08.918" v="72" actId="20577"/>
          <ac:spMkLst>
            <pc:docMk/>
            <pc:sldMk cId="1937423064" sldId="606"/>
            <ac:spMk id="3" creationId="{CF76BAF3-0D68-BE52-7B63-AF42CBFD04CB}"/>
          </ac:spMkLst>
        </pc:spChg>
        <pc:spChg chg="mod">
          <ac:chgData name="Eileen Fleming Suse" userId="S::efs3844@ads.northwestern.edu::725c94ef-d051-42d7-9d33-8572765d592b" providerId="AD" clId="Web-{2D3E1CBF-0F08-92B9-6543-9FE5E77E56E9}" dt="2023-10-28T00:08:21.950" v="3" actId="20577"/>
          <ac:spMkLst>
            <pc:docMk/>
            <pc:sldMk cId="1937423064" sldId="606"/>
            <ac:spMk id="12" creationId="{78126F38-8B56-6129-962F-5469035C8159}"/>
          </ac:spMkLst>
        </pc:spChg>
      </pc:sldChg>
      <pc:sldChg chg="del">
        <pc:chgData name="Eileen Fleming Suse" userId="S::efs3844@ads.northwestern.edu::725c94ef-d051-42d7-9d33-8572765d592b" providerId="AD" clId="Web-{2D3E1CBF-0F08-92B9-6543-9FE5E77E56E9}" dt="2023-10-28T00:23:48.585" v="73"/>
        <pc:sldMkLst>
          <pc:docMk/>
          <pc:sldMk cId="2500564114" sldId="624"/>
        </pc:sldMkLst>
      </pc:sldChg>
      <pc:sldChg chg="addSp delSp modSp delCm">
        <pc:chgData name="Eileen Fleming Suse" userId="S::efs3844@ads.northwestern.edu::725c94ef-d051-42d7-9d33-8572765d592b" providerId="AD" clId="Web-{2D3E1CBF-0F08-92B9-6543-9FE5E77E56E9}" dt="2023-10-28T14:54:08.976" v="263"/>
        <pc:sldMkLst>
          <pc:docMk/>
          <pc:sldMk cId="53107998" sldId="627"/>
        </pc:sldMkLst>
        <pc:spChg chg="del">
          <ac:chgData name="Eileen Fleming Suse" userId="S::efs3844@ads.northwestern.edu::725c94ef-d051-42d7-9d33-8572765d592b" providerId="AD" clId="Web-{2D3E1CBF-0F08-92B9-6543-9FE5E77E56E9}" dt="2023-10-28T00:28:55.500" v="79"/>
          <ac:spMkLst>
            <pc:docMk/>
            <pc:sldMk cId="53107998" sldId="627"/>
            <ac:spMk id="6" creationId="{5061076E-BCAA-95BB-947C-06473AB43500}"/>
          </ac:spMkLst>
        </pc:spChg>
        <pc:spChg chg="add mod">
          <ac:chgData name="Eileen Fleming Suse" userId="S::efs3844@ads.northwestern.edu::725c94ef-d051-42d7-9d33-8572765d592b" providerId="AD" clId="Web-{2D3E1CBF-0F08-92B9-6543-9FE5E77E56E9}" dt="2023-10-28T14:19:11.939" v="117" actId="20577"/>
          <ac:spMkLst>
            <pc:docMk/>
            <pc:sldMk cId="53107998" sldId="627"/>
            <ac:spMk id="6" creationId="{6869C5A5-AA49-7E86-16CA-330531D2D3A5}"/>
          </ac:spMkLst>
        </pc:spChg>
        <pc:spChg chg="del">
          <ac:chgData name="Eileen Fleming Suse" userId="S::efs3844@ads.northwestern.edu::725c94ef-d051-42d7-9d33-8572765d592b" providerId="AD" clId="Web-{2D3E1CBF-0F08-92B9-6543-9FE5E77E56E9}" dt="2023-10-28T14:14:49.415" v="81"/>
          <ac:spMkLst>
            <pc:docMk/>
            <pc:sldMk cId="53107998" sldId="627"/>
            <ac:spMk id="11" creationId="{1001CA27-B312-ABF1-7B46-5CD64FE61847}"/>
          </ac:spMkLst>
        </pc:spChg>
        <pc:picChg chg="del">
          <ac:chgData name="Eileen Fleming Suse" userId="S::efs3844@ads.northwestern.edu::725c94ef-d051-42d7-9d33-8572765d592b" providerId="AD" clId="Web-{2D3E1CBF-0F08-92B9-6543-9FE5E77E56E9}" dt="2023-10-28T00:28:55.531" v="80"/>
          <ac:picMkLst>
            <pc:docMk/>
            <pc:sldMk cId="53107998" sldId="627"/>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08.976" v="263"/>
              <pc2:cmMkLst xmlns:pc2="http://schemas.microsoft.com/office/powerpoint/2019/9/main/command">
                <pc:docMk/>
                <pc:sldMk cId="53107998" sldId="627"/>
                <pc2:cmMk id="{C48A6C56-B343-467E-9FD1-86B163B01706}"/>
              </pc2:cmMkLst>
            </pc226:cmChg>
            <pc226:cmChg xmlns:pc226="http://schemas.microsoft.com/office/powerpoint/2022/06/main/command" chg="del">
              <pc226:chgData name="Eileen Fleming Suse" userId="S::efs3844@ads.northwestern.edu::725c94ef-d051-42d7-9d33-8572765d592b" providerId="AD" clId="Web-{2D3E1CBF-0F08-92B9-6543-9FE5E77E56E9}" dt="2023-10-28T14:53:58.913" v="262"/>
              <pc2:cmMkLst xmlns:pc2="http://schemas.microsoft.com/office/powerpoint/2019/9/main/command">
                <pc:docMk/>
                <pc:sldMk cId="53107998" sldId="627"/>
                <pc2:cmMk id="{46D04177-1E1A-4590-B3B8-03DE51A18B3C}"/>
              </pc2:cmMkLst>
            </pc226:cmChg>
          </p:ext>
        </pc:extLst>
      </pc:sldChg>
      <pc:sldChg chg="addSp delSp modSp delCm">
        <pc:chgData name="Eileen Fleming Suse" userId="S::efs3844@ads.northwestern.edu::725c94ef-d051-42d7-9d33-8572765d592b" providerId="AD" clId="Web-{2D3E1CBF-0F08-92B9-6543-9FE5E77E56E9}" dt="2023-10-28T14:53:48.928" v="261"/>
        <pc:sldMkLst>
          <pc:docMk/>
          <pc:sldMk cId="534784336" sldId="628"/>
        </pc:sldMkLst>
        <pc:spChg chg="mod">
          <ac:chgData name="Eileen Fleming Suse" userId="S::efs3844@ads.northwestern.edu::725c94ef-d051-42d7-9d33-8572765d592b" providerId="AD" clId="Web-{2D3E1CBF-0F08-92B9-6543-9FE5E77E56E9}" dt="2023-10-28T14:26:26.922" v="168" actId="14100"/>
          <ac:spMkLst>
            <pc:docMk/>
            <pc:sldMk cId="534784336" sldId="628"/>
            <ac:spMk id="2" creationId="{5B0924D0-76E0-769E-E658-F9192618FFD4}"/>
          </ac:spMkLst>
        </pc:spChg>
        <pc:spChg chg="del">
          <ac:chgData name="Eileen Fleming Suse" userId="S::efs3844@ads.northwestern.edu::725c94ef-d051-42d7-9d33-8572765d592b" providerId="AD" clId="Web-{2D3E1CBF-0F08-92B9-6543-9FE5E77E56E9}" dt="2023-10-28T14:30:04.491" v="169"/>
          <ac:spMkLst>
            <pc:docMk/>
            <pc:sldMk cId="534784336" sldId="628"/>
            <ac:spMk id="3" creationId="{F9B93FA2-9BD2-09DD-15C3-2A948A3663FF}"/>
          </ac:spMkLst>
        </pc:spChg>
        <pc:spChg chg="add mod">
          <ac:chgData name="Eileen Fleming Suse" userId="S::efs3844@ads.northwestern.edu::725c94ef-d051-42d7-9d33-8572765d592b" providerId="AD" clId="Web-{2D3E1CBF-0F08-92B9-6543-9FE5E77E56E9}" dt="2023-10-28T14:38:01.288" v="202" actId="1076"/>
          <ac:spMkLst>
            <pc:docMk/>
            <pc:sldMk cId="534784336" sldId="628"/>
            <ac:spMk id="9" creationId="{98150912-7A4D-8CF4-F429-183917B0EF9E}"/>
          </ac:spMkLst>
        </pc:spChg>
        <pc:picChg chg="add del mod">
          <ac:chgData name="Eileen Fleming Suse" userId="S::efs3844@ads.northwestern.edu::725c94ef-d051-42d7-9d33-8572765d592b" providerId="AD" clId="Web-{2D3E1CBF-0F08-92B9-6543-9FE5E77E56E9}" dt="2023-10-28T14:30:38.430" v="174"/>
          <ac:picMkLst>
            <pc:docMk/>
            <pc:sldMk cId="534784336" sldId="628"/>
            <ac:picMk id="6" creationId="{1FC00E2F-3882-E810-155C-29DE0C5A93A5}"/>
          </ac:picMkLst>
        </pc:picChg>
        <pc:picChg chg="add mod">
          <ac:chgData name="Eileen Fleming Suse" userId="S::efs3844@ads.northwestern.edu::725c94ef-d051-42d7-9d33-8572765d592b" providerId="AD" clId="Web-{2D3E1CBF-0F08-92B9-6543-9FE5E77E56E9}" dt="2023-10-28T14:37:02.692" v="193" actId="1076"/>
          <ac:picMkLst>
            <pc:docMk/>
            <pc:sldMk cId="534784336" sldId="628"/>
            <ac:picMk id="7" creationId="{DB88B973-8D9A-30CF-C67C-F3355B614054}"/>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3:48.928" v="261"/>
              <pc2:cmMkLst xmlns:pc2="http://schemas.microsoft.com/office/powerpoint/2019/9/main/command">
                <pc:docMk/>
                <pc:sldMk cId="534784336" sldId="628"/>
                <pc2:cmMk id="{D2FD4193-EF38-49C6-9875-8E415492E71E}"/>
              </pc2:cmMkLst>
            </pc226:cmChg>
          </p:ext>
        </pc:extLst>
      </pc:sldChg>
      <pc:sldChg chg="new del">
        <pc:chgData name="Eileen Fleming Suse" userId="S::efs3844@ads.northwestern.edu::725c94ef-d051-42d7-9d33-8572765d592b" providerId="AD" clId="Web-{2D3E1CBF-0F08-92B9-6543-9FE5E77E56E9}" dt="2023-10-28T00:28:43.703" v="76"/>
        <pc:sldMkLst>
          <pc:docMk/>
          <pc:sldMk cId="2010547247" sldId="634"/>
        </pc:sldMkLst>
      </pc:sldChg>
      <pc:sldChg chg="addSp delSp modSp add replId delCm">
        <pc:chgData name="Eileen Fleming Suse" userId="S::efs3844@ads.northwestern.edu::725c94ef-d051-42d7-9d33-8572765d592b" providerId="AD" clId="Web-{2D3E1CBF-0F08-92B9-6543-9FE5E77E56E9}" dt="2023-10-28T14:54:31.633" v="266" actId="688"/>
        <pc:sldMkLst>
          <pc:docMk/>
          <pc:sldMk cId="411397640" sldId="635"/>
        </pc:sldMkLst>
        <pc:spChg chg="mod">
          <ac:chgData name="Eileen Fleming Suse" userId="S::efs3844@ads.northwestern.edu::725c94ef-d051-42d7-9d33-8572765d592b" providerId="AD" clId="Web-{2D3E1CBF-0F08-92B9-6543-9FE5E77E56E9}" dt="2023-10-28T14:25:22.123" v="159" actId="1076"/>
          <ac:spMkLst>
            <pc:docMk/>
            <pc:sldMk cId="411397640" sldId="635"/>
            <ac:spMk id="2" creationId="{EDBA7EA6-A8BC-1979-2886-87AD1991E00E}"/>
          </ac:spMkLst>
        </pc:spChg>
        <pc:spChg chg="del">
          <ac:chgData name="Eileen Fleming Suse" userId="S::efs3844@ads.northwestern.edu::725c94ef-d051-42d7-9d33-8572765d592b" providerId="AD" clId="Web-{2D3E1CBF-0F08-92B9-6543-9FE5E77E56E9}" dt="2023-10-28T00:28:55.234" v="78"/>
          <ac:spMkLst>
            <pc:docMk/>
            <pc:sldMk cId="411397640" sldId="635"/>
            <ac:spMk id="3" creationId="{22D7074D-B494-B92E-736B-139BAB3175B9}"/>
          </ac:spMkLst>
        </pc:spChg>
        <pc:spChg chg="mod">
          <ac:chgData name="Eileen Fleming Suse" userId="S::efs3844@ads.northwestern.edu::725c94ef-d051-42d7-9d33-8572765d592b" providerId="AD" clId="Web-{2D3E1CBF-0F08-92B9-6543-9FE5E77E56E9}" dt="2023-10-28T14:25:31.623" v="160" actId="1076"/>
          <ac:spMkLst>
            <pc:docMk/>
            <pc:sldMk cId="411397640" sldId="635"/>
            <ac:spMk id="4" creationId="{24F154B2-4E01-4816-22AD-EE966850CD86}"/>
          </ac:spMkLst>
        </pc:spChg>
        <pc:spChg chg="mod">
          <ac:chgData name="Eileen Fleming Suse" userId="S::efs3844@ads.northwestern.edu::725c94ef-d051-42d7-9d33-8572765d592b" providerId="AD" clId="Web-{2D3E1CBF-0F08-92B9-6543-9FE5E77E56E9}" dt="2023-10-28T14:25:40.717" v="163" actId="1076"/>
          <ac:spMkLst>
            <pc:docMk/>
            <pc:sldMk cId="411397640" sldId="635"/>
            <ac:spMk id="6" creationId="{5061076E-BCAA-95BB-947C-06473AB43500}"/>
          </ac:spMkLst>
        </pc:spChg>
        <pc:spChg chg="add mod">
          <ac:chgData name="Eileen Fleming Suse" userId="S::efs3844@ads.northwestern.edu::725c94ef-d051-42d7-9d33-8572765d592b" providerId="AD" clId="Web-{2D3E1CBF-0F08-92B9-6543-9FE5E77E56E9}" dt="2023-10-28T14:54:31.633" v="266" actId="688"/>
          <ac:spMkLst>
            <pc:docMk/>
            <pc:sldMk cId="411397640" sldId="635"/>
            <ac:spMk id="7" creationId="{C4CE6283-A808-AE07-353B-1EEB0D5BF6FD}"/>
          </ac:spMkLst>
        </pc:spChg>
        <pc:spChg chg="add del mod">
          <ac:chgData name="Eileen Fleming Suse" userId="S::efs3844@ads.northwestern.edu::725c94ef-d051-42d7-9d33-8572765d592b" providerId="AD" clId="Web-{2D3E1CBF-0F08-92B9-6543-9FE5E77E56E9}" dt="2023-10-28T14:19:12.080" v="118"/>
          <ac:spMkLst>
            <pc:docMk/>
            <pc:sldMk cId="411397640" sldId="635"/>
            <ac:spMk id="9" creationId="{F51C096E-2197-06DC-5548-06F7FD861993}"/>
          </ac:spMkLst>
        </pc:spChg>
        <pc:spChg chg="mod">
          <ac:chgData name="Eileen Fleming Suse" userId="S::efs3844@ads.northwestern.edu::725c94ef-d051-42d7-9d33-8572765d592b" providerId="AD" clId="Web-{2D3E1CBF-0F08-92B9-6543-9FE5E77E56E9}" dt="2023-10-28T14:25:31.639" v="162" actId="1076"/>
          <ac:spMkLst>
            <pc:docMk/>
            <pc:sldMk cId="411397640" sldId="635"/>
            <ac:spMk id="11" creationId="{1001CA27-B312-ABF1-7B46-5CD64FE61847}"/>
          </ac:spMkLst>
        </pc:spChg>
        <pc:picChg chg="del">
          <ac:chgData name="Eileen Fleming Suse" userId="S::efs3844@ads.northwestern.edu::725c94ef-d051-42d7-9d33-8572765d592b" providerId="AD" clId="Web-{2D3E1CBF-0F08-92B9-6543-9FE5E77E56E9}" dt="2023-10-28T00:28:46.656" v="77"/>
          <ac:picMkLst>
            <pc:docMk/>
            <pc:sldMk cId="411397640" sldId="635"/>
            <ac:picMk id="8" creationId="{69FCDDB0-47F5-DBE4-711A-C6061E65FD92}"/>
          </ac:picMkLst>
        </pc:picChg>
        <pc:picChg chg="mod">
          <ac:chgData name="Eileen Fleming Suse" userId="S::efs3844@ads.northwestern.edu::725c94ef-d051-42d7-9d33-8572765d592b" providerId="AD" clId="Web-{2D3E1CBF-0F08-92B9-6543-9FE5E77E56E9}" dt="2023-10-28T14:25:31.623" v="161" actId="1076"/>
          <ac:picMkLst>
            <pc:docMk/>
            <pc:sldMk cId="411397640" sldId="635"/>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21.070" v="265"/>
              <pc2:cmMkLst xmlns:pc2="http://schemas.microsoft.com/office/powerpoint/2019/9/main/command">
                <pc:docMk/>
                <pc:sldMk cId="411397640" sldId="635"/>
                <pc2:cmMk id="{3C68ED1F-70B6-42FD-A606-A0188A0C1982}"/>
              </pc2:cmMkLst>
            </pc226:cmChg>
            <pc226:cmChg xmlns:pc226="http://schemas.microsoft.com/office/powerpoint/2022/06/main/command" chg="del">
              <pc226:chgData name="Eileen Fleming Suse" userId="S::efs3844@ads.northwestern.edu::725c94ef-d051-42d7-9d33-8572765d592b" providerId="AD" clId="Web-{2D3E1CBF-0F08-92B9-6543-9FE5E77E56E9}" dt="2023-10-28T14:54:09.819" v="264"/>
              <pc2:cmMkLst xmlns:pc2="http://schemas.microsoft.com/office/powerpoint/2019/9/main/command">
                <pc:docMk/>
                <pc:sldMk cId="411397640" sldId="635"/>
                <pc2:cmMk id="{00E11887-98E4-479A-8DA4-445B0A6D85E8}"/>
              </pc2:cmMkLst>
            </pc226:cmChg>
          </p:ext>
        </pc:extLst>
      </pc:sldChg>
      <pc:sldChg chg="addSp delSp modSp new modNotes">
        <pc:chgData name="Eileen Fleming Suse" userId="S::efs3844@ads.northwestern.edu::725c94ef-d051-42d7-9d33-8572765d592b" providerId="AD" clId="Web-{2D3E1CBF-0F08-92B9-6543-9FE5E77E56E9}" dt="2023-10-28T14:53:29.990" v="260"/>
        <pc:sldMkLst>
          <pc:docMk/>
          <pc:sldMk cId="975286347" sldId="636"/>
        </pc:sldMkLst>
        <pc:spChg chg="mod">
          <ac:chgData name="Eileen Fleming Suse" userId="S::efs3844@ads.northwestern.edu::725c94ef-d051-42d7-9d33-8572765d592b" providerId="AD" clId="Web-{2D3E1CBF-0F08-92B9-6543-9FE5E77E56E9}" dt="2023-10-28T14:53:20.443" v="259" actId="1076"/>
          <ac:spMkLst>
            <pc:docMk/>
            <pc:sldMk cId="975286347" sldId="636"/>
            <ac:spMk id="2" creationId="{BB53F377-28A9-F2D5-76A8-8CDE2A9E7535}"/>
          </ac:spMkLst>
        </pc:spChg>
        <pc:spChg chg="del">
          <ac:chgData name="Eileen Fleming Suse" userId="S::efs3844@ads.northwestern.edu::725c94ef-d051-42d7-9d33-8572765d592b" providerId="AD" clId="Web-{2D3E1CBF-0F08-92B9-6543-9FE5E77E56E9}" dt="2023-10-28T14:38:30.570" v="209"/>
          <ac:spMkLst>
            <pc:docMk/>
            <pc:sldMk cId="975286347" sldId="636"/>
            <ac:spMk id="3" creationId="{AA591B85-8B99-0001-0D2D-E197FD1E29FA}"/>
          </ac:spMkLst>
        </pc:spChg>
        <pc:spChg chg="add mod">
          <ac:chgData name="Eileen Fleming Suse" userId="S::efs3844@ads.northwestern.edu::725c94ef-d051-42d7-9d33-8572765d592b" providerId="AD" clId="Web-{2D3E1CBF-0F08-92B9-6543-9FE5E77E56E9}" dt="2023-10-28T14:53:10.302" v="258" actId="1076"/>
          <ac:spMkLst>
            <pc:docMk/>
            <pc:sldMk cId="975286347" sldId="636"/>
            <ac:spMk id="6" creationId="{F6338EC5-0A81-7DC2-69F0-D3BF4953F92A}"/>
          </ac:spMkLst>
        </pc:spChg>
        <pc:spChg chg="add mod">
          <ac:chgData name="Eileen Fleming Suse" userId="S::efs3844@ads.northwestern.edu::725c94ef-d051-42d7-9d33-8572765d592b" providerId="AD" clId="Web-{2D3E1CBF-0F08-92B9-6543-9FE5E77E56E9}" dt="2023-10-28T14:51:22.283" v="247" actId="20577"/>
          <ac:spMkLst>
            <pc:docMk/>
            <pc:sldMk cId="975286347" sldId="636"/>
            <ac:spMk id="7" creationId="{3AA2C132-6976-52A2-A4F0-D81D09CBB1EA}"/>
          </ac:spMkLst>
        </pc:spChg>
        <pc:picChg chg="add mod">
          <ac:chgData name="Eileen Fleming Suse" userId="S::efs3844@ads.northwestern.edu::725c94ef-d051-42d7-9d33-8572765d592b" providerId="AD" clId="Web-{2D3E1CBF-0F08-92B9-6543-9FE5E77E56E9}" dt="2023-10-28T14:52:59.786" v="257" actId="1076"/>
          <ac:picMkLst>
            <pc:docMk/>
            <pc:sldMk cId="975286347" sldId="636"/>
            <ac:picMk id="8" creationId="{F6AF464B-BCF9-C413-1A61-5938E8025FD8}"/>
          </ac:picMkLst>
        </pc:picChg>
        <pc:picChg chg="add mod">
          <ac:chgData name="Eileen Fleming Suse" userId="S::efs3844@ads.northwestern.edu::725c94ef-d051-42d7-9d33-8572765d592b" providerId="AD" clId="Web-{2D3E1CBF-0F08-92B9-6543-9FE5E77E56E9}" dt="2023-10-28T14:52:49.004" v="256" actId="14100"/>
          <ac:picMkLst>
            <pc:docMk/>
            <pc:sldMk cId="975286347" sldId="636"/>
            <ac:picMk id="9" creationId="{8553280F-F27E-3A70-1DDD-92D0DF0018F9}"/>
          </ac:picMkLst>
        </pc:picChg>
      </pc:sldChg>
    </pc:docChg>
  </pc:docChgLst>
  <pc:docChgLst>
    <pc:chgData name="Eileen Fleming Suse" userId="S::efs3844@ads.northwestern.edu::725c94ef-d051-42d7-9d33-8572765d592b" providerId="AD" clId="Web-{61DCECB8-FCC4-463F-180A-DE94BEA715D4}"/>
    <pc:docChg chg="addSld delSld modSld">
      <pc:chgData name="Eileen Fleming Suse" userId="S::efs3844@ads.northwestern.edu::725c94ef-d051-42d7-9d33-8572765d592b" providerId="AD" clId="Web-{61DCECB8-FCC4-463F-180A-DE94BEA715D4}" dt="2023-10-30T22:49:41.685" v="398" actId="20577"/>
      <pc:docMkLst>
        <pc:docMk/>
      </pc:docMkLst>
      <pc:sldChg chg="modSp">
        <pc:chgData name="Eileen Fleming Suse" userId="S::efs3844@ads.northwestern.edu::725c94ef-d051-42d7-9d33-8572765d592b" providerId="AD" clId="Web-{61DCECB8-FCC4-463F-180A-DE94BEA715D4}" dt="2023-10-30T20:17:56.590" v="268" actId="1076"/>
        <pc:sldMkLst>
          <pc:docMk/>
          <pc:sldMk cId="4044691067" sldId="283"/>
        </pc:sldMkLst>
        <pc:spChg chg="mod">
          <ac:chgData name="Eileen Fleming Suse" userId="S::efs3844@ads.northwestern.edu::725c94ef-d051-42d7-9d33-8572765d592b" providerId="AD" clId="Web-{61DCECB8-FCC4-463F-180A-DE94BEA715D4}" dt="2023-10-30T20:17:22.746" v="261" actId="1076"/>
          <ac:spMkLst>
            <pc:docMk/>
            <pc:sldMk cId="4044691067" sldId="283"/>
            <ac:spMk id="2" creationId="{00000000-0000-0000-0000-000000000000}"/>
          </ac:spMkLst>
        </pc:spChg>
        <pc:spChg chg="mod">
          <ac:chgData name="Eileen Fleming Suse" userId="S::efs3844@ads.northwestern.edu::725c94ef-d051-42d7-9d33-8572765d592b" providerId="AD" clId="Web-{61DCECB8-FCC4-463F-180A-DE94BEA715D4}" dt="2023-10-30T20:17:54.262" v="267" actId="20577"/>
          <ac:spMkLst>
            <pc:docMk/>
            <pc:sldMk cId="4044691067" sldId="283"/>
            <ac:spMk id="3" creationId="{00000000-0000-0000-0000-000000000000}"/>
          </ac:spMkLst>
        </pc:spChg>
        <pc:spChg chg="mod">
          <ac:chgData name="Eileen Fleming Suse" userId="S::efs3844@ads.northwestern.edu::725c94ef-d051-42d7-9d33-8572765d592b" providerId="AD" clId="Web-{61DCECB8-FCC4-463F-180A-DE94BEA715D4}" dt="2023-10-30T20:17:56.590" v="268" actId="1076"/>
          <ac:spMkLst>
            <pc:docMk/>
            <pc:sldMk cId="4044691067" sldId="283"/>
            <ac:spMk id="16387" creationId="{00000000-0000-0000-0000-000000000000}"/>
          </ac:spMkLst>
        </pc:spChg>
      </pc:sldChg>
      <pc:sldChg chg="addSp delSp modSp del">
        <pc:chgData name="Eileen Fleming Suse" userId="S::efs3844@ads.northwestern.edu::725c94ef-d051-42d7-9d33-8572765d592b" providerId="AD" clId="Web-{61DCECB8-FCC4-463F-180A-DE94BEA715D4}" dt="2023-10-30T22:38:32.619" v="293"/>
        <pc:sldMkLst>
          <pc:docMk/>
          <pc:sldMk cId="2351229145" sldId="544"/>
        </pc:sldMkLst>
        <pc:spChg chg="add del mod">
          <ac:chgData name="Eileen Fleming Suse" userId="S::efs3844@ads.northwestern.edu::725c94ef-d051-42d7-9d33-8572765d592b" providerId="AD" clId="Web-{61DCECB8-FCC4-463F-180A-DE94BEA715D4}" dt="2023-10-30T20:36:38.882" v="271"/>
          <ac:spMkLst>
            <pc:docMk/>
            <pc:sldMk cId="2351229145" sldId="544"/>
            <ac:spMk id="4" creationId="{30128E86-7FC0-DAF8-2B3B-BC30C65B2BC6}"/>
          </ac:spMkLst>
        </pc:spChg>
      </pc:sldChg>
      <pc:sldChg chg="addSp delSp modSp mod setBg">
        <pc:chgData name="Eileen Fleming Suse" userId="S::efs3844@ads.northwestern.edu::725c94ef-d051-42d7-9d33-8572765d592b" providerId="AD" clId="Web-{61DCECB8-FCC4-463F-180A-DE94BEA715D4}" dt="2023-10-30T22:41:05.686" v="304"/>
        <pc:sldMkLst>
          <pc:docMk/>
          <pc:sldMk cId="3635595752" sldId="545"/>
        </pc:sldMkLst>
        <pc:spChg chg="mod">
          <ac:chgData name="Eileen Fleming Suse" userId="S::efs3844@ads.northwestern.edu::725c94ef-d051-42d7-9d33-8572765d592b" providerId="AD" clId="Web-{61DCECB8-FCC4-463F-180A-DE94BEA715D4}" dt="2023-10-30T22:40:13.497" v="300"/>
          <ac:spMkLst>
            <pc:docMk/>
            <pc:sldMk cId="3635595752" sldId="545"/>
            <ac:spMk id="2" creationId="{39AAB3FF-760A-B654-5F1B-78AD5BEB6B57}"/>
          </ac:spMkLst>
        </pc:spChg>
        <pc:spChg chg="mod">
          <ac:chgData name="Eileen Fleming Suse" userId="S::efs3844@ads.northwestern.edu::725c94ef-d051-42d7-9d33-8572765d592b" providerId="AD" clId="Web-{61DCECB8-FCC4-463F-180A-DE94BEA715D4}" dt="2023-10-30T22:40:13.497" v="300"/>
          <ac:spMkLst>
            <pc:docMk/>
            <pc:sldMk cId="3635595752" sldId="545"/>
            <ac:spMk id="3" creationId="{BFE56240-A306-0E11-425A-7323821A42F2}"/>
          </ac:spMkLst>
        </pc:spChg>
        <pc:spChg chg="add">
          <ac:chgData name="Eileen Fleming Suse" userId="S::efs3844@ads.northwestern.edu::725c94ef-d051-42d7-9d33-8572765d592b" providerId="AD" clId="Web-{61DCECB8-FCC4-463F-180A-DE94BEA715D4}" dt="2023-10-30T22:40:13.497" v="300"/>
          <ac:spMkLst>
            <pc:docMk/>
            <pc:sldMk cId="3635595752" sldId="545"/>
            <ac:spMk id="9" creationId="{4FA4E651-C3D8-4DB8-A026-E8531C6AFACC}"/>
          </ac:spMkLst>
        </pc:spChg>
        <pc:picChg chg="add mod">
          <ac:chgData name="Eileen Fleming Suse" userId="S::efs3844@ads.northwestern.edu::725c94ef-d051-42d7-9d33-8572765d592b" providerId="AD" clId="Web-{61DCECB8-FCC4-463F-180A-DE94BEA715D4}" dt="2023-10-30T22:40:13.497" v="300"/>
          <ac:picMkLst>
            <pc:docMk/>
            <pc:sldMk cId="3635595752" sldId="545"/>
            <ac:picMk id="4" creationId="{6982FC6C-870A-2D17-4241-681C88EEE4A9}"/>
          </ac:picMkLst>
        </pc:picChg>
        <pc:picChg chg="add del mod">
          <ac:chgData name="Eileen Fleming Suse" userId="S::efs3844@ads.northwestern.edu::725c94ef-d051-42d7-9d33-8572765d592b" providerId="AD" clId="Web-{61DCECB8-FCC4-463F-180A-DE94BEA715D4}" dt="2023-10-30T22:41:05.686" v="304"/>
          <ac:picMkLst>
            <pc:docMk/>
            <pc:sldMk cId="3635595752" sldId="545"/>
            <ac:picMk id="5" creationId="{1419DCC6-DC00-7882-A9B3-86F4E9C29BF1}"/>
          </ac:picMkLst>
        </pc:picChg>
      </pc:sldChg>
      <pc:sldChg chg="addSp modSp mod setBg addAnim">
        <pc:chgData name="Eileen Fleming Suse" userId="S::efs3844@ads.northwestern.edu::725c94ef-d051-42d7-9d33-8572765d592b" providerId="AD" clId="Web-{61DCECB8-FCC4-463F-180A-DE94BEA715D4}" dt="2023-10-30T22:47:53.463" v="364" actId="20577"/>
        <pc:sldMkLst>
          <pc:docMk/>
          <pc:sldMk cId="1036043289" sldId="546"/>
        </pc:sldMkLst>
        <pc:spChg chg="mod">
          <ac:chgData name="Eileen Fleming Suse" userId="S::efs3844@ads.northwestern.edu::725c94ef-d051-42d7-9d33-8572765d592b" providerId="AD" clId="Web-{61DCECB8-FCC4-463F-180A-DE94BEA715D4}" dt="2023-10-30T22:46:29.367" v="353"/>
          <ac:spMkLst>
            <pc:docMk/>
            <pc:sldMk cId="1036043289" sldId="546"/>
            <ac:spMk id="2" creationId="{67E16CF5-47C8-BEAD-25F8-81514DC0AF8B}"/>
          </ac:spMkLst>
        </pc:spChg>
        <pc:spChg chg="mod">
          <ac:chgData name="Eileen Fleming Suse" userId="S::efs3844@ads.northwestern.edu::725c94ef-d051-42d7-9d33-8572765d592b" providerId="AD" clId="Web-{61DCECB8-FCC4-463F-180A-DE94BEA715D4}" dt="2023-10-30T22:47:53.463" v="364" actId="20577"/>
          <ac:spMkLst>
            <pc:docMk/>
            <pc:sldMk cId="1036043289" sldId="546"/>
            <ac:spMk id="3" creationId="{BACE41BD-1CAE-1299-918F-5B1678DE12B4}"/>
          </ac:spMkLst>
        </pc:spChg>
        <pc:spChg chg="add">
          <ac:chgData name="Eileen Fleming Suse" userId="S::efs3844@ads.northwestern.edu::725c94ef-d051-42d7-9d33-8572765d592b" providerId="AD" clId="Web-{61DCECB8-FCC4-463F-180A-DE94BEA715D4}" dt="2023-10-30T22:46:29.367" v="353"/>
          <ac:spMkLst>
            <pc:docMk/>
            <pc:sldMk cId="1036043289" sldId="546"/>
            <ac:spMk id="9" creationId="{E91DC736-0EF8-4F87-9146-EBF1D2EE4D3D}"/>
          </ac:spMkLst>
        </pc:spChg>
        <pc:spChg chg="add">
          <ac:chgData name="Eileen Fleming Suse" userId="S::efs3844@ads.northwestern.edu::725c94ef-d051-42d7-9d33-8572765d592b" providerId="AD" clId="Web-{61DCECB8-FCC4-463F-180A-DE94BEA715D4}" dt="2023-10-30T22:46:29.367" v="353"/>
          <ac:spMkLst>
            <pc:docMk/>
            <pc:sldMk cId="1036043289" sldId="546"/>
            <ac:spMk id="11" creationId="{097CD68E-23E3-4007-8847-CD0944C4F7BE}"/>
          </ac:spMkLst>
        </pc:spChg>
        <pc:spChg chg="add">
          <ac:chgData name="Eileen Fleming Suse" userId="S::efs3844@ads.northwestern.edu::725c94ef-d051-42d7-9d33-8572765d592b" providerId="AD" clId="Web-{61DCECB8-FCC4-463F-180A-DE94BEA715D4}" dt="2023-10-30T22:46:29.367" v="353"/>
          <ac:spMkLst>
            <pc:docMk/>
            <pc:sldMk cId="1036043289" sldId="546"/>
            <ac:spMk id="13" creationId="{AF2F604E-43BE-4DC3-B983-E071523364F8}"/>
          </ac:spMkLst>
        </pc:spChg>
        <pc:spChg chg="add">
          <ac:chgData name="Eileen Fleming Suse" userId="S::efs3844@ads.northwestern.edu::725c94ef-d051-42d7-9d33-8572765d592b" providerId="AD" clId="Web-{61DCECB8-FCC4-463F-180A-DE94BEA715D4}" dt="2023-10-30T22:46:29.367" v="353"/>
          <ac:spMkLst>
            <pc:docMk/>
            <pc:sldMk cId="1036043289" sldId="546"/>
            <ac:spMk id="15" creationId="{08C9B587-E65E-4B52-B37C-ABEBB6E87928}"/>
          </ac:spMkLst>
        </pc:spChg>
        <pc:picChg chg="add mod ord">
          <ac:chgData name="Eileen Fleming Suse" userId="S::efs3844@ads.northwestern.edu::725c94ef-d051-42d7-9d33-8572765d592b" providerId="AD" clId="Web-{61DCECB8-FCC4-463F-180A-DE94BEA715D4}" dt="2023-10-30T22:46:29.367" v="353"/>
          <ac:picMkLst>
            <pc:docMk/>
            <pc:sldMk cId="1036043289" sldId="546"/>
            <ac:picMk id="4" creationId="{9E0544A9-5CC0-A8B3-0447-4C7A5380BF18}"/>
          </ac:picMkLst>
        </pc:picChg>
      </pc:sldChg>
      <pc:sldChg chg="modSp">
        <pc:chgData name="Eileen Fleming Suse" userId="S::efs3844@ads.northwestern.edu::725c94ef-d051-42d7-9d33-8572765d592b" providerId="AD" clId="Web-{61DCECB8-FCC4-463F-180A-DE94BEA715D4}" dt="2023-10-30T20:06:03.401" v="185" actId="1076"/>
        <pc:sldMkLst>
          <pc:docMk/>
          <pc:sldMk cId="3472964082" sldId="550"/>
        </pc:sldMkLst>
        <pc:spChg chg="mod">
          <ac:chgData name="Eileen Fleming Suse" userId="S::efs3844@ads.northwestern.edu::725c94ef-d051-42d7-9d33-8572765d592b" providerId="AD" clId="Web-{61DCECB8-FCC4-463F-180A-DE94BEA715D4}" dt="2023-10-30T20:06:03.401" v="185" actId="1076"/>
          <ac:spMkLst>
            <pc:docMk/>
            <pc:sldMk cId="3472964082" sldId="550"/>
            <ac:spMk id="14" creationId="{00000000-0000-0000-0000-000000000000}"/>
          </ac:spMkLst>
        </pc:spChg>
      </pc:sldChg>
      <pc:sldChg chg="modSp">
        <pc:chgData name="Eileen Fleming Suse" userId="S::efs3844@ads.northwestern.edu::725c94ef-d051-42d7-9d33-8572765d592b" providerId="AD" clId="Web-{61DCECB8-FCC4-463F-180A-DE94BEA715D4}" dt="2023-10-30T20:05:10.400" v="170" actId="1076"/>
        <pc:sldMkLst>
          <pc:docMk/>
          <pc:sldMk cId="2562283095" sldId="551"/>
        </pc:sldMkLst>
        <pc:spChg chg="mod">
          <ac:chgData name="Eileen Fleming Suse" userId="S::efs3844@ads.northwestern.edu::725c94ef-d051-42d7-9d33-8572765d592b" providerId="AD" clId="Web-{61DCECB8-FCC4-463F-180A-DE94BEA715D4}" dt="2023-10-30T20:05:10.400" v="170" actId="1076"/>
          <ac:spMkLst>
            <pc:docMk/>
            <pc:sldMk cId="2562283095" sldId="551"/>
            <ac:spMk id="14" creationId="{00000000-0000-0000-0000-000000000000}"/>
          </ac:spMkLst>
        </pc:spChg>
        <pc:spChg chg="mod">
          <ac:chgData name="Eileen Fleming Suse" userId="S::efs3844@ads.northwestern.edu::725c94ef-d051-42d7-9d33-8572765d592b" providerId="AD" clId="Web-{61DCECB8-FCC4-463F-180A-DE94BEA715D4}" dt="2023-10-30T20:02:45.475" v="115"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61DCECB8-FCC4-463F-180A-DE94BEA715D4}" dt="2023-10-30T20:12:03.738" v="229"/>
        <pc:sldMkLst>
          <pc:docMk/>
          <pc:sldMk cId="3067427377" sldId="560"/>
        </pc:sldMkLst>
        <pc:spChg chg="mod">
          <ac:chgData name="Eileen Fleming Suse" userId="S::efs3844@ads.northwestern.edu::725c94ef-d051-42d7-9d33-8572765d592b" providerId="AD" clId="Web-{61DCECB8-FCC4-463F-180A-DE94BEA715D4}" dt="2023-10-30T20:12:03.738" v="229"/>
          <ac:spMkLst>
            <pc:docMk/>
            <pc:sldMk cId="3067427377" sldId="560"/>
            <ac:spMk id="2" creationId="{85302686-DF06-3304-66CB-1E21F4D086DC}"/>
          </ac:spMkLst>
        </pc:spChg>
        <pc:spChg chg="mod">
          <ac:chgData name="Eileen Fleming Suse" userId="S::efs3844@ads.northwestern.edu::725c94ef-d051-42d7-9d33-8572765d592b" providerId="AD" clId="Web-{61DCECB8-FCC4-463F-180A-DE94BEA715D4}" dt="2023-10-30T20:09:47.266" v="199" actId="20577"/>
          <ac:spMkLst>
            <pc:docMk/>
            <pc:sldMk cId="3067427377" sldId="560"/>
            <ac:spMk id="3" creationId="{E7ECD19B-85BC-6652-2856-676802964CFA}"/>
          </ac:spMkLst>
        </pc:spChg>
      </pc:sldChg>
      <pc:sldChg chg="modSp">
        <pc:chgData name="Eileen Fleming Suse" userId="S::efs3844@ads.northwestern.edu::725c94ef-d051-42d7-9d33-8572765d592b" providerId="AD" clId="Web-{61DCECB8-FCC4-463F-180A-DE94BEA715D4}" dt="2023-10-30T20:15:17.508" v="249" actId="1076"/>
        <pc:sldMkLst>
          <pc:docMk/>
          <pc:sldMk cId="1141815353" sldId="562"/>
        </pc:sldMkLst>
        <pc:spChg chg="mod">
          <ac:chgData name="Eileen Fleming Suse" userId="S::efs3844@ads.northwestern.edu::725c94ef-d051-42d7-9d33-8572765d592b" providerId="AD" clId="Web-{61DCECB8-FCC4-463F-180A-DE94BEA715D4}" dt="2023-10-30T20:15:17.508" v="249" actId="1076"/>
          <ac:spMkLst>
            <pc:docMk/>
            <pc:sldMk cId="1141815353" sldId="562"/>
            <ac:spMk id="13" creationId="{2FC08365-C48A-7DB8-BBA6-D9EB552FFD55}"/>
          </ac:spMkLst>
        </pc:spChg>
      </pc:sldChg>
      <pc:sldChg chg="modSp">
        <pc:chgData name="Eileen Fleming Suse" userId="S::efs3844@ads.northwestern.edu::725c94ef-d051-42d7-9d33-8572765d592b" providerId="AD" clId="Web-{61DCECB8-FCC4-463F-180A-DE94BEA715D4}" dt="2023-10-30T19:48:03.501" v="41" actId="1076"/>
        <pc:sldMkLst>
          <pc:docMk/>
          <pc:sldMk cId="3845418986" sldId="563"/>
        </pc:sldMkLst>
        <pc:spChg chg="mod">
          <ac:chgData name="Eileen Fleming Suse" userId="S::efs3844@ads.northwestern.edu::725c94ef-d051-42d7-9d33-8572765d592b" providerId="AD" clId="Web-{61DCECB8-FCC4-463F-180A-DE94BEA715D4}" dt="2023-10-30T19:48:03.501" v="41" actId="1076"/>
          <ac:spMkLst>
            <pc:docMk/>
            <pc:sldMk cId="3845418986" sldId="563"/>
            <ac:spMk id="49" creationId="{4FD6BDF7-E6F5-6DC8-9332-E3E0DB7057F0}"/>
          </ac:spMkLst>
        </pc:spChg>
        <pc:spChg chg="mod">
          <ac:chgData name="Eileen Fleming Suse" userId="S::efs3844@ads.northwestern.edu::725c94ef-d051-42d7-9d33-8572765d592b" providerId="AD" clId="Web-{61DCECB8-FCC4-463F-180A-DE94BEA715D4}" dt="2023-10-30T19:47:58.329" v="39" actId="1076"/>
          <ac:spMkLst>
            <pc:docMk/>
            <pc:sldMk cId="3845418986" sldId="563"/>
            <ac:spMk id="51" creationId="{233EFC40-2641-E728-F412-79899FC6D0D7}"/>
          </ac:spMkLst>
        </pc:spChg>
        <pc:spChg chg="mod">
          <ac:chgData name="Eileen Fleming Suse" userId="S::efs3844@ads.northwestern.edu::725c94ef-d051-42d7-9d33-8572765d592b" providerId="AD" clId="Web-{61DCECB8-FCC4-463F-180A-DE94BEA715D4}" dt="2023-10-30T19:47:53.204" v="38" actId="1076"/>
          <ac:spMkLst>
            <pc:docMk/>
            <pc:sldMk cId="3845418986" sldId="563"/>
            <ac:spMk id="53" creationId="{66360ABF-1F2C-C63A-9187-17E2573B3DEB}"/>
          </ac:spMkLst>
        </pc:spChg>
      </pc:sldChg>
      <pc:sldChg chg="modSp">
        <pc:chgData name="Eileen Fleming Suse" userId="S::efs3844@ads.northwestern.edu::725c94ef-d051-42d7-9d33-8572765d592b" providerId="AD" clId="Web-{61DCECB8-FCC4-463F-180A-DE94BEA715D4}" dt="2023-10-30T19:47:07.218" v="36" actId="1076"/>
        <pc:sldMkLst>
          <pc:docMk/>
          <pc:sldMk cId="1536434647" sldId="564"/>
        </pc:sldMkLst>
        <pc:spChg chg="mod">
          <ac:chgData name="Eileen Fleming Suse" userId="S::efs3844@ads.northwestern.edu::725c94ef-d051-42d7-9d33-8572765d592b" providerId="AD" clId="Web-{61DCECB8-FCC4-463F-180A-DE94BEA715D4}" dt="2023-10-30T19:47:07.218" v="36" actId="1076"/>
          <ac:spMkLst>
            <pc:docMk/>
            <pc:sldMk cId="1536434647" sldId="564"/>
            <ac:spMk id="51" creationId="{DADB789B-D1D8-A439-C1FC-0121F131E706}"/>
          </ac:spMkLst>
        </pc:spChg>
        <pc:spChg chg="mod">
          <ac:chgData name="Eileen Fleming Suse" userId="S::efs3844@ads.northwestern.edu::725c94ef-d051-42d7-9d33-8572765d592b" providerId="AD" clId="Web-{61DCECB8-FCC4-463F-180A-DE94BEA715D4}" dt="2023-10-30T19:47:03.874" v="34" actId="1076"/>
          <ac:spMkLst>
            <pc:docMk/>
            <pc:sldMk cId="1536434647" sldId="564"/>
            <ac:spMk id="53" creationId="{7AA1F7FA-AA52-FED3-1784-BE66C8A7FBFC}"/>
          </ac:spMkLst>
        </pc:spChg>
        <pc:spChg chg="mod">
          <ac:chgData name="Eileen Fleming Suse" userId="S::efs3844@ads.northwestern.edu::725c94ef-d051-42d7-9d33-8572765d592b" providerId="AD" clId="Web-{61DCECB8-FCC4-463F-180A-DE94BEA715D4}" dt="2023-10-30T19:47:01.156" v="33" actId="1076"/>
          <ac:spMkLst>
            <pc:docMk/>
            <pc:sldMk cId="1536434647" sldId="564"/>
            <ac:spMk id="55" creationId="{20BABE46-A93F-751A-4C5F-3AC294D73230}"/>
          </ac:spMkLst>
        </pc:spChg>
      </pc:sldChg>
      <pc:sldChg chg="modSp">
        <pc:chgData name="Eileen Fleming Suse" userId="S::efs3844@ads.northwestern.edu::725c94ef-d051-42d7-9d33-8572765d592b" providerId="AD" clId="Web-{61DCECB8-FCC4-463F-180A-DE94BEA715D4}" dt="2023-10-30T22:49:24.356" v="387" actId="20577"/>
        <pc:sldMkLst>
          <pc:docMk/>
          <pc:sldMk cId="3870927286" sldId="583"/>
        </pc:sldMkLst>
        <pc:spChg chg="mod">
          <ac:chgData name="Eileen Fleming Suse" userId="S::efs3844@ads.northwestern.edu::725c94ef-d051-42d7-9d33-8572765d592b" providerId="AD" clId="Web-{61DCECB8-FCC4-463F-180A-DE94BEA715D4}" dt="2023-10-30T22:47:53.713" v="367" actId="1076"/>
          <ac:spMkLst>
            <pc:docMk/>
            <pc:sldMk cId="3870927286" sldId="583"/>
            <ac:spMk id="2" creationId="{00000000-0000-0000-0000-000000000000}"/>
          </ac:spMkLst>
        </pc:spChg>
        <pc:spChg chg="mod">
          <ac:chgData name="Eileen Fleming Suse" userId="S::efs3844@ads.northwestern.edu::725c94ef-d051-42d7-9d33-8572765d592b" providerId="AD" clId="Web-{61DCECB8-FCC4-463F-180A-DE94BEA715D4}" dt="2023-10-30T22:49:24.356" v="387" actId="20577"/>
          <ac:spMkLst>
            <pc:docMk/>
            <pc:sldMk cId="3870927286" sldId="583"/>
            <ac:spMk id="13" creationId="{00000000-0000-0000-0000-000000000000}"/>
          </ac:spMkLst>
        </pc:spChg>
        <pc:spChg chg="mod">
          <ac:chgData name="Eileen Fleming Suse" userId="S::efs3844@ads.northwestern.edu::725c94ef-d051-42d7-9d33-8572765d592b" providerId="AD" clId="Web-{61DCECB8-FCC4-463F-180A-DE94BEA715D4}" dt="2023-10-30T22:48:44.855" v="383" actId="1076"/>
          <ac:spMkLst>
            <pc:docMk/>
            <pc:sldMk cId="3870927286" sldId="583"/>
            <ac:spMk id="14" creationId="{00000000-0000-0000-0000-000000000000}"/>
          </ac:spMkLst>
        </pc:spChg>
        <pc:spChg chg="mod">
          <ac:chgData name="Eileen Fleming Suse" userId="S::efs3844@ads.northwestern.edu::725c94ef-d051-42d7-9d33-8572765d592b" providerId="AD" clId="Web-{61DCECB8-FCC4-463F-180A-DE94BEA715D4}" dt="2023-10-30T22:47:53.869" v="373" actId="1076"/>
          <ac:spMkLst>
            <pc:docMk/>
            <pc:sldMk cId="3870927286" sldId="583"/>
            <ac:spMk id="39" creationId="{00000000-0000-0000-0000-000000000000}"/>
          </ac:spMkLst>
        </pc:spChg>
        <pc:spChg chg="mod">
          <ac:chgData name="Eileen Fleming Suse" userId="S::efs3844@ads.northwestern.edu::725c94ef-d051-42d7-9d33-8572765d592b" providerId="AD" clId="Web-{61DCECB8-FCC4-463F-180A-DE94BEA715D4}" dt="2023-10-30T22:47:53.885" v="374" actId="1076"/>
          <ac:spMkLst>
            <pc:docMk/>
            <pc:sldMk cId="3870927286" sldId="583"/>
            <ac:spMk id="40" creationId="{00000000-0000-0000-0000-000000000000}"/>
          </ac:spMkLst>
        </pc:spChg>
        <pc:spChg chg="mod">
          <ac:chgData name="Eileen Fleming Suse" userId="S::efs3844@ads.northwestern.edu::725c94ef-d051-42d7-9d33-8572765d592b" providerId="AD" clId="Web-{61DCECB8-FCC4-463F-180A-DE94BEA715D4}" dt="2023-10-30T22:47:53.900" v="375" actId="1076"/>
          <ac:spMkLst>
            <pc:docMk/>
            <pc:sldMk cId="3870927286" sldId="583"/>
            <ac:spMk id="41" creationId="{00000000-0000-0000-0000-000000000000}"/>
          </ac:spMkLst>
        </pc:spChg>
        <pc:spChg chg="mod">
          <ac:chgData name="Eileen Fleming Suse" userId="S::efs3844@ads.northwestern.edu::725c94ef-d051-42d7-9d33-8572765d592b" providerId="AD" clId="Web-{61DCECB8-FCC4-463F-180A-DE94BEA715D4}" dt="2023-10-30T22:47:53.744" v="368" actId="1076"/>
          <ac:spMkLst>
            <pc:docMk/>
            <pc:sldMk cId="3870927286" sldId="583"/>
            <ac:spMk id="51" creationId="{00000000-0000-0000-0000-000000000000}"/>
          </ac:spMkLst>
        </pc:spChg>
        <pc:grpChg chg="mod">
          <ac:chgData name="Eileen Fleming Suse" userId="S::efs3844@ads.northwestern.edu::725c94ef-d051-42d7-9d33-8572765d592b" providerId="AD" clId="Web-{61DCECB8-FCC4-463F-180A-DE94BEA715D4}" dt="2023-10-30T22:48:23.542" v="380" actId="14100"/>
          <ac:grpSpMkLst>
            <pc:docMk/>
            <pc:sldMk cId="3870927286" sldId="583"/>
            <ac:grpSpMk id="3" creationId="{00000000-0000-0000-0000-000000000000}"/>
          </ac:grpSpMkLst>
        </pc:grpChg>
        <pc:grpChg chg="mod">
          <ac:chgData name="Eileen Fleming Suse" userId="S::efs3844@ads.northwestern.edu::725c94ef-d051-42d7-9d33-8572765d592b" providerId="AD" clId="Web-{61DCECB8-FCC4-463F-180A-DE94BEA715D4}" dt="2023-10-30T22:48:35.464" v="381" actId="1076"/>
          <ac:grpSpMkLst>
            <pc:docMk/>
            <pc:sldMk cId="3870927286" sldId="583"/>
            <ac:grpSpMk id="6" creationId="{00000000-0000-0000-0000-000000000000}"/>
          </ac:grpSpMkLst>
        </pc:grpChg>
        <pc:grpChg chg="mod">
          <ac:chgData name="Eileen Fleming Suse" userId="S::efs3844@ads.northwestern.edu::725c94ef-d051-42d7-9d33-8572765d592b" providerId="AD" clId="Web-{61DCECB8-FCC4-463F-180A-DE94BEA715D4}" dt="2023-10-30T22:48:36.042" v="382" actId="1076"/>
          <ac:grpSpMkLst>
            <pc:docMk/>
            <pc:sldMk cId="3870927286" sldId="583"/>
            <ac:grpSpMk id="9" creationId="{00000000-0000-0000-0000-000000000000}"/>
          </ac:grpSpMkLst>
        </pc:grpChg>
        <pc:grpChg chg="mod">
          <ac:chgData name="Eileen Fleming Suse" userId="S::efs3844@ads.northwestern.edu::725c94ef-d051-42d7-9d33-8572765d592b" providerId="AD" clId="Web-{61DCECB8-FCC4-463F-180A-DE94BEA715D4}" dt="2023-10-30T22:48:54.965" v="384" actId="14100"/>
          <ac:grpSpMkLst>
            <pc:docMk/>
            <pc:sldMk cId="3870927286" sldId="583"/>
            <ac:grpSpMk id="15" creationId="{00000000-0000-0000-0000-000000000000}"/>
          </ac:grpSpMkLst>
        </pc:grpChg>
        <pc:grpChg chg="mod">
          <ac:chgData name="Eileen Fleming Suse" userId="S::efs3844@ads.northwestern.edu::725c94ef-d051-42d7-9d33-8572765d592b" providerId="AD" clId="Web-{61DCECB8-FCC4-463F-180A-DE94BEA715D4}" dt="2023-10-30T22:49:04.090" v="385" actId="14100"/>
          <ac:grpSpMkLst>
            <pc:docMk/>
            <pc:sldMk cId="3870927286" sldId="583"/>
            <ac:grpSpMk id="21" creationId="{00000000-0000-0000-0000-000000000000}"/>
          </ac:grpSpMkLst>
        </pc:grpChg>
        <pc:grpChg chg="mod">
          <ac:chgData name="Eileen Fleming Suse" userId="S::efs3844@ads.northwestern.edu::725c94ef-d051-42d7-9d33-8572765d592b" providerId="AD" clId="Web-{61DCECB8-FCC4-463F-180A-DE94BEA715D4}" dt="2023-10-30T22:48:03.635" v="377" actId="14100"/>
          <ac:grpSpMkLst>
            <pc:docMk/>
            <pc:sldMk cId="3870927286" sldId="583"/>
            <ac:grpSpMk id="30" creationId="{00000000-0000-0000-0000-000000000000}"/>
          </ac:grpSpMkLst>
        </pc:grpChg>
        <pc:grpChg chg="mod">
          <ac:chgData name="Eileen Fleming Suse" userId="S::efs3844@ads.northwestern.edu::725c94ef-d051-42d7-9d33-8572765d592b" providerId="AD" clId="Web-{61DCECB8-FCC4-463F-180A-DE94BEA715D4}" dt="2023-10-30T22:48:13.416" v="378" actId="1076"/>
          <ac:grpSpMkLst>
            <pc:docMk/>
            <pc:sldMk cId="3870927286" sldId="583"/>
            <ac:grpSpMk id="33" creationId="{00000000-0000-0000-0000-000000000000}"/>
          </ac:grpSpMkLst>
        </pc:grpChg>
        <pc:grpChg chg="mod">
          <ac:chgData name="Eileen Fleming Suse" userId="S::efs3844@ads.northwestern.edu::725c94ef-d051-42d7-9d33-8572765d592b" providerId="AD" clId="Web-{61DCECB8-FCC4-463F-180A-DE94BEA715D4}" dt="2023-10-30T22:47:53.869" v="372" actId="1076"/>
          <ac:grpSpMkLst>
            <pc:docMk/>
            <pc:sldMk cId="3870927286" sldId="583"/>
            <ac:grpSpMk id="36" creationId="{00000000-0000-0000-0000-000000000000}"/>
          </ac:grpSpMkLst>
        </pc:grpChg>
        <pc:picChg chg="mod">
          <ac:chgData name="Eileen Fleming Suse" userId="S::efs3844@ads.northwestern.edu::725c94ef-d051-42d7-9d33-8572765d592b" providerId="AD" clId="Web-{61DCECB8-FCC4-463F-180A-DE94BEA715D4}" dt="2023-10-30T22:47:53.791" v="369" actId="1076"/>
          <ac:picMkLst>
            <pc:docMk/>
            <pc:sldMk cId="3870927286" sldId="583"/>
            <ac:picMk id="18" creationId="{1199796C-BA73-A007-E570-EBC0C69CD679}"/>
          </ac:picMkLst>
        </pc:picChg>
      </pc:sldChg>
      <pc:sldChg chg="modSp">
        <pc:chgData name="Eileen Fleming Suse" userId="S::efs3844@ads.northwestern.edu::725c94ef-d051-42d7-9d33-8572765d592b" providerId="AD" clId="Web-{61DCECB8-FCC4-463F-180A-DE94BEA715D4}" dt="2023-10-30T20:02:49.334" v="116" actId="20577"/>
        <pc:sldMkLst>
          <pc:docMk/>
          <pc:sldMk cId="3561966490" sldId="585"/>
        </pc:sldMkLst>
        <pc:spChg chg="mod">
          <ac:chgData name="Eileen Fleming Suse" userId="S::efs3844@ads.northwestern.edu::725c94ef-d051-42d7-9d33-8572765d592b" providerId="AD" clId="Web-{61DCECB8-FCC4-463F-180A-DE94BEA715D4}" dt="2023-10-30T20:02:49.334" v="116" actId="20577"/>
          <ac:spMkLst>
            <pc:docMk/>
            <pc:sldMk cId="3561966490" sldId="585"/>
            <ac:spMk id="7" creationId="{00000000-0000-0000-0000-000000000000}"/>
          </ac:spMkLst>
        </pc:spChg>
      </pc:sldChg>
      <pc:sldChg chg="modSp">
        <pc:chgData name="Eileen Fleming Suse" userId="S::efs3844@ads.northwestern.edu::725c94ef-d051-42d7-9d33-8572765d592b" providerId="AD" clId="Web-{61DCECB8-FCC4-463F-180A-DE94BEA715D4}" dt="2023-10-30T19:53:05.930" v="77" actId="14100"/>
        <pc:sldMkLst>
          <pc:docMk/>
          <pc:sldMk cId="3809547791" sldId="586"/>
        </pc:sldMkLst>
        <pc:spChg chg="mod">
          <ac:chgData name="Eileen Fleming Suse" userId="S::efs3844@ads.northwestern.edu::725c94ef-d051-42d7-9d33-8572765d592b" providerId="AD" clId="Web-{61DCECB8-FCC4-463F-180A-DE94BEA715D4}" dt="2023-10-30T19:53:05.930" v="77" actId="14100"/>
          <ac:spMkLst>
            <pc:docMk/>
            <pc:sldMk cId="3809547791" sldId="586"/>
            <ac:spMk id="45" creationId="{C77E478B-4FF6-99F3-8EF6-9EC4CBF20CDC}"/>
          </ac:spMkLst>
        </pc:spChg>
        <pc:spChg chg="mod">
          <ac:chgData name="Eileen Fleming Suse" userId="S::efs3844@ads.northwestern.edu::725c94ef-d051-42d7-9d33-8572765d592b" providerId="AD" clId="Web-{61DCECB8-FCC4-463F-180A-DE94BEA715D4}" dt="2023-10-30T19:52:21.335" v="74" actId="1076"/>
          <ac:spMkLst>
            <pc:docMk/>
            <pc:sldMk cId="3809547791" sldId="586"/>
            <ac:spMk id="47" creationId="{B8E0B5F5-B6A2-711D-2F6F-422E5E01B221}"/>
          </ac:spMkLst>
        </pc:spChg>
      </pc:sldChg>
      <pc:sldChg chg="modSp">
        <pc:chgData name="Eileen Fleming Suse" userId="S::efs3844@ads.northwestern.edu::725c94ef-d051-42d7-9d33-8572765d592b" providerId="AD" clId="Web-{61DCECB8-FCC4-463F-180A-DE94BEA715D4}" dt="2023-10-30T19:52:12.554" v="72" actId="1076"/>
        <pc:sldMkLst>
          <pc:docMk/>
          <pc:sldMk cId="1598854783" sldId="587"/>
        </pc:sldMkLst>
        <pc:spChg chg="mod">
          <ac:chgData name="Eileen Fleming Suse" userId="S::efs3844@ads.northwestern.edu::725c94ef-d051-42d7-9d33-8572765d592b" providerId="AD" clId="Web-{61DCECB8-FCC4-463F-180A-DE94BEA715D4}" dt="2023-10-30T19:52:12.554" v="72" actId="1076"/>
          <ac:spMkLst>
            <pc:docMk/>
            <pc:sldMk cId="1598854783" sldId="587"/>
            <ac:spMk id="49" creationId="{E2210AC7-88E9-3DF2-B6FD-284390179A81}"/>
          </ac:spMkLst>
        </pc:spChg>
        <pc:spChg chg="mod">
          <ac:chgData name="Eileen Fleming Suse" userId="S::efs3844@ads.northwestern.edu::725c94ef-d051-42d7-9d33-8572765d592b" providerId="AD" clId="Web-{61DCECB8-FCC4-463F-180A-DE94BEA715D4}" dt="2023-10-30T19:50:46.880" v="70" actId="1076"/>
          <ac:spMkLst>
            <pc:docMk/>
            <pc:sldMk cId="1598854783" sldId="587"/>
            <ac:spMk id="51" creationId="{24A2DEC9-4CC0-CBF0-5D9A-524D9EFAEE1C}"/>
          </ac:spMkLst>
        </pc:spChg>
        <pc:spChg chg="mod">
          <ac:chgData name="Eileen Fleming Suse" userId="S::efs3844@ads.northwestern.edu::725c94ef-d051-42d7-9d33-8572765d592b" providerId="AD" clId="Web-{61DCECB8-FCC4-463F-180A-DE94BEA715D4}" dt="2023-10-30T19:50:45.505" v="69" actId="1076"/>
          <ac:spMkLst>
            <pc:docMk/>
            <pc:sldMk cId="1598854783" sldId="587"/>
            <ac:spMk id="53" creationId="{0E0706BB-4123-83DA-E93A-66A50F4484A3}"/>
          </ac:spMkLst>
        </pc:spChg>
      </pc:sldChg>
      <pc:sldChg chg="modSp">
        <pc:chgData name="Eileen Fleming Suse" userId="S::efs3844@ads.northwestern.edu::725c94ef-d051-42d7-9d33-8572765d592b" providerId="AD" clId="Web-{61DCECB8-FCC4-463F-180A-DE94BEA715D4}" dt="2023-10-30T19:56:42.544" v="104" actId="1076"/>
        <pc:sldMkLst>
          <pc:docMk/>
          <pc:sldMk cId="3832963388" sldId="588"/>
        </pc:sldMkLst>
        <pc:spChg chg="mod">
          <ac:chgData name="Eileen Fleming Suse" userId="S::efs3844@ads.northwestern.edu::725c94ef-d051-42d7-9d33-8572765d592b" providerId="AD" clId="Web-{61DCECB8-FCC4-463F-180A-DE94BEA715D4}" dt="2023-10-30T19:56:42.544" v="104" actId="1076"/>
          <ac:spMkLst>
            <pc:docMk/>
            <pc:sldMk cId="3832963388" sldId="588"/>
            <ac:spMk id="27" creationId="{00000000-0000-0000-0000-000000000000}"/>
          </ac:spMkLst>
        </pc:spChg>
        <pc:spChg chg="mod">
          <ac:chgData name="Eileen Fleming Suse" userId="S::efs3844@ads.northwestern.edu::725c94ef-d051-42d7-9d33-8572765d592b" providerId="AD" clId="Web-{61DCECB8-FCC4-463F-180A-DE94BEA715D4}" dt="2023-10-30T19:56:12.966" v="102" actId="1076"/>
          <ac:spMkLst>
            <pc:docMk/>
            <pc:sldMk cId="3832963388" sldId="588"/>
            <ac:spMk id="32" creationId="{00000000-0000-0000-0000-000000000000}"/>
          </ac:spMkLst>
        </pc:spChg>
        <pc:spChg chg="mod">
          <ac:chgData name="Eileen Fleming Suse" userId="S::efs3844@ads.northwestern.edu::725c94ef-d051-42d7-9d33-8572765d592b" providerId="AD" clId="Web-{61DCECB8-FCC4-463F-180A-DE94BEA715D4}" dt="2023-10-30T19:50:22.270" v="62" actId="14100"/>
          <ac:spMkLst>
            <pc:docMk/>
            <pc:sldMk cId="3832963388" sldId="588"/>
            <ac:spMk id="36" creationId="{3EFC5C80-E693-6C51-4DEF-583812BEAB54}"/>
          </ac:spMkLst>
        </pc:spChg>
        <pc:spChg chg="mod">
          <ac:chgData name="Eileen Fleming Suse" userId="S::efs3844@ads.northwestern.edu::725c94ef-d051-42d7-9d33-8572765d592b" providerId="AD" clId="Web-{61DCECB8-FCC4-463F-180A-DE94BEA715D4}" dt="2023-10-30T19:50:16.801" v="59" actId="1076"/>
          <ac:spMkLst>
            <pc:docMk/>
            <pc:sldMk cId="3832963388" sldId="588"/>
            <ac:spMk id="38" creationId="{9B32A794-89CE-3CF7-CCFB-FB03BB567C6D}"/>
          </ac:spMkLst>
        </pc:spChg>
      </pc:sldChg>
      <pc:sldChg chg="modSp">
        <pc:chgData name="Eileen Fleming Suse" userId="S::efs3844@ads.northwestern.edu::725c94ef-d051-42d7-9d33-8572765d592b" providerId="AD" clId="Web-{61DCECB8-FCC4-463F-180A-DE94BEA715D4}" dt="2023-10-30T19:56:26.903" v="103" actId="20577"/>
        <pc:sldMkLst>
          <pc:docMk/>
          <pc:sldMk cId="435998680" sldId="589"/>
        </pc:sldMkLst>
        <pc:spChg chg="mod">
          <ac:chgData name="Eileen Fleming Suse" userId="S::efs3844@ads.northwestern.edu::725c94ef-d051-42d7-9d33-8572765d592b" providerId="AD" clId="Web-{61DCECB8-FCC4-463F-180A-DE94BEA715D4}" dt="2023-10-30T19:54:21.947" v="86" actId="1076"/>
          <ac:spMkLst>
            <pc:docMk/>
            <pc:sldMk cId="435998680" sldId="589"/>
            <ac:spMk id="3" creationId="{00000000-0000-0000-0000-000000000000}"/>
          </ac:spMkLst>
        </pc:spChg>
        <pc:spChg chg="mod">
          <ac:chgData name="Eileen Fleming Suse" userId="S::efs3844@ads.northwestern.edu::725c94ef-d051-42d7-9d33-8572765d592b" providerId="AD" clId="Web-{61DCECB8-FCC4-463F-180A-DE94BEA715D4}" dt="2023-10-30T19:55:39.215" v="99" actId="1076"/>
          <ac:spMkLst>
            <pc:docMk/>
            <pc:sldMk cId="435998680" sldId="589"/>
            <ac:spMk id="8" creationId="{00000000-0000-0000-0000-000000000000}"/>
          </ac:spMkLst>
        </pc:spChg>
        <pc:spChg chg="mod">
          <ac:chgData name="Eileen Fleming Suse" userId="S::efs3844@ads.northwestern.edu::725c94ef-d051-42d7-9d33-8572765d592b" providerId="AD" clId="Web-{61DCECB8-FCC4-463F-180A-DE94BEA715D4}" dt="2023-10-30T19:54:19.322" v="85" actId="14100"/>
          <ac:spMkLst>
            <pc:docMk/>
            <pc:sldMk cId="435998680" sldId="589"/>
            <ac:spMk id="10" creationId="{00000000-0000-0000-0000-000000000000}"/>
          </ac:spMkLst>
        </pc:spChg>
        <pc:spChg chg="mod">
          <ac:chgData name="Eileen Fleming Suse" userId="S::efs3844@ads.northwestern.edu::725c94ef-d051-42d7-9d33-8572765d592b" providerId="AD" clId="Web-{61DCECB8-FCC4-463F-180A-DE94BEA715D4}" dt="2023-10-30T19:54:08.025" v="83" actId="1076"/>
          <ac:spMkLst>
            <pc:docMk/>
            <pc:sldMk cId="435998680" sldId="589"/>
            <ac:spMk id="13" creationId="{00000000-0000-0000-0000-000000000000}"/>
          </ac:spMkLst>
        </pc:spChg>
        <pc:spChg chg="mod">
          <ac:chgData name="Eileen Fleming Suse" userId="S::efs3844@ads.northwestern.edu::725c94ef-d051-42d7-9d33-8572765d592b" providerId="AD" clId="Web-{61DCECB8-FCC4-463F-180A-DE94BEA715D4}" dt="2023-10-30T19:56:26.903" v="103" actId="20577"/>
          <ac:spMkLst>
            <pc:docMk/>
            <pc:sldMk cId="435998680" sldId="589"/>
            <ac:spMk id="16" creationId="{00000000-0000-0000-0000-000000000000}"/>
          </ac:spMkLst>
        </pc:spChg>
        <pc:spChg chg="mod">
          <ac:chgData name="Eileen Fleming Suse" userId="S::efs3844@ads.northwestern.edu::725c94ef-d051-42d7-9d33-8572765d592b" providerId="AD" clId="Web-{61DCECB8-FCC4-463F-180A-DE94BEA715D4}" dt="2023-10-30T19:54:46.620" v="90" actId="20577"/>
          <ac:spMkLst>
            <pc:docMk/>
            <pc:sldMk cId="435998680" sldId="589"/>
            <ac:spMk id="17" creationId="{00000000-0000-0000-0000-000000000000}"/>
          </ac:spMkLst>
        </pc:spChg>
        <pc:spChg chg="mod">
          <ac:chgData name="Eileen Fleming Suse" userId="S::efs3844@ads.northwestern.edu::725c94ef-d051-42d7-9d33-8572765d592b" providerId="AD" clId="Web-{61DCECB8-FCC4-463F-180A-DE94BEA715D4}" dt="2023-10-30T19:49:42.800" v="52" actId="14100"/>
          <ac:spMkLst>
            <pc:docMk/>
            <pc:sldMk cId="435998680" sldId="589"/>
            <ac:spMk id="19" creationId="{4F38B046-5CD5-F005-45E3-2034830DFD34}"/>
          </ac:spMkLst>
        </pc:spChg>
        <pc:spChg chg="mod">
          <ac:chgData name="Eileen Fleming Suse" userId="S::efs3844@ads.northwestern.edu::725c94ef-d051-42d7-9d33-8572765d592b" providerId="AD" clId="Web-{61DCECB8-FCC4-463F-180A-DE94BEA715D4}" dt="2023-10-30T19:49:51.378" v="55" actId="1076"/>
          <ac:spMkLst>
            <pc:docMk/>
            <pc:sldMk cId="435998680" sldId="589"/>
            <ac:spMk id="21" creationId="{A35E0C3C-CC22-A1A0-8E94-9EEE65798BD1}"/>
          </ac:spMkLst>
        </pc:spChg>
        <pc:spChg chg="mod">
          <ac:chgData name="Eileen Fleming Suse" userId="S::efs3844@ads.northwestern.edu::725c94ef-d051-42d7-9d33-8572765d592b" providerId="AD" clId="Web-{61DCECB8-FCC4-463F-180A-DE94BEA715D4}" dt="2023-10-30T19:48:51.643" v="51" actId="1076"/>
          <ac:spMkLst>
            <pc:docMk/>
            <pc:sldMk cId="435998680" sldId="589"/>
            <ac:spMk id="23" creationId="{4187CCE4-601B-24DB-941F-235B18EDE475}"/>
          </ac:spMkLst>
        </pc:spChg>
        <pc:grpChg chg="mod">
          <ac:chgData name="Eileen Fleming Suse" userId="S::efs3844@ads.northwestern.edu::725c94ef-d051-42d7-9d33-8572765d592b" providerId="AD" clId="Web-{61DCECB8-FCC4-463F-180A-DE94BEA715D4}" dt="2023-10-30T19:54:05.572" v="82" actId="1076"/>
          <ac:grpSpMkLst>
            <pc:docMk/>
            <pc:sldMk cId="435998680" sldId="589"/>
            <ac:grpSpMk id="5" creationId="{00000000-0000-0000-0000-000000000000}"/>
          </ac:grpSpMkLst>
        </pc:grpChg>
      </pc:sldChg>
      <pc:sldChg chg="modSp">
        <pc:chgData name="Eileen Fleming Suse" userId="S::efs3844@ads.northwestern.edu::725c94ef-d051-42d7-9d33-8572765d592b" providerId="AD" clId="Web-{61DCECB8-FCC4-463F-180A-DE94BEA715D4}" dt="2023-10-30T19:53:40.587" v="81" actId="1076"/>
        <pc:sldMkLst>
          <pc:docMk/>
          <pc:sldMk cId="595546358" sldId="590"/>
        </pc:sldMkLst>
        <pc:spChg chg="mod">
          <ac:chgData name="Eileen Fleming Suse" userId="S::efs3844@ads.northwestern.edu::725c94ef-d051-42d7-9d33-8572765d592b" providerId="AD" clId="Web-{61DCECB8-FCC4-463F-180A-DE94BEA715D4}" dt="2023-10-30T19:53:37.665" v="80" actId="1076"/>
          <ac:spMkLst>
            <pc:docMk/>
            <pc:sldMk cId="595546358" sldId="590"/>
            <ac:spMk id="26" creationId="{00000000-0000-0000-0000-000000000000}"/>
          </ac:spMkLst>
        </pc:spChg>
        <pc:spChg chg="mod">
          <ac:chgData name="Eileen Fleming Suse" userId="S::efs3844@ads.northwestern.edu::725c94ef-d051-42d7-9d33-8572765d592b" providerId="AD" clId="Web-{61DCECB8-FCC4-463F-180A-DE94BEA715D4}" dt="2023-10-30T19:53:22.602" v="79" actId="1076"/>
          <ac:spMkLst>
            <pc:docMk/>
            <pc:sldMk cId="595546358" sldId="590"/>
            <ac:spMk id="30" creationId="{53721EF8-C35D-834E-9339-D65FFE7AFF9A}"/>
          </ac:spMkLst>
        </pc:spChg>
        <pc:spChg chg="mod">
          <ac:chgData name="Eileen Fleming Suse" userId="S::efs3844@ads.northwestern.edu::725c94ef-d051-42d7-9d33-8572765d592b" providerId="AD" clId="Web-{61DCECB8-FCC4-463F-180A-DE94BEA715D4}" dt="2023-10-30T19:53:20.774" v="78" actId="1076"/>
          <ac:spMkLst>
            <pc:docMk/>
            <pc:sldMk cId="595546358" sldId="590"/>
            <ac:spMk id="32" creationId="{F1AED984-C21E-AA63-E34E-DA61BCE8401F}"/>
          </ac:spMkLst>
        </pc:spChg>
        <pc:spChg chg="mod">
          <ac:chgData name="Eileen Fleming Suse" userId="S::efs3844@ads.northwestern.edu::725c94ef-d051-42d7-9d33-8572765d592b" providerId="AD" clId="Web-{61DCECB8-FCC4-463F-180A-DE94BEA715D4}" dt="2023-10-30T19:48:30.908" v="45" actId="1076"/>
          <ac:spMkLst>
            <pc:docMk/>
            <pc:sldMk cId="595546358" sldId="590"/>
            <ac:spMk id="34" creationId="{6A9EBE99-61D6-2DC0-EB79-B633C9D91DD8}"/>
          </ac:spMkLst>
        </pc:spChg>
        <pc:grpChg chg="mod">
          <ac:chgData name="Eileen Fleming Suse" userId="S::efs3844@ads.northwestern.edu::725c94ef-d051-42d7-9d33-8572765d592b" providerId="AD" clId="Web-{61DCECB8-FCC4-463F-180A-DE94BEA715D4}" dt="2023-10-30T19:53:40.587" v="81" actId="1076"/>
          <ac:grpSpMkLst>
            <pc:docMk/>
            <pc:sldMk cId="595546358" sldId="590"/>
            <ac:grpSpMk id="11" creationId="{00000000-0000-0000-0000-000000000000}"/>
          </ac:grpSpMkLst>
        </pc:grpChg>
      </pc:sldChg>
      <pc:sldChg chg="modSp">
        <pc:chgData name="Eileen Fleming Suse" userId="S::efs3844@ads.northwestern.edu::725c94ef-d051-42d7-9d33-8572765d592b" providerId="AD" clId="Web-{61DCECB8-FCC4-463F-180A-DE94BEA715D4}" dt="2023-10-30T19:48:08.470" v="42" actId="1076"/>
        <pc:sldMkLst>
          <pc:docMk/>
          <pc:sldMk cId="629433230" sldId="591"/>
        </pc:sldMkLst>
        <pc:spChg chg="mod">
          <ac:chgData name="Eileen Fleming Suse" userId="S::efs3844@ads.northwestern.edu::725c94ef-d051-42d7-9d33-8572765d592b" providerId="AD" clId="Web-{61DCECB8-FCC4-463F-180A-DE94BEA715D4}" dt="2023-10-30T19:46:46.702" v="31" actId="1076"/>
          <ac:spMkLst>
            <pc:docMk/>
            <pc:sldMk cId="629433230" sldId="591"/>
            <ac:spMk id="24" creationId="{82DED22A-2957-2107-97D2-7694FF88F0A5}"/>
          </ac:spMkLst>
        </pc:spChg>
        <pc:spChg chg="mod">
          <ac:chgData name="Eileen Fleming Suse" userId="S::efs3844@ads.northwestern.edu::725c94ef-d051-42d7-9d33-8572765d592b" providerId="AD" clId="Web-{61DCECB8-FCC4-463F-180A-DE94BEA715D4}" dt="2023-10-30T19:48:08.470" v="42" actId="1076"/>
          <ac:spMkLst>
            <pc:docMk/>
            <pc:sldMk cId="629433230" sldId="591"/>
            <ac:spMk id="26" creationId="{7ADA2A22-B85F-E8A9-52B3-7FA1A111EB25}"/>
          </ac:spMkLst>
        </pc:spChg>
      </pc:sldChg>
      <pc:sldChg chg="del mod modShow">
        <pc:chgData name="Eileen Fleming Suse" userId="S::efs3844@ads.northwestern.edu::725c94ef-d051-42d7-9d33-8572765d592b" providerId="AD" clId="Web-{61DCECB8-FCC4-463F-180A-DE94BEA715D4}" dt="2023-10-30T22:38:32.619" v="291"/>
        <pc:sldMkLst>
          <pc:docMk/>
          <pc:sldMk cId="2628065282" sldId="597"/>
        </pc:sldMkLst>
      </pc:sldChg>
      <pc:sldChg chg="del mod modShow">
        <pc:chgData name="Eileen Fleming Suse" userId="S::efs3844@ads.northwestern.edu::725c94ef-d051-42d7-9d33-8572765d592b" providerId="AD" clId="Web-{61DCECB8-FCC4-463F-180A-DE94BEA715D4}" dt="2023-10-30T22:38:32.619" v="292"/>
        <pc:sldMkLst>
          <pc:docMk/>
          <pc:sldMk cId="1478149357" sldId="598"/>
        </pc:sldMkLst>
      </pc:sldChg>
      <pc:sldChg chg="modSp del">
        <pc:chgData name="Eileen Fleming Suse" userId="S::efs3844@ads.northwestern.edu::725c94ef-d051-42d7-9d33-8572765d592b" providerId="AD" clId="Web-{61DCECB8-FCC4-463F-180A-DE94BEA715D4}" dt="2023-10-30T22:38:32.603" v="287"/>
        <pc:sldMkLst>
          <pc:docMk/>
          <pc:sldMk cId="2470795492" sldId="599"/>
        </pc:sldMkLst>
        <pc:spChg chg="mod">
          <ac:chgData name="Eileen Fleming Suse" userId="S::efs3844@ads.northwestern.edu::725c94ef-d051-42d7-9d33-8572765d592b" providerId="AD" clId="Web-{61DCECB8-FCC4-463F-180A-DE94BEA715D4}" dt="2023-10-30T20:16:22.525" v="250"/>
          <ac:spMkLst>
            <pc:docMk/>
            <pc:sldMk cId="2470795492" sldId="599"/>
            <ac:spMk id="16386" creationId="{00000000-0000-0000-0000-000000000000}"/>
          </ac:spMkLst>
        </pc:spChg>
      </pc:sldChg>
      <pc:sldChg chg="modSp del">
        <pc:chgData name="Eileen Fleming Suse" userId="S::efs3844@ads.northwestern.edu::725c94ef-d051-42d7-9d33-8572765d592b" providerId="AD" clId="Web-{61DCECB8-FCC4-463F-180A-DE94BEA715D4}" dt="2023-10-30T22:38:32.603" v="288"/>
        <pc:sldMkLst>
          <pc:docMk/>
          <pc:sldMk cId="2592767400" sldId="600"/>
        </pc:sldMkLst>
        <pc:spChg chg="mod">
          <ac:chgData name="Eileen Fleming Suse" userId="S::efs3844@ads.northwestern.edu::725c94ef-d051-42d7-9d33-8572765d592b" providerId="AD" clId="Web-{61DCECB8-FCC4-463F-180A-DE94BEA715D4}" dt="2023-10-30T20:16:30.104" v="251"/>
          <ac:spMkLst>
            <pc:docMk/>
            <pc:sldMk cId="2592767400" sldId="600"/>
            <ac:spMk id="16386" creationId="{00000000-0000-0000-0000-000000000000}"/>
          </ac:spMkLst>
        </pc:spChg>
      </pc:sldChg>
      <pc:sldChg chg="del">
        <pc:chgData name="Eileen Fleming Suse" userId="S::efs3844@ads.northwestern.edu::725c94ef-d051-42d7-9d33-8572765d592b" providerId="AD" clId="Web-{61DCECB8-FCC4-463F-180A-DE94BEA715D4}" dt="2023-10-30T22:38:32.603" v="289"/>
        <pc:sldMkLst>
          <pc:docMk/>
          <pc:sldMk cId="3023536423" sldId="601"/>
        </pc:sldMkLst>
      </pc:sldChg>
      <pc:sldChg chg="modSp del">
        <pc:chgData name="Eileen Fleming Suse" userId="S::efs3844@ads.northwestern.edu::725c94ef-d051-42d7-9d33-8572765d592b" providerId="AD" clId="Web-{61DCECB8-FCC4-463F-180A-DE94BEA715D4}" dt="2023-10-30T22:38:32.603" v="290"/>
        <pc:sldMkLst>
          <pc:docMk/>
          <pc:sldMk cId="1011826885" sldId="602"/>
        </pc:sldMkLst>
        <pc:spChg chg="mod">
          <ac:chgData name="Eileen Fleming Suse" userId="S::efs3844@ads.northwestern.edu::725c94ef-d051-42d7-9d33-8572765d592b" providerId="AD" clId="Web-{61DCECB8-FCC4-463F-180A-DE94BEA715D4}" dt="2023-10-30T20:16:36.619" v="252"/>
          <ac:spMkLst>
            <pc:docMk/>
            <pc:sldMk cId="1011826885" sldId="602"/>
            <ac:spMk id="16386" creationId="{00000000-0000-0000-0000-000000000000}"/>
          </ac:spMkLst>
        </pc:spChg>
      </pc:sldChg>
      <pc:sldChg chg="del">
        <pc:chgData name="Eileen Fleming Suse" userId="S::efs3844@ads.northwestern.edu::725c94ef-d051-42d7-9d33-8572765d592b" providerId="AD" clId="Web-{61DCECB8-FCC4-463F-180A-DE94BEA715D4}" dt="2023-10-30T22:38:32.587" v="284"/>
        <pc:sldMkLst>
          <pc:docMk/>
          <pc:sldMk cId="600547746" sldId="603"/>
        </pc:sldMkLst>
      </pc:sldChg>
      <pc:sldChg chg="del">
        <pc:chgData name="Eileen Fleming Suse" userId="S::efs3844@ads.northwestern.edu::725c94ef-d051-42d7-9d33-8572765d592b" providerId="AD" clId="Web-{61DCECB8-FCC4-463F-180A-DE94BEA715D4}" dt="2023-10-30T22:38:32.587" v="285"/>
        <pc:sldMkLst>
          <pc:docMk/>
          <pc:sldMk cId="3355787309" sldId="604"/>
        </pc:sldMkLst>
      </pc:sldChg>
      <pc:sldChg chg="del">
        <pc:chgData name="Eileen Fleming Suse" userId="S::efs3844@ads.northwestern.edu::725c94ef-d051-42d7-9d33-8572765d592b" providerId="AD" clId="Web-{61DCECB8-FCC4-463F-180A-DE94BEA715D4}" dt="2023-10-30T22:38:32.587" v="286"/>
        <pc:sldMkLst>
          <pc:docMk/>
          <pc:sldMk cId="1452140663" sldId="605"/>
        </pc:sldMkLst>
      </pc:sldChg>
      <pc:sldChg chg="del">
        <pc:chgData name="Eileen Fleming Suse" userId="S::efs3844@ads.northwestern.edu::725c94ef-d051-42d7-9d33-8572765d592b" providerId="AD" clId="Web-{61DCECB8-FCC4-463F-180A-DE94BEA715D4}" dt="2023-10-30T22:38:32.572" v="280"/>
        <pc:sldMkLst>
          <pc:docMk/>
          <pc:sldMk cId="1937423064" sldId="606"/>
        </pc:sldMkLst>
      </pc:sldChg>
      <pc:sldChg chg="del">
        <pc:chgData name="Eileen Fleming Suse" userId="S::efs3844@ads.northwestern.edu::725c94ef-d051-42d7-9d33-8572765d592b" providerId="AD" clId="Web-{61DCECB8-FCC4-463F-180A-DE94BEA715D4}" dt="2023-10-30T22:38:32.572" v="281"/>
        <pc:sldMkLst>
          <pc:docMk/>
          <pc:sldMk cId="3774016129" sldId="607"/>
        </pc:sldMkLst>
      </pc:sldChg>
      <pc:sldChg chg="del">
        <pc:chgData name="Eileen Fleming Suse" userId="S::efs3844@ads.northwestern.edu::725c94ef-d051-42d7-9d33-8572765d592b" providerId="AD" clId="Web-{61DCECB8-FCC4-463F-180A-DE94BEA715D4}" dt="2023-10-30T22:38:32.572" v="282"/>
        <pc:sldMkLst>
          <pc:docMk/>
          <pc:sldMk cId="3226012611" sldId="608"/>
        </pc:sldMkLst>
      </pc:sldChg>
      <pc:sldChg chg="del">
        <pc:chgData name="Eileen Fleming Suse" userId="S::efs3844@ads.northwestern.edu::725c94ef-d051-42d7-9d33-8572765d592b" providerId="AD" clId="Web-{61DCECB8-FCC4-463F-180A-DE94BEA715D4}" dt="2023-10-30T22:38:32.587" v="283"/>
        <pc:sldMkLst>
          <pc:docMk/>
          <pc:sldMk cId="2003568291" sldId="609"/>
        </pc:sldMkLst>
      </pc:sldChg>
      <pc:sldChg chg="modSp">
        <pc:chgData name="Eileen Fleming Suse" userId="S::efs3844@ads.northwestern.edu::725c94ef-d051-42d7-9d33-8572765d592b" providerId="AD" clId="Web-{61DCECB8-FCC4-463F-180A-DE94BEA715D4}" dt="2023-10-30T19:46:03.186" v="29" actId="20577"/>
        <pc:sldMkLst>
          <pc:docMk/>
          <pc:sldMk cId="3850125703" sldId="622"/>
        </pc:sldMkLst>
        <pc:spChg chg="mod">
          <ac:chgData name="Eileen Fleming Suse" userId="S::efs3844@ads.northwestern.edu::725c94ef-d051-42d7-9d33-8572765d592b" providerId="AD" clId="Web-{61DCECB8-FCC4-463F-180A-DE94BEA715D4}" dt="2023-10-30T19:45:47.826" v="6" actId="20577"/>
          <ac:spMkLst>
            <pc:docMk/>
            <pc:sldMk cId="3850125703" sldId="622"/>
            <ac:spMk id="12" creationId="{00000000-0000-0000-0000-000000000000}"/>
          </ac:spMkLst>
        </pc:spChg>
        <pc:spChg chg="mod">
          <ac:chgData name="Eileen Fleming Suse" userId="S::efs3844@ads.northwestern.edu::725c94ef-d051-42d7-9d33-8572765d592b" providerId="AD" clId="Web-{61DCECB8-FCC4-463F-180A-DE94BEA715D4}" dt="2023-10-30T19:45:56.310" v="22" actId="20577"/>
          <ac:spMkLst>
            <pc:docMk/>
            <pc:sldMk cId="3850125703" sldId="622"/>
            <ac:spMk id="27" creationId="{00000000-0000-0000-0000-000000000000}"/>
          </ac:spMkLst>
        </pc:spChg>
        <pc:spChg chg="mod">
          <ac:chgData name="Eileen Fleming Suse" userId="S::efs3844@ads.northwestern.edu::725c94ef-d051-42d7-9d33-8572765d592b" providerId="AD" clId="Web-{61DCECB8-FCC4-463F-180A-DE94BEA715D4}" dt="2023-10-30T19:45:49.076" v="8" actId="20577"/>
          <ac:spMkLst>
            <pc:docMk/>
            <pc:sldMk cId="3850125703" sldId="622"/>
            <ac:spMk id="39" creationId="{00000000-0000-0000-0000-000000000000}"/>
          </ac:spMkLst>
        </pc:spChg>
        <pc:spChg chg="mod">
          <ac:chgData name="Eileen Fleming Suse" userId="S::efs3844@ads.northwestern.edu::725c94ef-d051-42d7-9d33-8572765d592b" providerId="AD" clId="Web-{61DCECB8-FCC4-463F-180A-DE94BEA715D4}" dt="2023-10-30T19:46:03.186" v="29" actId="20577"/>
          <ac:spMkLst>
            <pc:docMk/>
            <pc:sldMk cId="3850125703" sldId="622"/>
            <ac:spMk id="48" creationId="{00000000-0000-0000-0000-000000000000}"/>
          </ac:spMkLst>
        </pc:spChg>
      </pc:sldChg>
      <pc:sldChg chg="del">
        <pc:chgData name="Eileen Fleming Suse" userId="S::efs3844@ads.northwestern.edu::725c94ef-d051-42d7-9d33-8572765d592b" providerId="AD" clId="Web-{61DCECB8-FCC4-463F-180A-DE94BEA715D4}" dt="2023-10-30T22:38:32.572" v="278"/>
        <pc:sldMkLst>
          <pc:docMk/>
          <pc:sldMk cId="1987746666" sldId="623"/>
        </pc:sldMkLst>
      </pc:sldChg>
      <pc:sldChg chg="del">
        <pc:chgData name="Eileen Fleming Suse" userId="S::efs3844@ads.northwestern.edu::725c94ef-d051-42d7-9d33-8572765d592b" providerId="AD" clId="Web-{61DCECB8-FCC4-463F-180A-DE94BEA715D4}" dt="2023-10-30T22:38:32.572" v="279"/>
        <pc:sldMkLst>
          <pc:docMk/>
          <pc:sldMk cId="924990962" sldId="625"/>
        </pc:sldMkLst>
      </pc:sldChg>
      <pc:sldChg chg="del">
        <pc:chgData name="Eileen Fleming Suse" userId="S::efs3844@ads.northwestern.edu::725c94ef-d051-42d7-9d33-8572765d592b" providerId="AD" clId="Web-{61DCECB8-FCC4-463F-180A-DE94BEA715D4}" dt="2023-10-30T22:38:32.541" v="272"/>
        <pc:sldMkLst>
          <pc:docMk/>
          <pc:sldMk cId="3004443360" sldId="626"/>
        </pc:sldMkLst>
      </pc:sldChg>
      <pc:sldChg chg="del">
        <pc:chgData name="Eileen Fleming Suse" userId="S::efs3844@ads.northwestern.edu::725c94ef-d051-42d7-9d33-8572765d592b" providerId="AD" clId="Web-{61DCECB8-FCC4-463F-180A-DE94BEA715D4}" dt="2023-10-30T22:38:32.556" v="274"/>
        <pc:sldMkLst>
          <pc:docMk/>
          <pc:sldMk cId="53107998" sldId="627"/>
        </pc:sldMkLst>
      </pc:sldChg>
      <pc:sldChg chg="del">
        <pc:chgData name="Eileen Fleming Suse" userId="S::efs3844@ads.northwestern.edu::725c94ef-d051-42d7-9d33-8572765d592b" providerId="AD" clId="Web-{61DCECB8-FCC4-463F-180A-DE94BEA715D4}" dt="2023-10-30T22:38:32.556" v="276"/>
        <pc:sldMkLst>
          <pc:docMk/>
          <pc:sldMk cId="534784336" sldId="628"/>
        </pc:sldMkLst>
      </pc:sldChg>
      <pc:sldChg chg="del">
        <pc:chgData name="Eileen Fleming Suse" userId="S::efs3844@ads.northwestern.edu::725c94ef-d051-42d7-9d33-8572765d592b" providerId="AD" clId="Web-{61DCECB8-FCC4-463F-180A-DE94BEA715D4}" dt="2023-10-30T22:38:32.556" v="277"/>
        <pc:sldMkLst>
          <pc:docMk/>
          <pc:sldMk cId="2981412015" sldId="629"/>
        </pc:sldMkLst>
      </pc:sldChg>
      <pc:sldChg chg="del">
        <pc:chgData name="Eileen Fleming Suse" userId="S::efs3844@ads.northwestern.edu::725c94ef-d051-42d7-9d33-8572765d592b" providerId="AD" clId="Web-{61DCECB8-FCC4-463F-180A-DE94BEA715D4}" dt="2023-10-30T22:38:32.541" v="273"/>
        <pc:sldMkLst>
          <pc:docMk/>
          <pc:sldMk cId="411397640" sldId="635"/>
        </pc:sldMkLst>
      </pc:sldChg>
      <pc:sldChg chg="del">
        <pc:chgData name="Eileen Fleming Suse" userId="S::efs3844@ads.northwestern.edu::725c94ef-d051-42d7-9d33-8572765d592b" providerId="AD" clId="Web-{61DCECB8-FCC4-463F-180A-DE94BEA715D4}" dt="2023-10-30T22:38:32.556" v="275"/>
        <pc:sldMkLst>
          <pc:docMk/>
          <pc:sldMk cId="975286347" sldId="636"/>
        </pc:sldMkLst>
      </pc:sldChg>
      <pc:sldChg chg="del">
        <pc:chgData name="Eileen Fleming Suse" userId="S::efs3844@ads.northwestern.edu::725c94ef-d051-42d7-9d33-8572765d592b" providerId="AD" clId="Web-{61DCECB8-FCC4-463F-180A-DE94BEA715D4}" dt="2023-10-30T22:39:33.089" v="297"/>
        <pc:sldMkLst>
          <pc:docMk/>
          <pc:sldMk cId="3321596273" sldId="640"/>
        </pc:sldMkLst>
      </pc:sldChg>
      <pc:sldChg chg="del">
        <pc:chgData name="Eileen Fleming Suse" userId="S::efs3844@ads.northwestern.edu::725c94ef-d051-42d7-9d33-8572765d592b" providerId="AD" clId="Web-{61DCECB8-FCC4-463F-180A-DE94BEA715D4}" dt="2023-10-30T22:47:53.494" v="365"/>
        <pc:sldMkLst>
          <pc:docMk/>
          <pc:sldMk cId="2460321206" sldId="641"/>
        </pc:sldMkLst>
      </pc:sldChg>
      <pc:sldChg chg="modSp">
        <pc:chgData name="Eileen Fleming Suse" userId="S::efs3844@ads.northwestern.edu::725c94ef-d051-42d7-9d33-8572765d592b" providerId="AD" clId="Web-{61DCECB8-FCC4-463F-180A-DE94BEA715D4}" dt="2023-10-30T22:49:41.685" v="398" actId="20577"/>
        <pc:sldMkLst>
          <pc:docMk/>
          <pc:sldMk cId="113281680" sldId="642"/>
        </pc:sldMkLst>
        <pc:spChg chg="mod">
          <ac:chgData name="Eileen Fleming Suse" userId="S::efs3844@ads.northwestern.edu::725c94ef-d051-42d7-9d33-8572765d592b" providerId="AD" clId="Web-{61DCECB8-FCC4-463F-180A-DE94BEA715D4}" dt="2023-10-30T22:49:41.685" v="398" actId="20577"/>
          <ac:spMkLst>
            <pc:docMk/>
            <pc:sldMk cId="113281680" sldId="642"/>
            <ac:spMk id="2" creationId="{F4AFEDD1-1B2F-10C8-9EFB-EFBD0CAB6989}"/>
          </ac:spMkLst>
        </pc:spChg>
      </pc:sldChg>
      <pc:sldChg chg="addSp delSp modSp add replId">
        <pc:chgData name="Eileen Fleming Suse" userId="S::efs3844@ads.northwestern.edu::725c94ef-d051-42d7-9d33-8572765d592b" providerId="AD" clId="Web-{61DCECB8-FCC4-463F-180A-DE94BEA715D4}" dt="2023-10-30T22:45:26.052" v="333" actId="1076"/>
        <pc:sldMkLst>
          <pc:docMk/>
          <pc:sldMk cId="2443892533" sldId="643"/>
        </pc:sldMkLst>
        <pc:spChg chg="mod">
          <ac:chgData name="Eileen Fleming Suse" userId="S::efs3844@ads.northwestern.edu::725c94ef-d051-42d7-9d33-8572765d592b" providerId="AD" clId="Web-{61DCECB8-FCC4-463F-180A-DE94BEA715D4}" dt="2023-10-30T20:11:56.425" v="228"/>
          <ac:spMkLst>
            <pc:docMk/>
            <pc:sldMk cId="2443892533" sldId="643"/>
            <ac:spMk id="2" creationId="{85302686-DF06-3304-66CB-1E21F4D086DC}"/>
          </ac:spMkLst>
        </pc:spChg>
        <pc:spChg chg="mod">
          <ac:chgData name="Eileen Fleming Suse" userId="S::efs3844@ads.northwestern.edu::725c94ef-d051-42d7-9d33-8572765d592b" providerId="AD" clId="Web-{61DCECB8-FCC4-463F-180A-DE94BEA715D4}" dt="2023-10-30T22:44:31.473" v="326" actId="1076"/>
          <ac:spMkLst>
            <pc:docMk/>
            <pc:sldMk cId="2443892533" sldId="643"/>
            <ac:spMk id="3" creationId="{E7ECD19B-85BC-6652-2856-676802964CFA}"/>
          </ac:spMkLst>
        </pc:spChg>
        <pc:spChg chg="add mod">
          <ac:chgData name="Eileen Fleming Suse" userId="S::efs3844@ads.northwestern.edu::725c94ef-d051-42d7-9d33-8572765d592b" providerId="AD" clId="Web-{61DCECB8-FCC4-463F-180A-DE94BEA715D4}" dt="2023-10-30T22:45:26.052" v="333" actId="1076"/>
          <ac:spMkLst>
            <pc:docMk/>
            <pc:sldMk cId="2443892533" sldId="643"/>
            <ac:spMk id="10" creationId="{F7DE78CF-32A6-61A0-EEC5-F837E089D3A4}"/>
          </ac:spMkLst>
        </pc:spChg>
        <pc:picChg chg="add mod">
          <ac:chgData name="Eileen Fleming Suse" userId="S::efs3844@ads.northwestern.edu::725c94ef-d051-42d7-9d33-8572765d592b" providerId="AD" clId="Web-{61DCECB8-FCC4-463F-180A-DE94BEA715D4}" dt="2023-10-30T22:44:40.629" v="327" actId="1076"/>
          <ac:picMkLst>
            <pc:docMk/>
            <pc:sldMk cId="2443892533" sldId="643"/>
            <ac:picMk id="6" creationId="{3066B4FD-BDBD-74CF-7224-C3F9CDFF7807}"/>
          </ac:picMkLst>
        </pc:picChg>
        <pc:picChg chg="add mod">
          <ac:chgData name="Eileen Fleming Suse" userId="S::efs3844@ads.northwestern.edu::725c94ef-d051-42d7-9d33-8572765d592b" providerId="AD" clId="Web-{61DCECB8-FCC4-463F-180A-DE94BEA715D4}" dt="2023-10-30T22:44:49.645" v="328" actId="1076"/>
          <ac:picMkLst>
            <pc:docMk/>
            <pc:sldMk cId="2443892533" sldId="643"/>
            <ac:picMk id="7" creationId="{8561AC10-C045-61C5-C572-29E58C8EEF9B}"/>
          </ac:picMkLst>
        </pc:picChg>
        <pc:picChg chg="add del mod">
          <ac:chgData name="Eileen Fleming Suse" userId="S::efs3844@ads.northwestern.edu::725c94ef-d051-42d7-9d33-8572765d592b" providerId="AD" clId="Web-{61DCECB8-FCC4-463F-180A-DE94BEA715D4}" dt="2023-10-30T22:42:02.500" v="309"/>
          <ac:picMkLst>
            <pc:docMk/>
            <pc:sldMk cId="2443892533" sldId="643"/>
            <ac:picMk id="8" creationId="{56E0414E-9ADF-67F2-0036-4AC949F0B367}"/>
          </ac:picMkLst>
        </pc:picChg>
        <pc:picChg chg="add mod">
          <ac:chgData name="Eileen Fleming Suse" userId="S::efs3844@ads.northwestern.edu::725c94ef-d051-42d7-9d33-8572765d592b" providerId="AD" clId="Web-{61DCECB8-FCC4-463F-180A-DE94BEA715D4}" dt="2023-10-30T22:45:16.927" v="332" actId="14100"/>
          <ac:picMkLst>
            <pc:docMk/>
            <pc:sldMk cId="2443892533" sldId="643"/>
            <ac:picMk id="9" creationId="{EBD31F80-F4AE-0A76-9CD2-E23AD71C79DA}"/>
          </ac:picMkLst>
        </pc:picChg>
      </pc:sldChg>
    </pc:docChg>
  </pc:docChgLst>
  <pc:docChgLst>
    <pc:chgData name="Eileen Fleming Suse" userId="S::efs3844@ads.northwestern.edu::725c94ef-d051-42d7-9d33-8572765d592b" providerId="AD" clId="Web-{525C70A3-2AD6-57EA-9F7E-A6FC0841DEBD}"/>
    <pc:docChg chg="mod addSld modSld sldOrd">
      <pc:chgData name="Eileen Fleming Suse" userId="S::efs3844@ads.northwestern.edu::725c94ef-d051-42d7-9d33-8572765d592b" providerId="AD" clId="Web-{525C70A3-2AD6-57EA-9F7E-A6FC0841DEBD}" dt="2023-10-23T23:00:26.391" v="20"/>
      <pc:docMkLst>
        <pc:docMk/>
      </pc:docMkLst>
      <pc:sldChg chg="addCm">
        <pc:chgData name="Eileen Fleming Suse" userId="S::efs3844@ads.northwestern.edu::725c94ef-d051-42d7-9d33-8572765d592b" providerId="AD" clId="Web-{525C70A3-2AD6-57EA-9F7E-A6FC0841DEBD}" dt="2023-10-23T18:53:43.980" v="2"/>
        <pc:sldMkLst>
          <pc:docMk/>
          <pc:sldMk cId="2351229145" sldId="544"/>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525C70A3-2AD6-57EA-9F7E-A6FC0841DEBD}" dt="2023-10-23T18:53:43.980" v="2"/>
              <pc2:cmMkLst xmlns:pc2="http://schemas.microsoft.com/office/powerpoint/2019/9/main/command">
                <pc:docMk/>
                <pc:sldMk cId="2351229145" sldId="544"/>
                <pc2:cmMk id="{94040B62-D001-43B9-8FD0-0A8B0C9B684C}"/>
              </pc2:cmMkLst>
            </pc226:cmChg>
          </p:ext>
        </pc:extLst>
      </pc:sldChg>
      <pc:sldChg chg="add ord">
        <pc:chgData name="Eileen Fleming Suse" userId="S::efs3844@ads.northwestern.edu::725c94ef-d051-42d7-9d33-8572765d592b" providerId="AD" clId="Web-{525C70A3-2AD6-57EA-9F7E-A6FC0841DEBD}" dt="2023-10-23T22:34:05.799" v="12"/>
        <pc:sldMkLst>
          <pc:docMk/>
          <pc:sldMk cId="714682852" sldId="552"/>
        </pc:sldMkLst>
      </pc:sldChg>
      <pc:sldChg chg="add">
        <pc:chgData name="Eileen Fleming Suse" userId="S::efs3844@ads.northwestern.edu::725c94ef-d051-42d7-9d33-8572765d592b" providerId="AD" clId="Web-{525C70A3-2AD6-57EA-9F7E-A6FC0841DEBD}" dt="2023-10-23T22:32:28.515" v="4"/>
        <pc:sldMkLst>
          <pc:docMk/>
          <pc:sldMk cId="3536510335" sldId="553"/>
        </pc:sldMkLst>
      </pc:sldChg>
      <pc:sldChg chg="add">
        <pc:chgData name="Eileen Fleming Suse" userId="S::efs3844@ads.northwestern.edu::725c94ef-d051-42d7-9d33-8572765d592b" providerId="AD" clId="Web-{525C70A3-2AD6-57EA-9F7E-A6FC0841DEBD}" dt="2023-10-23T22:32:29.500" v="5"/>
        <pc:sldMkLst>
          <pc:docMk/>
          <pc:sldMk cId="1231844700" sldId="554"/>
        </pc:sldMkLst>
      </pc:sldChg>
      <pc:sldChg chg="add">
        <pc:chgData name="Eileen Fleming Suse" userId="S::efs3844@ads.northwestern.edu::725c94ef-d051-42d7-9d33-8572765d592b" providerId="AD" clId="Web-{525C70A3-2AD6-57EA-9F7E-A6FC0841DEBD}" dt="2023-10-23T22:32:30.546" v="6"/>
        <pc:sldMkLst>
          <pc:docMk/>
          <pc:sldMk cId="1522616096" sldId="555"/>
        </pc:sldMkLst>
      </pc:sldChg>
      <pc:sldChg chg="modSp add">
        <pc:chgData name="Eileen Fleming Suse" userId="S::efs3844@ads.northwestern.edu::725c94ef-d051-42d7-9d33-8572765d592b" providerId="AD" clId="Web-{525C70A3-2AD6-57EA-9F7E-A6FC0841DEBD}" dt="2023-10-23T22:32:56.500" v="9" actId="20577"/>
        <pc:sldMkLst>
          <pc:docMk/>
          <pc:sldMk cId="1514756035" sldId="556"/>
        </pc:sldMkLst>
        <pc:spChg chg="mod">
          <ac:chgData name="Eileen Fleming Suse" userId="S::efs3844@ads.northwestern.edu::725c94ef-d051-42d7-9d33-8572765d592b" providerId="AD" clId="Web-{525C70A3-2AD6-57EA-9F7E-A6FC0841DEBD}" dt="2023-10-23T22:32:56.500" v="9" actId="20577"/>
          <ac:spMkLst>
            <pc:docMk/>
            <pc:sldMk cId="1514756035" sldId="556"/>
            <ac:spMk id="48" creationId="{9DA002CE-213B-0EFE-03DC-C3DB65BCF003}"/>
          </ac:spMkLst>
        </pc:spChg>
      </pc:sldChg>
      <pc:sldChg chg="delSp add">
        <pc:chgData name="Eileen Fleming Suse" userId="S::efs3844@ads.northwestern.edu::725c94ef-d051-42d7-9d33-8572765d592b" providerId="AD" clId="Web-{525C70A3-2AD6-57EA-9F7E-A6FC0841DEBD}" dt="2023-10-23T22:33:47.314" v="11"/>
        <pc:sldMkLst>
          <pc:docMk/>
          <pc:sldMk cId="2997078466" sldId="557"/>
        </pc:sldMkLst>
        <pc:spChg chg="del">
          <ac:chgData name="Eileen Fleming Suse" userId="S::efs3844@ads.northwestern.edu::725c94ef-d051-42d7-9d33-8572765d592b" providerId="AD" clId="Web-{525C70A3-2AD6-57EA-9F7E-A6FC0841DEBD}" dt="2023-10-23T22:33:47.314" v="11"/>
          <ac:spMkLst>
            <pc:docMk/>
            <pc:sldMk cId="2997078466" sldId="557"/>
            <ac:spMk id="3" creationId="{519453C4-D641-E6F9-196B-26AF5EFCC40A}"/>
          </ac:spMkLst>
        </pc:spChg>
      </pc:sldChg>
      <pc:sldChg chg="modSp mod modClrScheme chgLayout">
        <pc:chgData name="Eileen Fleming Suse" userId="S::efs3844@ads.northwestern.edu::725c94ef-d051-42d7-9d33-8572765d592b" providerId="AD" clId="Web-{525C70A3-2AD6-57EA-9F7E-A6FC0841DEBD}" dt="2023-10-23T22:59:09.760" v="13"/>
        <pc:sldMkLst>
          <pc:docMk/>
          <pc:sldMk cId="202185053" sldId="559"/>
        </pc:sldMkLst>
        <pc:spChg chg="mod ord">
          <ac:chgData name="Eileen Fleming Suse" userId="S::efs3844@ads.northwestern.edu::725c94ef-d051-42d7-9d33-8572765d592b" providerId="AD" clId="Web-{525C70A3-2AD6-57EA-9F7E-A6FC0841DEBD}" dt="2023-10-23T22:59:09.760" v="13"/>
          <ac:spMkLst>
            <pc:docMk/>
            <pc:sldMk cId="202185053" sldId="559"/>
            <ac:spMk id="2" creationId="{4DA6F726-268B-D1E3-168E-B1D635F770C9}"/>
          </ac:spMkLst>
        </pc:spChg>
        <pc:spChg chg="mod ord">
          <ac:chgData name="Eileen Fleming Suse" userId="S::efs3844@ads.northwestern.edu::725c94ef-d051-42d7-9d33-8572765d592b" providerId="AD" clId="Web-{525C70A3-2AD6-57EA-9F7E-A6FC0841DEBD}" dt="2023-10-23T22:59:09.760" v="13"/>
          <ac:spMkLst>
            <pc:docMk/>
            <pc:sldMk cId="202185053" sldId="559"/>
            <ac:spMk id="3" creationId="{97C35C3F-414A-0BEC-2B1F-CEADE5601055}"/>
          </ac:spMkLst>
        </pc:spChg>
      </pc:sldChg>
      <pc:sldChg chg="new">
        <pc:chgData name="Eileen Fleming Suse" userId="S::efs3844@ads.northwestern.edu::725c94ef-d051-42d7-9d33-8572765d592b" providerId="AD" clId="Web-{525C70A3-2AD6-57EA-9F7E-A6FC0841DEBD}" dt="2023-10-23T22:59:48.498" v="14"/>
        <pc:sldMkLst>
          <pc:docMk/>
          <pc:sldMk cId="3067427377" sldId="560"/>
        </pc:sldMkLst>
      </pc:sldChg>
      <pc:sldChg chg="modSp new">
        <pc:chgData name="Eileen Fleming Suse" userId="S::efs3844@ads.northwestern.edu::725c94ef-d051-42d7-9d33-8572765d592b" providerId="AD" clId="Web-{525C70A3-2AD6-57EA-9F7E-A6FC0841DEBD}" dt="2023-10-23T23:00:13.859" v="18" actId="20577"/>
        <pc:sldMkLst>
          <pc:docMk/>
          <pc:sldMk cId="613071383" sldId="561"/>
        </pc:sldMkLst>
        <pc:spChg chg="mod">
          <ac:chgData name="Eileen Fleming Suse" userId="S::efs3844@ads.northwestern.edu::725c94ef-d051-42d7-9d33-8572765d592b" providerId="AD" clId="Web-{525C70A3-2AD6-57EA-9F7E-A6FC0841DEBD}" dt="2023-10-23T23:00:13.859" v="18" actId="20577"/>
          <ac:spMkLst>
            <pc:docMk/>
            <pc:sldMk cId="613071383" sldId="561"/>
            <ac:spMk id="2" creationId="{3E76F914-FD90-77EF-B54F-DA5B2A3B6B40}"/>
          </ac:spMkLst>
        </pc:spChg>
      </pc:sldChg>
      <pc:sldChg chg="modSp new mod modClrScheme chgLayout">
        <pc:chgData name="Eileen Fleming Suse" userId="S::efs3844@ads.northwestern.edu::725c94ef-d051-42d7-9d33-8572765d592b" providerId="AD" clId="Web-{525C70A3-2AD6-57EA-9F7E-A6FC0841DEBD}" dt="2023-10-23T23:00:26.391" v="20"/>
        <pc:sldMkLst>
          <pc:docMk/>
          <pc:sldMk cId="1141815353" sldId="562"/>
        </pc:sldMkLst>
        <pc:spChg chg="mod ord">
          <ac:chgData name="Eileen Fleming Suse" userId="S::efs3844@ads.northwestern.edu::725c94ef-d051-42d7-9d33-8572765d592b" providerId="AD" clId="Web-{525C70A3-2AD6-57EA-9F7E-A6FC0841DEBD}" dt="2023-10-23T23:00:26.391" v="20"/>
          <ac:spMkLst>
            <pc:docMk/>
            <pc:sldMk cId="1141815353" sldId="562"/>
            <ac:spMk id="2" creationId="{05579FEB-3306-A04E-6516-F16994F3B0F9}"/>
          </ac:spMkLst>
        </pc:spChg>
        <pc:spChg chg="mod ord">
          <ac:chgData name="Eileen Fleming Suse" userId="S::efs3844@ads.northwestern.edu::725c94ef-d051-42d7-9d33-8572765d592b" providerId="AD" clId="Web-{525C70A3-2AD6-57EA-9F7E-A6FC0841DEBD}" dt="2023-10-23T23:00:26.391" v="20"/>
          <ac:spMkLst>
            <pc:docMk/>
            <pc:sldMk cId="1141815353" sldId="562"/>
            <ac:spMk id="3" creationId="{FAB96473-F45F-5893-CEB0-FAFF66B2B444}"/>
          </ac:spMkLst>
        </pc:spChg>
      </pc:sldChg>
      <pc:sldMasterChg chg="addSldLayout">
        <pc:chgData name="Eileen Fleming Suse" userId="S::efs3844@ads.northwestern.edu::725c94ef-d051-42d7-9d33-8572765d592b" providerId="AD" clId="Web-{525C70A3-2AD6-57EA-9F7E-A6FC0841DEBD}" dt="2023-10-23T22:32:27.671" v="3"/>
        <pc:sldMasterMkLst>
          <pc:docMk/>
          <pc:sldMasterMk cId="3378073280" sldId="2147483756"/>
        </pc:sldMasterMkLst>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922533" sldId="2147483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5841725" sldId="2147483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10596175" sldId="2147483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16315189" sldId="2147483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08025" sldId="2147483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3792943" sldId="2147483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5092572" sldId="2147483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8716721" sldId="2147483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45037749" sldId="2147483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6002367" sldId="2147483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39855488" sldId="2147483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21826003" sldId="2147483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75499530" sldId="2147483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3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3561641" sldId="2147483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5267698" sldId="21474838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75297497" sldId="21474838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78663217" sldId="21474838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20774020" sldId="2147483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34594192" sldId="21474838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6315279" sldId="21474838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1317895" sldId="2147483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00288109" sldId="2147483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6376101" sldId="2147483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2886451" sldId="2147483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6159376" sldId="2147483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8616943" sldId="21474838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6938417" sldId="21474838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3550571" sldId="21474838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0877040" sldId="21474838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8574274" sldId="2147483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5471929" sldId="2147483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278594" sldId="2147483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9404483" sldId="2147483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3478424" sldId="21474838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59098044" sldId="21474838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45276364" sldId="21474838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8021461" sldId="21474838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989584" sldId="21474838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75864542" sldId="21474838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8282302" sldId="21474838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104982" sldId="21474838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5372134" sldId="21474838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7828020" sldId="21474838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27648628" sldId="21474838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6122543" sldId="21474838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2054694" sldId="21474838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9055294" sldId="21474838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6171260" sldId="21474838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0090535" sldId="21474838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7921214" sldId="21474838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920976" sldId="21474838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5804420" sldId="21474838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585276" sldId="21474839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09666298" sldId="21474839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6760714" sldId="21474839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5649411" sldId="2147483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1432267" sldId="2147483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80461207" sldId="2147483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3984959" sldId="2147483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066305" sldId="21474839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7638659" sldId="21474839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40099" sldId="2147483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8764591" sldId="2147483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19800057" sldId="21474839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11585504" sldId="2147483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22746103" sldId="21474839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5694009" sldId="21474839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54029526" sldId="21474839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9059292" sldId="21474839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4868132" sldId="21474839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0792940" sldId="21474839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783795" sldId="21474839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0660955" sldId="21474839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64467406" sldId="21474839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677796" sldId="21474839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1248361" sldId="2147483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1683148" sldId="2147483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6612349" sldId="2147483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1684694" sldId="2147483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2325930" sldId="2147483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981547" sldId="21474839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2479938" sldId="21474839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6296709" sldId="21474839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70922304" sldId="21474839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55432313" sldId="21474839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9056666" sldId="21474839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967696" sldId="21474839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446465" sldId="21474839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0798543" sldId="2147483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8675539" sldId="21474839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23011711" sldId="21474839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36372206" sldId="21474839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2031328" sldId="21474839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270537" sldId="21474839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4610509" sldId="21474839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50515904" sldId="21474839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53644344" sldId="21474839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30798206" sldId="21474839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2990995" sldId="21474839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53374" sldId="21474839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4834593" sldId="21474839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43003970" sldId="21474839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7355230" sldId="21474839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1400287" sldId="21474839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946972" sldId="21474839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1562560" sldId="21474839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6479413" sldId="21474839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9622913" sldId="21474839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7336188" sldId="21474839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520332" sldId="21474839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8489293" sldId="2147483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040569" sldId="21474839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21105823" sldId="2147483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5772397" sldId="2147483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1901327" sldId="2147483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1352467" sldId="2147483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2305507" sldId="2147483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45177511" sldId="21474839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6909929" sldId="21474839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8498237" sldId="21474839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6365882" sldId="21474839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08656322" sldId="21474839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0473943" sldId="2147483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5550117" sldId="2147484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5824695" sldId="2147484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42248109" sldId="2147484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8249061" sldId="21474840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5655145" sldId="21474840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2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4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2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3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3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3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3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3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3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3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3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3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43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3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4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43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4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4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3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4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3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4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3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4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4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4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4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4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4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5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5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5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5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5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5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6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6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6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46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46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46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6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6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46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46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6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7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7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7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7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7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7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7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8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8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8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8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8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48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8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8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8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8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48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4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4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2224325" sldId="2147484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10812348" sldId="2147484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4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5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5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5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5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5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5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5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8347992" sldId="2147485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018680" sldId="2147485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2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3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5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3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3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4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2254879" sldId="2147485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54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4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4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4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55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5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5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5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5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5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5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5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5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2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2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2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6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6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6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13001559" sldId="2147486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6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63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6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63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63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6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6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6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3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4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4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4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4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4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4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64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64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4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4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6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6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9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69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6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6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1410609" sldId="21474870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7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7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70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70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70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70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91578072" sldId="21474870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79854312" sldId="21474870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2318659" sldId="2147487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8904194" sldId="21474870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3035621" sldId="21474870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34488667" sldId="21474870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4238912" sldId="21474870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2020187" sldId="21474870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81955522" sldId="21474870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2453738" sldId="21474870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74233" sldId="21474870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1771967" sldId="21474870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14228870" sldId="21474870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8015493" sldId="21474870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1810783" sldId="21474870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296633" sldId="21474870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3854968" sldId="21474870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78744679" sldId="21474870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6376476" sldId="21474870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3775063" sldId="21474870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34956318" sldId="2147487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88786427" sldId="21474870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18415549" sldId="21474870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21326" sldId="21474870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71903" sldId="21474870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4324019" sldId="21474870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538390" sldId="21474870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1446120" sldId="21474870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32493380" sldId="21474870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45280055" sldId="21474870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48434812" sldId="21474870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5592603" sldId="21474870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2427770" sldId="2147487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94052774" sldId="2147487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7862978" sldId="2147487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877181" sldId="2147487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50889900" sldId="2147487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56107529" sldId="2147487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04698859" sldId="2147487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61201835" sldId="2147487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538182" sldId="2147487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45375" sldId="21474870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32901630" sldId="2147487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1840102" sldId="2147487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9779657" sldId="2147487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91043975" sldId="2147487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7739039" sldId="2147487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34936126" sldId="2147487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73437552" sldId="2147487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8328559" sldId="2147487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386569" sldId="2147487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65731875" sldId="2147487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43182943" sldId="21474870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854147" sldId="21474870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9986855" sldId="21474870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8186423" sldId="21474870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4781546" sldId="21474870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2901995" sldId="21474870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08658575" sldId="21474870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9532752" sldId="21474870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47643842" sldId="2147487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3045463" sldId="21474870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02931972" sldId="21474870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024431" sldId="21474870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5505364" sldId="21474870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60285631" sldId="21474870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8619597" sldId="21474870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82738" sldId="21474871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4587918" sldId="21474871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9084614" sldId="21474871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14221174" sldId="21474871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3290789" sldId="21474871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322304" sldId="21474871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03393694" sldId="21474871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2589500" sldId="21474871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53485271" sldId="21474871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95870651" sldId="21474871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28825244" sldId="21474871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9238068" sldId="21474871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49862182" sldId="21474871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3852016" sldId="21474871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3736809" sldId="21474871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4184684" sldId="21474871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9434678" sldId="21474871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68056590" sldId="21474871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19438968" sldId="21474871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3871782" sldId="21474871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5694493" sldId="21474871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3350505" sldId="21474871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99849130" sldId="21474871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1595628" sldId="21474871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09251650" sldId="21474871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2428475" sldId="21474871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9805404" sldId="21474871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702167" sldId="21474871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7713067" sldId="21474871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73097338" sldId="21474871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6179664" sldId="21474871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493336" sldId="21474871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4977627" sldId="21474871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4355322" sldId="21474871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9001456" sldId="21474871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1880748" sldId="21474871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9786099" sldId="21474871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9168792" sldId="21474871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8112831" sldId="21474871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3635138" sldId="21474871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2360139" sldId="21474871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39256970" sldId="21474871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04300062" sldId="21474871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71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71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71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1914057" sldId="21474871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4230286" sldId="2147487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2798914" sldId="21474871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1199215" sldId="21474871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515799" sldId="21474871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36128" sldId="21474871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3270214" sldId="21474871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964228" sldId="21474871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03719949" sldId="21474871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90515151" sldId="21474871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8274380" sldId="21474871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08841809" sldId="21474871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3686679" sldId="2147487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04450066" sldId="2147487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65481949" sldId="2147487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01019" sldId="2147487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7914573" sldId="2147487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2775852" sldId="21474872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7288010" sldId="21474872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25519462" sldId="21474872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98032396" sldId="2147487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4125666" sldId="2147487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25845292" sldId="2147487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388239" sldId="21474872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8412230" sldId="21474872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7651266" sldId="21474872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18896833" sldId="21474872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82089770" sldId="21474872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758517" sldId="2147487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3406442" sldId="2147487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7243743" sldId="2147487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65875377" sldId="2147487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4216092" sldId="21474872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1876091" sldId="21474872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1815734" sldId="21474872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5213743" sldId="21474872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114809" sldId="21474872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810016" sldId="2147487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47740735" sldId="21474872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95849402" sldId="2147487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2217939" sldId="21474872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9127" sldId="2147487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32741348" sldId="21474872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42047047" sldId="2147487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98479306" sldId="21474872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5636675" sldId="21474872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4065546" sldId="2147487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016611" sldId="21474872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954738" sldId="21474872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710091" sldId="21474872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2430371" sldId="21474872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88036761" sldId="2147487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2342115" sldId="2147487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4054778" sldId="2147487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6486368" sldId="21474872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70705443" sldId="21474872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020355" sldId="2147487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208845" sldId="2147487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29070028" sldId="2147487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9649185" sldId="2147487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8626561" sldId="2147487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6538025" sldId="2147487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4847678" sldId="2147487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3649414" sldId="2147487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7111013" sldId="21474872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00008366" sldId="21474872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18321361" sldId="21474872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9555195" sldId="21474872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1522953" sldId="21474872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668804" sldId="21474872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01862111" sldId="21474872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7949696" sldId="21474872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6907520" sldId="21474872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62774728" sldId="21474873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27363329" sldId="21474873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9463894" sldId="21474873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2727692" sldId="21474873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647170" sldId="21474873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6791542" sldId="21474873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69632276" sldId="21474873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43247745" sldId="21474873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63663494" sldId="21474873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7839732" sldId="21474873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29198981" sldId="21474873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0579671" sldId="21474873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1955889" sldId="21474873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69414299" sldId="21474873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972729" sldId="21474873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1926387" sldId="21474873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86669273" sldId="2147487349"/>
          </pc:sldLayoutMkLst>
        </pc:sldLayoutChg>
      </pc:sldMasterChg>
    </pc:docChg>
  </pc:docChgLst>
  <pc:docChgLst>
    <pc:chgData name="Isabel Rose Gippo" userId="S::irg9370@ads.northwestern.edu::b10bfe7e-55b9-46dd-9add-2eb52cb66d3b" providerId="AD" clId="Web-{782B053E-75E5-959C-8BAD-C5B3CB312E1F}"/>
    <pc:docChg chg="addSld delSld modSld sldOrd">
      <pc:chgData name="Isabel Rose Gippo" userId="S::irg9370@ads.northwestern.edu::b10bfe7e-55b9-46dd-9add-2eb52cb66d3b" providerId="AD" clId="Web-{782B053E-75E5-959C-8BAD-C5B3CB312E1F}" dt="2023-10-27T17:32:56.380" v="8"/>
      <pc:docMkLst>
        <pc:docMk/>
      </pc:docMkLst>
      <pc:sldChg chg="del">
        <pc:chgData name="Isabel Rose Gippo" userId="S::irg9370@ads.northwestern.edu::b10bfe7e-55b9-46dd-9add-2eb52cb66d3b" providerId="AD" clId="Web-{782B053E-75E5-959C-8BAD-C5B3CB312E1F}" dt="2023-10-27T17:32:56.380" v="8"/>
        <pc:sldMkLst>
          <pc:docMk/>
          <pc:sldMk cId="81318788" sldId="597"/>
        </pc:sldMkLst>
      </pc:sldChg>
      <pc:sldChg chg="new del">
        <pc:chgData name="Isabel Rose Gippo" userId="S::irg9370@ads.northwestern.edu::b10bfe7e-55b9-46dd-9add-2eb52cb66d3b" providerId="AD" clId="Web-{782B053E-75E5-959C-8BAD-C5B3CB312E1F}" dt="2023-10-27T15:59:59.727" v="2"/>
        <pc:sldMkLst>
          <pc:docMk/>
          <pc:sldMk cId="1436311312" sldId="598"/>
        </pc:sldMkLst>
      </pc:sldChg>
      <pc:sldChg chg="del">
        <pc:chgData name="Isabel Rose Gippo" userId="S::irg9370@ads.northwestern.edu::b10bfe7e-55b9-46dd-9add-2eb52cb66d3b" providerId="AD" clId="Web-{782B053E-75E5-959C-8BAD-C5B3CB312E1F}" dt="2023-10-27T15:59:36.867" v="0"/>
        <pc:sldMkLst>
          <pc:docMk/>
          <pc:sldMk cId="1569232529" sldId="598"/>
        </pc:sldMkLst>
      </pc:sldChg>
      <pc:sldChg chg="delSp new del ord">
        <pc:chgData name="Isabel Rose Gippo" userId="S::irg9370@ads.northwestern.edu::b10bfe7e-55b9-46dd-9add-2eb52cb66d3b" providerId="AD" clId="Web-{782B053E-75E5-959C-8BAD-C5B3CB312E1F}" dt="2023-10-27T17:32:45.256" v="7"/>
        <pc:sldMkLst>
          <pc:docMk/>
          <pc:sldMk cId="1930759565" sldId="598"/>
        </pc:sldMkLst>
        <pc:spChg chg="del">
          <ac:chgData name="Isabel Rose Gippo" userId="S::irg9370@ads.northwestern.edu::b10bfe7e-55b9-46dd-9add-2eb52cb66d3b" providerId="AD" clId="Web-{782B053E-75E5-959C-8BAD-C5B3CB312E1F}" dt="2023-10-27T16:00:24.525" v="4"/>
          <ac:spMkLst>
            <pc:docMk/>
            <pc:sldMk cId="1930759565" sldId="598"/>
            <ac:spMk id="2" creationId="{ABF36D30-BDF6-6FEC-3FE6-37A1A717E4A8}"/>
          </ac:spMkLst>
        </pc:spChg>
        <pc:spChg chg="del">
          <ac:chgData name="Isabel Rose Gippo" userId="S::irg9370@ads.northwestern.edu::b10bfe7e-55b9-46dd-9add-2eb52cb66d3b" providerId="AD" clId="Web-{782B053E-75E5-959C-8BAD-C5B3CB312E1F}" dt="2023-10-27T16:00:26.244" v="5"/>
          <ac:spMkLst>
            <pc:docMk/>
            <pc:sldMk cId="1930759565" sldId="598"/>
            <ac:spMk id="3" creationId="{31C83F74-E170-8C1C-B7A5-F83D8496A049}"/>
          </ac:spMkLst>
        </pc:spChg>
      </pc:sldChg>
    </pc:docChg>
  </pc:docChgLst>
  <pc:docChgLst>
    <pc:chgData name="Alana Rivera" userId="S::arg3669@ads.northwestern.edu::fc8b707a-b7e9-4f2a-8d71-2d76819b7881" providerId="AD" clId="Web-{36AFF060-5319-E6D5-0957-513AFAA6A2E5}"/>
    <pc:docChg chg="mod addSld delSld modSld sldOrd">
      <pc:chgData name="Alana Rivera" userId="S::arg3669@ads.northwestern.edu::fc8b707a-b7e9-4f2a-8d71-2d76819b7881" providerId="AD" clId="Web-{36AFF060-5319-E6D5-0957-513AFAA6A2E5}" dt="2023-10-24T18:55:19.461" v="40"/>
      <pc:docMkLst>
        <pc:docMk/>
      </pc:docMkLst>
      <pc:sldChg chg="ord addCm">
        <pc:chgData name="Alana Rivera" userId="S::arg3669@ads.northwestern.edu::fc8b707a-b7e9-4f2a-8d71-2d76819b7881" providerId="AD" clId="Web-{36AFF060-5319-E6D5-0957-513AFAA6A2E5}" dt="2023-10-24T18:05:32.641" v="17"/>
        <pc:sldMkLst>
          <pc:docMk/>
          <pc:sldMk cId="2564870475" sldId="566"/>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36AFF060-5319-E6D5-0957-513AFAA6A2E5}" dt="2023-10-24T18:05:32.641" v="17"/>
              <pc2:cmMkLst xmlns:pc2="http://schemas.microsoft.com/office/powerpoint/2019/9/main/command">
                <pc:docMk/>
                <pc:sldMk cId="2564870475" sldId="566"/>
                <pc2:cmMk id="{2E54611F-EF9E-406A-A7DB-E8AA469FE59F}"/>
              </pc2:cmMkLst>
            </pc226:cmChg>
          </p:ext>
        </pc:extLst>
      </pc:sldChg>
      <pc:sldChg chg="del">
        <pc:chgData name="Alana Rivera" userId="S::arg3669@ads.northwestern.edu::fc8b707a-b7e9-4f2a-8d71-2d76819b7881" providerId="AD" clId="Web-{36AFF060-5319-E6D5-0957-513AFAA6A2E5}" dt="2023-10-24T18:03:49.482" v="3"/>
        <pc:sldMkLst>
          <pc:docMk/>
          <pc:sldMk cId="310672773" sldId="567"/>
        </pc:sldMkLst>
      </pc:sldChg>
      <pc:sldChg chg="addSp modSp add">
        <pc:chgData name="Alana Rivera" userId="S::arg3669@ads.northwestern.edu::fc8b707a-b7e9-4f2a-8d71-2d76819b7881" providerId="AD" clId="Web-{36AFF060-5319-E6D5-0957-513AFAA6A2E5}" dt="2023-10-24T18:55:19.461" v="40"/>
        <pc:sldMkLst>
          <pc:docMk/>
          <pc:sldMk cId="3419957415" sldId="577"/>
        </pc:sldMkLst>
        <pc:spChg chg="mod">
          <ac:chgData name="Alana Rivera" userId="S::arg3669@ads.northwestern.edu::fc8b707a-b7e9-4f2a-8d71-2d76819b7881" providerId="AD" clId="Web-{36AFF060-5319-E6D5-0957-513AFAA6A2E5}" dt="2023-10-24T18:54:56.960" v="39"/>
          <ac:spMkLst>
            <pc:docMk/>
            <pc:sldMk cId="3419957415" sldId="577"/>
            <ac:spMk id="55" creationId="{00000000-0000-0000-0000-000000000000}"/>
          </ac:spMkLst>
        </pc:spChg>
        <pc:spChg chg="mod">
          <ac:chgData name="Alana Rivera" userId="S::arg3669@ads.northwestern.edu::fc8b707a-b7e9-4f2a-8d71-2d76819b7881" providerId="AD" clId="Web-{36AFF060-5319-E6D5-0957-513AFAA6A2E5}" dt="2023-10-24T18:55:19.461" v="40"/>
          <ac:spMkLst>
            <pc:docMk/>
            <pc:sldMk cId="3419957415" sldId="577"/>
            <ac:spMk id="56" creationId="{00000000-0000-0000-0000-000000000000}"/>
          </ac:spMkLst>
        </pc:spChg>
        <pc:cxnChg chg="add mod">
          <ac:chgData name="Alana Rivera" userId="S::arg3669@ads.northwestern.edu::fc8b707a-b7e9-4f2a-8d71-2d76819b7881" providerId="AD" clId="Web-{36AFF060-5319-E6D5-0957-513AFAA6A2E5}" dt="2023-10-24T18:10:45.023" v="19" actId="14100"/>
          <ac:cxnSpMkLst>
            <pc:docMk/>
            <pc:sldMk cId="3419957415" sldId="577"/>
            <ac:cxnSpMk id="58" creationId="{7FE085C4-0A4D-D525-BEFC-A58C8B262908}"/>
          </ac:cxnSpMkLst>
        </pc:cxnChg>
        <pc:cxnChg chg="add mod">
          <ac:chgData name="Alana Rivera" userId="S::arg3669@ads.northwestern.edu::fc8b707a-b7e9-4f2a-8d71-2d76819b7881" providerId="AD" clId="Web-{36AFF060-5319-E6D5-0957-513AFAA6A2E5}" dt="2023-10-24T18:04:56.671" v="15" actId="1076"/>
          <ac:cxnSpMkLst>
            <pc:docMk/>
            <pc:sldMk cId="3419957415" sldId="577"/>
            <ac:cxnSpMk id="59" creationId="{4AB05664-6AAD-B37F-B42B-F3BE57FF4B64}"/>
          </ac:cxnSpMkLst>
        </pc:cxnChg>
        <pc:cxnChg chg="add mod">
          <ac:chgData name="Alana Rivera" userId="S::arg3669@ads.northwestern.edu::fc8b707a-b7e9-4f2a-8d71-2d76819b7881" providerId="AD" clId="Web-{36AFF060-5319-E6D5-0957-513AFAA6A2E5}" dt="2023-10-24T18:14:32.903" v="33" actId="14100"/>
          <ac:cxnSpMkLst>
            <pc:docMk/>
            <pc:sldMk cId="3419957415" sldId="577"/>
            <ac:cxnSpMk id="60" creationId="{0780975F-40AC-4431-7277-8634D267BA1E}"/>
          </ac:cxnSpMkLst>
        </pc:cxnChg>
        <pc:cxnChg chg="add mod">
          <ac:chgData name="Alana Rivera" userId="S::arg3669@ads.northwestern.edu::fc8b707a-b7e9-4f2a-8d71-2d76819b7881" providerId="AD" clId="Web-{36AFF060-5319-E6D5-0957-513AFAA6A2E5}" dt="2023-10-24T18:11:24.914" v="25" actId="14100"/>
          <ac:cxnSpMkLst>
            <pc:docMk/>
            <pc:sldMk cId="3419957415" sldId="577"/>
            <ac:cxnSpMk id="61" creationId="{E6E294E1-60D1-93D5-F703-4C8CA9125137}"/>
          </ac:cxnSpMkLst>
        </pc:cxnChg>
        <pc:cxnChg chg="add mod">
          <ac:chgData name="Alana Rivera" userId="S::arg3669@ads.northwestern.edu::fc8b707a-b7e9-4f2a-8d71-2d76819b7881" providerId="AD" clId="Web-{36AFF060-5319-E6D5-0957-513AFAA6A2E5}" dt="2023-10-24T18:12:06.525" v="31" actId="14100"/>
          <ac:cxnSpMkLst>
            <pc:docMk/>
            <pc:sldMk cId="3419957415" sldId="577"/>
            <ac:cxnSpMk id="62" creationId="{533F86FB-67E8-46C0-0C13-6B8ABD7D4C87}"/>
          </ac:cxnSpMkLst>
        </pc:cxnChg>
      </pc:sldChg>
    </pc:docChg>
  </pc:docChgLst>
  <pc:docChgLst>
    <pc:chgData name="Alana Rivera" userId="S::arg3669@ads.northwestern.edu::fc8b707a-b7e9-4f2a-8d71-2d76819b7881" providerId="AD" clId="Web-{5DC65600-F3C9-4205-B138-3708EB0A1C1D}"/>
    <pc:docChg chg="sldOrd">
      <pc:chgData name="Alana Rivera" userId="S::arg3669@ads.northwestern.edu::fc8b707a-b7e9-4f2a-8d71-2d76819b7881" providerId="AD" clId="Web-{5DC65600-F3C9-4205-B138-3708EB0A1C1D}" dt="2023-05-09T18:50:49.614" v="0"/>
      <pc:docMkLst>
        <pc:docMk/>
      </pc:docMkLst>
      <pc:sldChg chg="ord">
        <pc:chgData name="Alana Rivera" userId="S::arg3669@ads.northwestern.edu::fc8b707a-b7e9-4f2a-8d71-2d76819b7881" providerId="AD" clId="Web-{5DC65600-F3C9-4205-B138-3708EB0A1C1D}" dt="2023-05-09T18:50:49.614" v="0"/>
        <pc:sldMkLst>
          <pc:docMk/>
          <pc:sldMk cId="52189943" sldId="343"/>
        </pc:sldMkLst>
      </pc:sldChg>
    </pc:docChg>
  </pc:docChgLst>
  <pc:docChgLst>
    <pc:chgData name="Eileen Fleming Suse" userId="S::efs3844@ads.northwestern.edu::725c94ef-d051-42d7-9d33-8572765d592b" providerId="AD" clId="Web-{85CD7F39-8F26-7081-E17F-9CFE5E103D63}"/>
    <pc:docChg chg="addSld delSld modSld sldOrd">
      <pc:chgData name="Eileen Fleming Suse" userId="S::efs3844@ads.northwestern.edu::725c94ef-d051-42d7-9d33-8572765d592b" providerId="AD" clId="Web-{85CD7F39-8F26-7081-E17F-9CFE5E103D63}" dt="2023-10-24T19:03:39.508" v="173" actId="20577"/>
      <pc:docMkLst>
        <pc:docMk/>
      </pc:docMkLst>
      <pc:sldChg chg="del">
        <pc:chgData name="Eileen Fleming Suse" userId="S::efs3844@ads.northwestern.edu::725c94ef-d051-42d7-9d33-8572765d592b" providerId="AD" clId="Web-{85CD7F39-8F26-7081-E17F-9CFE5E103D63}" dt="2023-10-24T18:21:45.536" v="0"/>
        <pc:sldMkLst>
          <pc:docMk/>
          <pc:sldMk cId="2338849283" sldId="290"/>
        </pc:sldMkLst>
      </pc:sldChg>
      <pc:sldChg chg="ord">
        <pc:chgData name="Eileen Fleming Suse" userId="S::efs3844@ads.northwestern.edu::725c94ef-d051-42d7-9d33-8572765d592b" providerId="AD" clId="Web-{85CD7F39-8F26-7081-E17F-9CFE5E103D63}" dt="2023-10-24T18:27:42.969" v="88"/>
        <pc:sldMkLst>
          <pc:docMk/>
          <pc:sldMk cId="2351229145" sldId="544"/>
        </pc:sldMkLst>
      </pc:sldChg>
      <pc:sldChg chg="modSp">
        <pc:chgData name="Eileen Fleming Suse" userId="S::efs3844@ads.northwestern.edu::725c94ef-d051-42d7-9d33-8572765d592b" providerId="AD" clId="Web-{85CD7F39-8F26-7081-E17F-9CFE5E103D63}" dt="2023-10-24T18:41:13.402" v="102" actId="20577"/>
        <pc:sldMkLst>
          <pc:docMk/>
          <pc:sldMk cId="3745706804" sldId="548"/>
        </pc:sldMkLst>
        <pc:spChg chg="mod">
          <ac:chgData name="Eileen Fleming Suse" userId="S::efs3844@ads.northwestern.edu::725c94ef-d051-42d7-9d33-8572765d592b" providerId="AD" clId="Web-{85CD7F39-8F26-7081-E17F-9CFE5E103D63}" dt="2023-10-24T18:41:13.402" v="102" actId="20577"/>
          <ac:spMkLst>
            <pc:docMk/>
            <pc:sldMk cId="3745706804" sldId="548"/>
            <ac:spMk id="3" creationId="{C0454086-94BF-0693-766D-F1659194519A}"/>
          </ac:spMkLst>
        </pc:spChg>
      </pc:sldChg>
      <pc:sldChg chg="modSp">
        <pc:chgData name="Eileen Fleming Suse" userId="S::efs3844@ads.northwestern.edu::725c94ef-d051-42d7-9d33-8572765d592b" providerId="AD" clId="Web-{85CD7F39-8F26-7081-E17F-9CFE5E103D63}" dt="2023-10-24T18:49:16.746" v="155" actId="20577"/>
        <pc:sldMkLst>
          <pc:docMk/>
          <pc:sldMk cId="3962270618" sldId="549"/>
        </pc:sldMkLst>
        <pc:spChg chg="mod">
          <ac:chgData name="Eileen Fleming Suse" userId="S::efs3844@ads.northwestern.edu::725c94ef-d051-42d7-9d33-8572765d592b" providerId="AD" clId="Web-{85CD7F39-8F26-7081-E17F-9CFE5E103D63}" dt="2023-10-24T18:49:16.746" v="155" actId="20577"/>
          <ac:spMkLst>
            <pc:docMk/>
            <pc:sldMk cId="3962270618" sldId="549"/>
            <ac:spMk id="2" creationId="{D2A51686-B2DC-CDBE-63AE-C97B6B0DBD66}"/>
          </ac:spMkLst>
        </pc:spChg>
      </pc:sldChg>
      <pc:sldChg chg="modNotes">
        <pc:chgData name="Eileen Fleming Suse" userId="S::efs3844@ads.northwestern.edu::725c94ef-d051-42d7-9d33-8572765d592b" providerId="AD" clId="Web-{85CD7F39-8F26-7081-E17F-9CFE5E103D63}" dt="2023-10-24T18:49:47.856" v="156"/>
        <pc:sldMkLst>
          <pc:docMk/>
          <pc:sldMk cId="2562283095" sldId="551"/>
        </pc:sldMkLst>
      </pc:sldChg>
      <pc:sldChg chg="modSp">
        <pc:chgData name="Eileen Fleming Suse" userId="S::efs3844@ads.northwestern.edu::725c94ef-d051-42d7-9d33-8572765d592b" providerId="AD" clId="Web-{85CD7F39-8F26-7081-E17F-9CFE5E103D63}" dt="2023-10-24T18:22:25.365" v="2" actId="20577"/>
        <pc:sldMkLst>
          <pc:docMk/>
          <pc:sldMk cId="1522616096" sldId="555"/>
        </pc:sldMkLst>
        <pc:spChg chg="mod">
          <ac:chgData name="Eileen Fleming Suse" userId="S::efs3844@ads.northwestern.edu::725c94ef-d051-42d7-9d33-8572765d592b" providerId="AD" clId="Web-{85CD7F39-8F26-7081-E17F-9CFE5E103D63}" dt="2023-10-24T18:22:25.365" v="2" actId="20577"/>
          <ac:spMkLst>
            <pc:docMk/>
            <pc:sldMk cId="1522616096" sldId="555"/>
            <ac:spMk id="13" creationId="{50A7250D-02AB-B054-06E1-32E9F8FC55C0}"/>
          </ac:spMkLst>
        </pc:spChg>
      </pc:sldChg>
      <pc:sldChg chg="modSp ord">
        <pc:chgData name="Eileen Fleming Suse" userId="S::efs3844@ads.northwestern.edu::725c94ef-d051-42d7-9d33-8572765d592b" providerId="AD" clId="Web-{85CD7F39-8F26-7081-E17F-9CFE5E103D63}" dt="2023-10-24T18:23:33.867" v="6" actId="20577"/>
        <pc:sldMkLst>
          <pc:docMk/>
          <pc:sldMk cId="773696652" sldId="558"/>
        </pc:sldMkLst>
        <pc:spChg chg="mod">
          <ac:chgData name="Eileen Fleming Suse" userId="S::efs3844@ads.northwestern.edu::725c94ef-d051-42d7-9d33-8572765d592b" providerId="AD" clId="Web-{85CD7F39-8F26-7081-E17F-9CFE5E103D63}" dt="2023-10-24T18:23:33.867" v="6" actId="20577"/>
          <ac:spMkLst>
            <pc:docMk/>
            <pc:sldMk cId="773696652" sldId="558"/>
            <ac:spMk id="13" creationId="{50A7250D-02AB-B054-06E1-32E9F8FC55C0}"/>
          </ac:spMkLst>
        </pc:spChg>
      </pc:sldChg>
      <pc:sldChg chg="modSp">
        <pc:chgData name="Eileen Fleming Suse" userId="S::efs3844@ads.northwestern.edu::725c94ef-d051-42d7-9d33-8572765d592b" providerId="AD" clId="Web-{85CD7F39-8F26-7081-E17F-9CFE5E103D63}" dt="2023-10-24T19:03:39.508" v="173" actId="20577"/>
        <pc:sldMkLst>
          <pc:docMk/>
          <pc:sldMk cId="3067427377" sldId="560"/>
        </pc:sldMkLst>
        <pc:spChg chg="mod">
          <ac:chgData name="Eileen Fleming Suse" userId="S::efs3844@ads.northwestern.edu::725c94ef-d051-42d7-9d33-8572765d592b" providerId="AD" clId="Web-{85CD7F39-8F26-7081-E17F-9CFE5E103D63}" dt="2023-10-24T19:03:39.508" v="173" actId="20577"/>
          <ac:spMkLst>
            <pc:docMk/>
            <pc:sldMk cId="3067427377" sldId="560"/>
            <ac:spMk id="2" creationId="{85302686-DF06-3304-66CB-1E21F4D086DC}"/>
          </ac:spMkLst>
        </pc:spChg>
      </pc:sldChg>
      <pc:sldChg chg="ord">
        <pc:chgData name="Eileen Fleming Suse" userId="S::efs3844@ads.northwestern.edu::725c94ef-d051-42d7-9d33-8572765d592b" providerId="AD" clId="Web-{85CD7F39-8F26-7081-E17F-9CFE5E103D63}" dt="2023-10-24T19:02:03.568" v="160"/>
        <pc:sldMkLst>
          <pc:docMk/>
          <pc:sldMk cId="1536434647" sldId="564"/>
        </pc:sldMkLst>
      </pc:sldChg>
      <pc:sldChg chg="del">
        <pc:chgData name="Eileen Fleming Suse" userId="S::efs3844@ads.northwestern.edu::725c94ef-d051-42d7-9d33-8572765d592b" providerId="AD" clId="Web-{85CD7F39-8F26-7081-E17F-9CFE5E103D63}" dt="2023-10-24T18:31:12.851" v="91"/>
        <pc:sldMkLst>
          <pc:docMk/>
          <pc:sldMk cId="1415571005" sldId="572"/>
        </pc:sldMkLst>
      </pc:sldChg>
      <pc:sldChg chg="del">
        <pc:chgData name="Eileen Fleming Suse" userId="S::efs3844@ads.northwestern.edu::725c94ef-d051-42d7-9d33-8572765d592b" providerId="AD" clId="Web-{85CD7F39-8F26-7081-E17F-9CFE5E103D63}" dt="2023-10-24T18:31:16.023" v="92"/>
        <pc:sldMkLst>
          <pc:docMk/>
          <pc:sldMk cId="2901982042" sldId="573"/>
        </pc:sldMkLst>
      </pc:sldChg>
      <pc:sldChg chg="modNotes">
        <pc:chgData name="Eileen Fleming Suse" userId="S::efs3844@ads.northwestern.edu::725c94ef-d051-42d7-9d33-8572765d592b" providerId="AD" clId="Web-{85CD7F39-8F26-7081-E17F-9CFE5E103D63}" dt="2023-10-24T18:28:21.080" v="90"/>
        <pc:sldMkLst>
          <pc:docMk/>
          <pc:sldMk cId="1407824229" sldId="576"/>
        </pc:sldMkLst>
      </pc:sldChg>
      <pc:sldChg chg="modSp new mod modClrScheme chgLayout modNotes">
        <pc:chgData name="Eileen Fleming Suse" userId="S::efs3844@ads.northwestern.edu::725c94ef-d051-42d7-9d33-8572765d592b" providerId="AD" clId="Web-{85CD7F39-8F26-7081-E17F-9CFE5E103D63}" dt="2023-10-24T19:00:23.346" v="159"/>
        <pc:sldMkLst>
          <pc:docMk/>
          <pc:sldMk cId="4290994232" sldId="578"/>
        </pc:sldMkLst>
        <pc:spChg chg="mod ord">
          <ac:chgData name="Eileen Fleming Suse" userId="S::efs3844@ads.northwestern.edu::725c94ef-d051-42d7-9d33-8572765d592b" providerId="AD" clId="Web-{85CD7F39-8F26-7081-E17F-9CFE5E103D63}" dt="2023-10-24T18:26:58.624" v="67"/>
          <ac:spMkLst>
            <pc:docMk/>
            <pc:sldMk cId="4290994232" sldId="578"/>
            <ac:spMk id="2" creationId="{3089D313-1FE9-8E3B-E1C1-8D63F9537E7C}"/>
          </ac:spMkLst>
        </pc:spChg>
        <pc:spChg chg="mod ord">
          <ac:chgData name="Eileen Fleming Suse" userId="S::efs3844@ads.northwestern.edu::725c94ef-d051-42d7-9d33-8572765d592b" providerId="AD" clId="Web-{85CD7F39-8F26-7081-E17F-9CFE5E103D63}" dt="2023-10-24T18:26:58.624" v="67"/>
          <ac:spMkLst>
            <pc:docMk/>
            <pc:sldMk cId="4290994232" sldId="578"/>
            <ac:spMk id="3" creationId="{CFAA9E52-251F-FEC4-DD99-459D2CFCC90C}"/>
          </ac:spMkLst>
        </pc:spChg>
      </pc:sldChg>
    </pc:docChg>
  </pc:docChgLst>
  <pc:docChgLst>
    <pc:chgData name="Caldarelli, Leslie" userId="S::lcaldarelli_luriechildrens.org#ext#@nuwildcat.onmicrosoft.com::cd79b54d-c14e-4199-a04a-39c6f592e710" providerId="AD" clId="Web-{3A3E4FEE-6F9B-7EC3-B167-3C31BBE96824}"/>
    <pc:docChg chg="modSld">
      <pc:chgData name="Caldarelli, Leslie" userId="S::lcaldarelli_luriechildrens.org#ext#@nuwildcat.onmicrosoft.com::cd79b54d-c14e-4199-a04a-39c6f592e710" providerId="AD" clId="Web-{3A3E4FEE-6F9B-7EC3-B167-3C31BBE96824}" dt="2023-10-31T16:46:24.002" v="562"/>
      <pc:docMkLst>
        <pc:docMk/>
      </pc:docMkLst>
      <pc:sldChg chg="modSp">
        <pc:chgData name="Caldarelli, Leslie" userId="S::lcaldarelli_luriechildrens.org#ext#@nuwildcat.onmicrosoft.com::cd79b54d-c14e-4199-a04a-39c6f592e710" providerId="AD" clId="Web-{3A3E4FEE-6F9B-7EC3-B167-3C31BBE96824}" dt="2023-10-31T15:32:47.201" v="7" actId="20577"/>
        <pc:sldMkLst>
          <pc:docMk/>
          <pc:sldMk cId="3127921386" sldId="280"/>
        </pc:sldMkLst>
        <pc:spChg chg="mod">
          <ac:chgData name="Caldarelli, Leslie" userId="S::lcaldarelli_luriechildrens.org#ext#@nuwildcat.onmicrosoft.com::cd79b54d-c14e-4199-a04a-39c6f592e710" providerId="AD" clId="Web-{3A3E4FEE-6F9B-7EC3-B167-3C31BBE96824}" dt="2023-10-31T15:32:47.201" v="7" actId="20577"/>
          <ac:spMkLst>
            <pc:docMk/>
            <pc:sldMk cId="3127921386" sldId="280"/>
            <ac:spMk id="9" creationId="{7F20A429-9947-F447-2DF2-A5C17B5C6EC1}"/>
          </ac:spMkLst>
        </pc:spChg>
      </pc:sldChg>
      <pc:sldChg chg="modSp">
        <pc:chgData name="Caldarelli, Leslie" userId="S::lcaldarelli_luriechildrens.org#ext#@nuwildcat.onmicrosoft.com::cd79b54d-c14e-4199-a04a-39c6f592e710" providerId="AD" clId="Web-{3A3E4FEE-6F9B-7EC3-B167-3C31BBE96824}" dt="2023-10-31T15:41:06.250" v="123" actId="1076"/>
        <pc:sldMkLst>
          <pc:docMk/>
          <pc:sldMk cId="3635595752" sldId="545"/>
        </pc:sldMkLst>
        <pc:spChg chg="mod">
          <ac:chgData name="Caldarelli, Leslie" userId="S::lcaldarelli_luriechildrens.org#ext#@nuwildcat.onmicrosoft.com::cd79b54d-c14e-4199-a04a-39c6f592e710" providerId="AD" clId="Web-{3A3E4FEE-6F9B-7EC3-B167-3C31BBE96824}" dt="2023-10-31T15:41:06.250" v="123" actId="1076"/>
          <ac:spMkLst>
            <pc:docMk/>
            <pc:sldMk cId="3635595752" sldId="545"/>
            <ac:spMk id="2" creationId="{39AAB3FF-760A-B654-5F1B-78AD5BEB6B57}"/>
          </ac:spMkLst>
        </pc:spChg>
      </pc:sldChg>
      <pc:sldChg chg="modNotes">
        <pc:chgData name="Caldarelli, Leslie" userId="S::lcaldarelli_luriechildrens.org#ext#@nuwildcat.onmicrosoft.com::cd79b54d-c14e-4199-a04a-39c6f592e710" providerId="AD" clId="Web-{3A3E4FEE-6F9B-7EC3-B167-3C31BBE96824}" dt="2023-10-31T16:30:46.170" v="461"/>
        <pc:sldMkLst>
          <pc:docMk/>
          <pc:sldMk cId="3745706804" sldId="548"/>
        </pc:sldMkLst>
      </pc:sldChg>
      <pc:sldChg chg="addSp delSp modSp mod setBg addAnim delAnim setClrOvrMap">
        <pc:chgData name="Caldarelli, Leslie" userId="S::lcaldarelli_luriechildrens.org#ext#@nuwildcat.onmicrosoft.com::cd79b54d-c14e-4199-a04a-39c6f592e710" providerId="AD" clId="Web-{3A3E4FEE-6F9B-7EC3-B167-3C31BBE96824}" dt="2023-10-31T16:35:55.119" v="485" actId="20577"/>
        <pc:sldMkLst>
          <pc:docMk/>
          <pc:sldMk cId="3962270618" sldId="549"/>
        </pc:sldMkLst>
        <pc:spChg chg="mod">
          <ac:chgData name="Caldarelli, Leslie" userId="S::lcaldarelli_luriechildrens.org#ext#@nuwildcat.onmicrosoft.com::cd79b54d-c14e-4199-a04a-39c6f592e710" providerId="AD" clId="Web-{3A3E4FEE-6F9B-7EC3-B167-3C31BBE96824}" dt="2023-10-31T16:35:55.119" v="485"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3A3E4FEE-6F9B-7EC3-B167-3C31BBE96824}" dt="2023-10-31T16:35:19.696" v="483"/>
          <ac:spMkLst>
            <pc:docMk/>
            <pc:sldMk cId="3962270618" sldId="549"/>
            <ac:spMk id="3" creationId="{CBB95935-58B8-573E-DAFB-D9AE51F0FF09}"/>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9" creationId="{C1DD1A8A-57D5-4A81-AD04-532B043C5611}"/>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11" creationId="{007891EC-4501-44ED-A8C8-B11B6DB767AB}"/>
          </ac:spMkLst>
        </pc:spChg>
        <pc:spChg chg="add del">
          <ac:chgData name="Caldarelli, Leslie" userId="S::lcaldarelli_luriechildrens.org#ext#@nuwildcat.onmicrosoft.com::cd79b54d-c14e-4199-a04a-39c6f592e710" providerId="AD" clId="Web-{3A3E4FEE-6F9B-7EC3-B167-3C31BBE96824}" dt="2023-10-31T16:34:55.773" v="474"/>
          <ac:spMkLst>
            <pc:docMk/>
            <pc:sldMk cId="3962270618" sldId="549"/>
            <ac:spMk id="13" creationId="{71B2258F-86CA-4D4D-8270-BC05FCDEBFB3}"/>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6" creationId="{C1DD1A8A-57D5-4A81-AD04-532B043C5611}"/>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8" creationId="{007891EC-4501-44ED-A8C8-B11B6DB767AB}"/>
          </ac:spMkLst>
        </pc:spChg>
        <pc:spChg chg="add del">
          <ac:chgData name="Caldarelli, Leslie" userId="S::lcaldarelli_luriechildrens.org#ext#@nuwildcat.onmicrosoft.com::cd79b54d-c14e-4199-a04a-39c6f592e710" providerId="AD" clId="Web-{3A3E4FEE-6F9B-7EC3-B167-3C31BBE96824}" dt="2023-10-31T16:35:19.633" v="482"/>
          <ac:spMkLst>
            <pc:docMk/>
            <pc:sldMk cId="3962270618" sldId="549"/>
            <ac:spMk id="20" creationId="{71B2258F-86CA-4D4D-8270-BC05FCDEBFB3}"/>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3" creationId="{C1DD1A8A-57D5-4A81-AD04-532B043C5611}"/>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5" creationId="{007891EC-4501-44ED-A8C8-B11B6DB767AB}"/>
          </ac:spMkLst>
        </pc:spChg>
        <pc:picChg chg="add del">
          <ac:chgData name="Caldarelli, Leslie" userId="S::lcaldarelli_luriechildrens.org#ext#@nuwildcat.onmicrosoft.com::cd79b54d-c14e-4199-a04a-39c6f592e710" providerId="AD" clId="Web-{3A3E4FEE-6F9B-7EC3-B167-3C31BBE96824}" dt="2023-10-31T16:34:44.820" v="470"/>
          <ac:picMkLst>
            <pc:docMk/>
            <pc:sldMk cId="3962270618" sldId="549"/>
            <ac:picMk id="5" creationId="{9234C1D4-BF95-D24C-8A69-890193E28AB4}"/>
          </ac:picMkLst>
        </pc:picChg>
        <pc:picChg chg="add del">
          <ac:chgData name="Caldarelli, Leslie" userId="S::lcaldarelli_luriechildrens.org#ext#@nuwildcat.onmicrosoft.com::cd79b54d-c14e-4199-a04a-39c6f592e710" providerId="AD" clId="Web-{3A3E4FEE-6F9B-7EC3-B167-3C31BBE96824}" dt="2023-10-31T16:34:55.773" v="474"/>
          <ac:picMkLst>
            <pc:docMk/>
            <pc:sldMk cId="3962270618" sldId="549"/>
            <ac:picMk id="14" creationId="{D567A817-6C54-F3A2-6BCD-40C724D6CB5B}"/>
          </ac:picMkLst>
        </pc:picChg>
        <pc:picChg chg="add del">
          <ac:chgData name="Caldarelli, Leslie" userId="S::lcaldarelli_luriechildrens.org#ext#@nuwildcat.onmicrosoft.com::cd79b54d-c14e-4199-a04a-39c6f592e710" providerId="AD" clId="Web-{3A3E4FEE-6F9B-7EC3-B167-3C31BBE96824}" dt="2023-10-31T16:35:07.935" v="478"/>
          <ac:picMkLst>
            <pc:docMk/>
            <pc:sldMk cId="3962270618" sldId="549"/>
            <ac:picMk id="17" creationId="{4F03DE1D-DDB8-CDA0-8B03-FFAB4111BF40}"/>
          </ac:picMkLst>
        </pc:picChg>
        <pc:picChg chg="add del">
          <ac:chgData name="Caldarelli, Leslie" userId="S::lcaldarelli_luriechildrens.org#ext#@nuwildcat.onmicrosoft.com::cd79b54d-c14e-4199-a04a-39c6f592e710" providerId="AD" clId="Web-{3A3E4FEE-6F9B-7EC3-B167-3C31BBE96824}" dt="2023-10-31T16:35:19.633" v="482"/>
          <ac:picMkLst>
            <pc:docMk/>
            <pc:sldMk cId="3962270618" sldId="549"/>
            <ac:picMk id="21" creationId="{D567A817-6C54-F3A2-6BCD-40C724D6CB5B}"/>
          </ac:picMkLst>
        </pc:picChg>
        <pc:picChg chg="add">
          <ac:chgData name="Caldarelli, Leslie" userId="S::lcaldarelli_luriechildrens.org#ext#@nuwildcat.onmicrosoft.com::cd79b54d-c14e-4199-a04a-39c6f592e710" providerId="AD" clId="Web-{3A3E4FEE-6F9B-7EC3-B167-3C31BBE96824}" dt="2023-10-31T16:35:19.696" v="483"/>
          <ac:picMkLst>
            <pc:docMk/>
            <pc:sldMk cId="3962270618" sldId="549"/>
            <ac:picMk id="24" creationId="{4F03DE1D-DDB8-CDA0-8B03-FFAB4111BF40}"/>
          </ac:picMkLst>
        </pc:picChg>
      </pc:sldChg>
      <pc:sldChg chg="modSp">
        <pc:chgData name="Caldarelli, Leslie" userId="S::lcaldarelli_luriechildrens.org#ext#@nuwildcat.onmicrosoft.com::cd79b54d-c14e-4199-a04a-39c6f592e710" providerId="AD" clId="Web-{3A3E4FEE-6F9B-7EC3-B167-3C31BBE96824}" dt="2023-10-31T16:34:30.288" v="468" actId="1076"/>
        <pc:sldMkLst>
          <pc:docMk/>
          <pc:sldMk cId="3472964082" sldId="550"/>
        </pc:sldMkLst>
        <pc:spChg chg="mod">
          <ac:chgData name="Caldarelli, Leslie" userId="S::lcaldarelli_luriechildrens.org#ext#@nuwildcat.onmicrosoft.com::cd79b54d-c14e-4199-a04a-39c6f592e710" providerId="AD" clId="Web-{3A3E4FEE-6F9B-7EC3-B167-3C31BBE96824}" dt="2023-10-31T16:34:30.288" v="468" actId="1076"/>
          <ac:spMkLst>
            <pc:docMk/>
            <pc:sldMk cId="3472964082" sldId="550"/>
            <ac:spMk id="14"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33:34.098" v="466" actId="1076"/>
        <pc:sldMkLst>
          <pc:docMk/>
          <pc:sldMk cId="2562283095" sldId="551"/>
        </pc:sldMkLst>
        <pc:spChg chg="mod">
          <ac:chgData name="Caldarelli, Leslie" userId="S::lcaldarelli_luriechildrens.org#ext#@nuwildcat.onmicrosoft.com::cd79b54d-c14e-4199-a04a-39c6f592e710" providerId="AD" clId="Web-{3A3E4FEE-6F9B-7EC3-B167-3C31BBE96824}" dt="2023-10-31T16:32:28.205" v="464" actId="1076"/>
          <ac:spMkLst>
            <pc:docMk/>
            <pc:sldMk cId="2562283095" sldId="551"/>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3:29.832" v="465" actId="1076"/>
          <ac:spMkLst>
            <pc:docMk/>
            <pc:sldMk cId="2562283095" sldId="551"/>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3:34.098" v="466" actId="1076"/>
          <ac:grpSpMkLst>
            <pc:docMk/>
            <pc:sldMk cId="2562283095" sldId="551"/>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5:37:36.618" v="67" actId="1076"/>
        <pc:sldMkLst>
          <pc:docMk/>
          <pc:sldMk cId="714682852" sldId="552"/>
        </pc:sldMkLst>
        <pc:spChg chg="mod">
          <ac:chgData name="Caldarelli, Leslie" userId="S::lcaldarelli_luriechildrens.org#ext#@nuwildcat.onmicrosoft.com::cd79b54d-c14e-4199-a04a-39c6f592e710" providerId="AD" clId="Web-{3A3E4FEE-6F9B-7EC3-B167-3C31BBE96824}" dt="2023-10-31T15:37:36.618" v="67" actId="1076"/>
          <ac:spMkLst>
            <pc:docMk/>
            <pc:sldMk cId="714682852" sldId="552"/>
            <ac:spMk id="19" creationId="{8F56D947-B18E-6292-FB32-17E6BBE1C7B7}"/>
          </ac:spMkLst>
        </pc:spChg>
      </pc:sldChg>
      <pc:sldChg chg="modSp">
        <pc:chgData name="Caldarelli, Leslie" userId="S::lcaldarelli_luriechildrens.org#ext#@nuwildcat.onmicrosoft.com::cd79b54d-c14e-4199-a04a-39c6f592e710" providerId="AD" clId="Web-{3A3E4FEE-6F9B-7EC3-B167-3C31BBE96824}" dt="2023-10-31T15:39:37.794" v="95" actId="14100"/>
        <pc:sldMkLst>
          <pc:docMk/>
          <pc:sldMk cId="1522616096" sldId="555"/>
        </pc:sldMkLst>
        <pc:spChg chg="mod">
          <ac:chgData name="Caldarelli, Leslie" userId="S::lcaldarelli_luriechildrens.org#ext#@nuwildcat.onmicrosoft.com::cd79b54d-c14e-4199-a04a-39c6f592e710" providerId="AD" clId="Web-{3A3E4FEE-6F9B-7EC3-B167-3C31BBE96824}" dt="2023-10-31T15:39:37.794" v="95" actId="14100"/>
          <ac:spMkLst>
            <pc:docMk/>
            <pc:sldMk cId="1522616096" sldId="555"/>
            <ac:spMk id="2" creationId="{F40AE700-1499-46B3-C70A-C723802CD680}"/>
          </ac:spMkLst>
        </pc:spChg>
      </pc:sldChg>
      <pc:sldChg chg="modSp modNotes">
        <pc:chgData name="Caldarelli, Leslie" userId="S::lcaldarelli_luriechildrens.org#ext#@nuwildcat.onmicrosoft.com::cd79b54d-c14e-4199-a04a-39c6f592e710" providerId="AD" clId="Web-{3A3E4FEE-6F9B-7EC3-B167-3C31BBE96824}" dt="2023-10-31T15:36:18.880" v="66"/>
        <pc:sldMkLst>
          <pc:docMk/>
          <pc:sldMk cId="1514756035" sldId="556"/>
        </pc:sldMkLst>
        <pc:spChg chg="mod">
          <ac:chgData name="Caldarelli, Leslie" userId="S::lcaldarelli_luriechildrens.org#ext#@nuwildcat.onmicrosoft.com::cd79b54d-c14e-4199-a04a-39c6f592e710" providerId="AD" clId="Web-{3A3E4FEE-6F9B-7EC3-B167-3C31BBE96824}" dt="2023-10-31T15:34:46.736" v="60" actId="20577"/>
          <ac:spMkLst>
            <pc:docMk/>
            <pc:sldMk cId="1514756035" sldId="556"/>
            <ac:spMk id="48" creationId="{9DA002CE-213B-0EFE-03DC-C3DB65BCF003}"/>
          </ac:spMkLst>
        </pc:spChg>
      </pc:sldChg>
      <pc:sldChg chg="modSp">
        <pc:chgData name="Caldarelli, Leslie" userId="S::lcaldarelli_luriechildrens.org#ext#@nuwildcat.onmicrosoft.com::cd79b54d-c14e-4199-a04a-39c6f592e710" providerId="AD" clId="Web-{3A3E4FEE-6F9B-7EC3-B167-3C31BBE96824}" dt="2023-10-31T15:42:29.409" v="146" actId="20577"/>
        <pc:sldMkLst>
          <pc:docMk/>
          <pc:sldMk cId="773696652" sldId="558"/>
        </pc:sldMkLst>
        <pc:spChg chg="mod">
          <ac:chgData name="Caldarelli, Leslie" userId="S::lcaldarelli_luriechildrens.org#ext#@nuwildcat.onmicrosoft.com::cd79b54d-c14e-4199-a04a-39c6f592e710" providerId="AD" clId="Web-{3A3E4FEE-6F9B-7EC3-B167-3C31BBE96824}" dt="2023-10-31T15:42:29.409" v="146" actId="20577"/>
          <ac:spMkLst>
            <pc:docMk/>
            <pc:sldMk cId="773696652" sldId="558"/>
            <ac:spMk id="2" creationId="{F40AE700-1499-46B3-C70A-C723802CD680}"/>
          </ac:spMkLst>
        </pc:spChg>
      </pc:sldChg>
      <pc:sldChg chg="modSp">
        <pc:chgData name="Caldarelli, Leslie" userId="S::lcaldarelli_luriechildrens.org#ext#@nuwildcat.onmicrosoft.com::cd79b54d-c14e-4199-a04a-39c6f592e710" providerId="AD" clId="Web-{3A3E4FEE-6F9B-7EC3-B167-3C31BBE96824}" dt="2023-10-31T16:36:35.433" v="487" actId="20577"/>
        <pc:sldMkLst>
          <pc:docMk/>
          <pc:sldMk cId="3067427377" sldId="560"/>
        </pc:sldMkLst>
        <pc:spChg chg="mod">
          <ac:chgData name="Caldarelli, Leslie" userId="S::lcaldarelli_luriechildrens.org#ext#@nuwildcat.onmicrosoft.com::cd79b54d-c14e-4199-a04a-39c6f592e710" providerId="AD" clId="Web-{3A3E4FEE-6F9B-7EC3-B167-3C31BBE96824}" dt="2023-10-31T16:36:35.433" v="487"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3A3E4FEE-6F9B-7EC3-B167-3C31BBE96824}" dt="2023-10-31T15:57:10.707" v="211" actId="1076"/>
        <pc:sldMkLst>
          <pc:docMk/>
          <pc:sldMk cId="3845418986" sldId="563"/>
        </pc:sldMkLst>
        <pc:spChg chg="mod">
          <ac:chgData name="Caldarelli, Leslie" userId="S::lcaldarelli_luriechildrens.org#ext#@nuwildcat.onmicrosoft.com::cd79b54d-c14e-4199-a04a-39c6f592e710" providerId="AD" clId="Web-{3A3E4FEE-6F9B-7EC3-B167-3C31BBE96824}" dt="2023-10-31T15:57:10.707" v="211" actId="1076"/>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3A3E4FEE-6F9B-7EC3-B167-3C31BBE96824}" dt="2023-10-31T16:06:34.337" v="245" actId="1076"/>
        <pc:sldMkLst>
          <pc:docMk/>
          <pc:sldMk cId="3419957415" sldId="577"/>
        </pc:sldMkLst>
        <pc:spChg chg="mod">
          <ac:chgData name="Caldarelli, Leslie" userId="S::lcaldarelli_luriechildrens.org#ext#@nuwildcat.onmicrosoft.com::cd79b54d-c14e-4199-a04a-39c6f592e710" providerId="AD" clId="Web-{3A3E4FEE-6F9B-7EC3-B167-3C31BBE96824}" dt="2023-10-31T15:55:30.219" v="210" actId="1076"/>
          <ac:spMkLst>
            <pc:docMk/>
            <pc:sldMk cId="3419957415" sldId="577"/>
            <ac:spMk id="23" creationId="{00000000-0000-0000-0000-000000000000}"/>
          </ac:spMkLst>
        </pc:spChg>
        <pc:spChg chg="mod">
          <ac:chgData name="Caldarelli, Leslie" userId="S::lcaldarelli_luriechildrens.org#ext#@nuwildcat.onmicrosoft.com::cd79b54d-c14e-4199-a04a-39c6f592e710" providerId="AD" clId="Web-{3A3E4FEE-6F9B-7EC3-B167-3C31BBE96824}" dt="2023-10-31T16:06:34.337" v="245" actId="1076"/>
          <ac:spMkLst>
            <pc:docMk/>
            <pc:sldMk cId="3419957415" sldId="577"/>
            <ac:spMk id="65" creationId="{28CD4543-B35F-C7BE-C5DB-7DF0067C551A}"/>
          </ac:spMkLst>
        </pc:spChg>
      </pc:sldChg>
      <pc:sldChg chg="modSp">
        <pc:chgData name="Caldarelli, Leslie" userId="S::lcaldarelli_luriechildrens.org#ext#@nuwildcat.onmicrosoft.com::cd79b54d-c14e-4199-a04a-39c6f592e710" providerId="AD" clId="Web-{3A3E4FEE-6F9B-7EC3-B167-3C31BBE96824}" dt="2023-10-31T16:22:43.293" v="377" actId="1076"/>
        <pc:sldMkLst>
          <pc:docMk/>
          <pc:sldMk cId="785115983" sldId="578"/>
        </pc:sldMkLst>
        <pc:spChg chg="mod">
          <ac:chgData name="Caldarelli, Leslie" userId="S::lcaldarelli_luriechildrens.org#ext#@nuwildcat.onmicrosoft.com::cd79b54d-c14e-4199-a04a-39c6f592e710" providerId="AD" clId="Web-{3A3E4FEE-6F9B-7EC3-B167-3C31BBE96824}" dt="2023-10-31T16:22:43.293" v="377" actId="1076"/>
          <ac:spMkLst>
            <pc:docMk/>
            <pc:sldMk cId="785115983" sldId="578"/>
            <ac:spMk id="54" creationId="{3719DC3C-330E-96DC-F3E0-D6B8EE5E5A3C}"/>
          </ac:spMkLst>
        </pc:spChg>
      </pc:sldChg>
      <pc:sldChg chg="modSp modNotes">
        <pc:chgData name="Caldarelli, Leslie" userId="S::lcaldarelli_luriechildrens.org#ext#@nuwildcat.onmicrosoft.com::cd79b54d-c14e-4199-a04a-39c6f592e710" providerId="AD" clId="Web-{3A3E4FEE-6F9B-7EC3-B167-3C31BBE96824}" dt="2023-10-31T16:19:01.207" v="317"/>
        <pc:sldMkLst>
          <pc:docMk/>
          <pc:sldMk cId="3030449316" sldId="579"/>
        </pc:sldMkLst>
        <pc:spChg chg="mod">
          <ac:chgData name="Caldarelli, Leslie" userId="S::lcaldarelli_luriechildrens.org#ext#@nuwildcat.onmicrosoft.com::cd79b54d-c14e-4199-a04a-39c6f592e710" providerId="AD" clId="Web-{3A3E4FEE-6F9B-7EC3-B167-3C31BBE96824}" dt="2023-10-31T16:18:25.362" v="289" actId="20577"/>
          <ac:spMkLst>
            <pc:docMk/>
            <pc:sldMk cId="3030449316" sldId="579"/>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15:55.341" v="280" actId="1076"/>
          <ac:spMkLst>
            <pc:docMk/>
            <pc:sldMk cId="3030449316" sldId="579"/>
            <ac:spMk id="56" creationId="{AB0F7BDF-C613-8BB0-BFCB-8F26B40EC06E}"/>
          </ac:spMkLst>
        </pc:spChg>
      </pc:sldChg>
      <pc:sldChg chg="modSp">
        <pc:chgData name="Caldarelli, Leslie" userId="S::lcaldarelli_luriechildrens.org#ext#@nuwildcat.onmicrosoft.com::cd79b54d-c14e-4199-a04a-39c6f592e710" providerId="AD" clId="Web-{3A3E4FEE-6F9B-7EC3-B167-3C31BBE96824}" dt="2023-10-31T16:05:55.132" v="238" actId="14100"/>
        <pc:sldMkLst>
          <pc:docMk/>
          <pc:sldMk cId="4283907660" sldId="580"/>
        </pc:sldMkLst>
        <pc:spChg chg="mod">
          <ac:chgData name="Caldarelli, Leslie" userId="S::lcaldarelli_luriechildrens.org#ext#@nuwildcat.onmicrosoft.com::cd79b54d-c14e-4199-a04a-39c6f592e710" providerId="AD" clId="Web-{3A3E4FEE-6F9B-7EC3-B167-3C31BBE96824}" dt="2023-10-31T16:05:55.132" v="238" actId="14100"/>
          <ac:spMkLst>
            <pc:docMk/>
            <pc:sldMk cId="4283907660" sldId="580"/>
            <ac:spMk id="71" creationId="{755536B4-F5C2-3697-61E6-0681DE0C12BD}"/>
          </ac:spMkLst>
        </pc:spChg>
      </pc:sldChg>
      <pc:sldChg chg="modSp">
        <pc:chgData name="Caldarelli, Leslie" userId="S::lcaldarelli_luriechildrens.org#ext#@nuwildcat.onmicrosoft.com::cd79b54d-c14e-4199-a04a-39c6f592e710" providerId="AD" clId="Web-{3A3E4FEE-6F9B-7EC3-B167-3C31BBE96824}" dt="2023-10-31T16:06:16.117" v="242" actId="1076"/>
        <pc:sldMkLst>
          <pc:docMk/>
          <pc:sldMk cId="3429940818" sldId="581"/>
        </pc:sldMkLst>
        <pc:spChg chg="mod">
          <ac:chgData name="Caldarelli, Leslie" userId="S::lcaldarelli_luriechildrens.org#ext#@nuwildcat.onmicrosoft.com::cd79b54d-c14e-4199-a04a-39c6f592e710" providerId="AD" clId="Web-{3A3E4FEE-6F9B-7EC3-B167-3C31BBE96824}" dt="2023-10-31T15:59:33.212" v="212" actId="1076"/>
          <ac:spMkLst>
            <pc:docMk/>
            <pc:sldMk cId="3429940818" sldId="581"/>
            <ac:spMk id="68" creationId="{00000000-0000-0000-0000-000000000000}"/>
          </ac:spMkLst>
        </pc:spChg>
        <pc:spChg chg="mod">
          <ac:chgData name="Caldarelli, Leslie" userId="S::lcaldarelli_luriechildrens.org#ext#@nuwildcat.onmicrosoft.com::cd79b54d-c14e-4199-a04a-39c6f592e710" providerId="AD" clId="Web-{3A3E4FEE-6F9B-7EC3-B167-3C31BBE96824}" dt="2023-10-31T16:06:16.117" v="242" actId="1076"/>
          <ac:spMkLst>
            <pc:docMk/>
            <pc:sldMk cId="3429940818" sldId="581"/>
            <ac:spMk id="75" creationId="{20D2DCD7-9B15-FB75-E33B-CECC88A394B8}"/>
          </ac:spMkLst>
        </pc:spChg>
      </pc:sldChg>
      <pc:sldChg chg="modNotes">
        <pc:chgData name="Caldarelli, Leslie" userId="S::lcaldarelli_luriechildrens.org#ext#@nuwildcat.onmicrosoft.com::cd79b54d-c14e-4199-a04a-39c6f592e710" providerId="AD" clId="Web-{3A3E4FEE-6F9B-7EC3-B167-3C31BBE96824}" dt="2023-10-31T15:44:25.335" v="147"/>
        <pc:sldMkLst>
          <pc:docMk/>
          <pc:sldMk cId="3870927286" sldId="583"/>
        </pc:sldMkLst>
      </pc:sldChg>
      <pc:sldChg chg="modSp">
        <pc:chgData name="Caldarelli, Leslie" userId="S::lcaldarelli_luriechildrens.org#ext#@nuwildcat.onmicrosoft.com::cd79b54d-c14e-4199-a04a-39c6f592e710" providerId="AD" clId="Web-{3A3E4FEE-6F9B-7EC3-B167-3C31BBE96824}" dt="2023-10-31T16:04:27.769" v="228" actId="20577"/>
        <pc:sldMkLst>
          <pc:docMk/>
          <pc:sldMk cId="3573947264" sldId="584"/>
        </pc:sldMkLst>
        <pc:spChg chg="mod">
          <ac:chgData name="Caldarelli, Leslie" userId="S::lcaldarelli_luriechildrens.org#ext#@nuwildcat.onmicrosoft.com::cd79b54d-c14e-4199-a04a-39c6f592e710" providerId="AD" clId="Web-{3A3E4FEE-6F9B-7EC3-B167-3C31BBE96824}" dt="2023-10-31T16:04:27.769" v="228" actId="20577"/>
          <ac:spMkLst>
            <pc:docMk/>
            <pc:sldMk cId="3573947264" sldId="584"/>
            <ac:spMk id="42" creationId="{E9E3C6CF-96AA-68D8-0977-EC06066DAB15}"/>
          </ac:spMkLst>
        </pc:spChg>
      </pc:sldChg>
      <pc:sldChg chg="modSp modNotes">
        <pc:chgData name="Caldarelli, Leslie" userId="S::lcaldarelli_luriechildrens.org#ext#@nuwildcat.onmicrosoft.com::cd79b54d-c14e-4199-a04a-39c6f592e710" providerId="AD" clId="Web-{3A3E4FEE-6F9B-7EC3-B167-3C31BBE96824}" dt="2023-10-31T16:30:34.998" v="460" actId="1076"/>
        <pc:sldMkLst>
          <pc:docMk/>
          <pc:sldMk cId="3561966490" sldId="585"/>
        </pc:sldMkLst>
        <pc:spChg chg="mod">
          <ac:chgData name="Caldarelli, Leslie" userId="S::lcaldarelli_luriechildrens.org#ext#@nuwildcat.onmicrosoft.com::cd79b54d-c14e-4199-a04a-39c6f592e710" providerId="AD" clId="Web-{3A3E4FEE-6F9B-7EC3-B167-3C31BBE96824}" dt="2023-10-31T16:25:13.768" v="380" actId="20577"/>
          <ac:spMkLst>
            <pc:docMk/>
            <pc:sldMk cId="3561966490" sldId="585"/>
            <ac:spMk id="10" creationId="{00000000-0000-0000-0000-000000000000}"/>
          </ac:spMkLst>
        </pc:spChg>
        <pc:spChg chg="mod">
          <ac:chgData name="Caldarelli, Leslie" userId="S::lcaldarelli_luriechildrens.org#ext#@nuwildcat.onmicrosoft.com::cd79b54d-c14e-4199-a04a-39c6f592e710" providerId="AD" clId="Web-{3A3E4FEE-6F9B-7EC3-B167-3C31BBE96824}" dt="2023-10-31T16:30:34.998" v="460" actId="1076"/>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3A3E4FEE-6F9B-7EC3-B167-3C31BBE96824}" dt="2023-10-31T16:25:17.846" v="382"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3A3E4FEE-6F9B-7EC3-B167-3C31BBE96824}" dt="2023-10-31T16:25:25.331" v="384" actId="20577"/>
          <ac:spMkLst>
            <pc:docMk/>
            <pc:sldMk cId="3561966490" sldId="585"/>
            <ac:spMk id="21" creationId="{00000000-0000-0000-0000-000000000000}"/>
          </ac:spMkLst>
        </pc:spChg>
        <pc:spChg chg="mod">
          <ac:chgData name="Caldarelli, Leslie" userId="S::lcaldarelli_luriechildrens.org#ext#@nuwildcat.onmicrosoft.com::cd79b54d-c14e-4199-a04a-39c6f592e710" providerId="AD" clId="Web-{3A3E4FEE-6F9B-7EC3-B167-3C31BBE96824}" dt="2023-10-31T16:30:08.481" v="459" actId="20577"/>
          <ac:spMkLst>
            <pc:docMk/>
            <pc:sldMk cId="3561966490" sldId="585"/>
            <ac:spMk id="22"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22:00.792" v="370"/>
        <pc:sldMkLst>
          <pc:docMk/>
          <pc:sldMk cId="3809547791" sldId="586"/>
        </pc:sldMkLst>
        <pc:spChg chg="mod">
          <ac:chgData name="Caldarelli, Leslie" userId="S::lcaldarelli_luriechildrens.org#ext#@nuwildcat.onmicrosoft.com::cd79b54d-c14e-4199-a04a-39c6f592e710" providerId="AD" clId="Web-{3A3E4FEE-6F9B-7EC3-B167-3C31BBE96824}" dt="2023-10-31T16:21:04.915" v="357" actId="14100"/>
          <ac:spMkLst>
            <pc:docMk/>
            <pc:sldMk cId="3809547791" sldId="586"/>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20:34.726" v="349" actId="20577"/>
          <ac:spMkLst>
            <pc:docMk/>
            <pc:sldMk cId="3809547791" sldId="586"/>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5:17.887" v="273" actId="20577"/>
        <pc:sldMkLst>
          <pc:docMk/>
          <pc:sldMk cId="1598854783" sldId="587"/>
        </pc:sldMkLst>
        <pc:spChg chg="mod">
          <ac:chgData name="Caldarelli, Leslie" userId="S::lcaldarelli_luriechildrens.org#ext#@nuwildcat.onmicrosoft.com::cd79b54d-c14e-4199-a04a-39c6f592e710" providerId="AD" clId="Web-{3A3E4FEE-6F9B-7EC3-B167-3C31BBE96824}" dt="2023-10-31T16:15:06.464" v="271" actId="20577"/>
          <ac:spMkLst>
            <pc:docMk/>
            <pc:sldMk cId="1598854783" sldId="587"/>
            <ac:spMk id="37" creationId="{00000000-0000-0000-0000-000000000000}"/>
          </ac:spMkLst>
        </pc:spChg>
        <pc:spChg chg="mod">
          <ac:chgData name="Caldarelli, Leslie" userId="S::lcaldarelli_luriechildrens.org#ext#@nuwildcat.onmicrosoft.com::cd79b54d-c14e-4199-a04a-39c6f592e710" providerId="AD" clId="Web-{3A3E4FEE-6F9B-7EC3-B167-3C31BBE96824}" dt="2023-10-31T16:14:11.994" v="267" actId="20577"/>
          <ac:spMkLst>
            <pc:docMk/>
            <pc:sldMk cId="1598854783" sldId="587"/>
            <ac:spMk id="38" creationId="{00000000-0000-0000-0000-000000000000}"/>
          </ac:spMkLst>
        </pc:spChg>
        <pc:spChg chg="mod">
          <ac:chgData name="Caldarelli, Leslie" userId="S::lcaldarelli_luriechildrens.org#ext#@nuwildcat.onmicrosoft.com::cd79b54d-c14e-4199-a04a-39c6f592e710" providerId="AD" clId="Web-{3A3E4FEE-6F9B-7EC3-B167-3C31BBE96824}" dt="2023-10-31T16:15:17.887" v="273" actId="20577"/>
          <ac:spMkLst>
            <pc:docMk/>
            <pc:sldMk cId="1598854783" sldId="587"/>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13:05.398" v="264" actId="20577"/>
          <ac:spMkLst>
            <pc:docMk/>
            <pc:sldMk cId="1598854783" sldId="587"/>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1:44.067" v="259" actId="20577"/>
        <pc:sldMkLst>
          <pc:docMk/>
          <pc:sldMk cId="3832963388" sldId="588"/>
        </pc:sldMkLst>
        <pc:spChg chg="mod">
          <ac:chgData name="Caldarelli, Leslie" userId="S::lcaldarelli_luriechildrens.org#ext#@nuwildcat.onmicrosoft.com::cd79b54d-c14e-4199-a04a-39c6f592e710" providerId="AD" clId="Web-{3A3E4FEE-6F9B-7EC3-B167-3C31BBE96824}" dt="2023-10-31T16:11:44.067" v="259" actId="20577"/>
          <ac:spMkLst>
            <pc:docMk/>
            <pc:sldMk cId="3832963388" sldId="588"/>
            <ac:spMk id="28"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0:32.517" v="251" actId="20577"/>
        <pc:sldMkLst>
          <pc:docMk/>
          <pc:sldMk cId="435998680" sldId="589"/>
        </pc:sldMkLst>
        <pc:spChg chg="mod">
          <ac:chgData name="Caldarelli, Leslie" userId="S::lcaldarelli_luriechildrens.org#ext#@nuwildcat.onmicrosoft.com::cd79b54d-c14e-4199-a04a-39c6f592e710" providerId="AD" clId="Web-{3A3E4FEE-6F9B-7EC3-B167-3C31BBE96824}" dt="2023-10-31T16:10:32.517" v="251"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3A3E4FEE-6F9B-7EC3-B167-3C31BBE96824}" dt="2023-10-31T16:09:46.297" v="250" actId="20577"/>
          <ac:spMkLst>
            <pc:docMk/>
            <pc:sldMk cId="435998680" sldId="589"/>
            <ac:spMk id="14"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7:59.183" v="247" actId="14100"/>
        <pc:sldMkLst>
          <pc:docMk/>
          <pc:sldMk cId="595546358" sldId="590"/>
        </pc:sldMkLst>
        <pc:spChg chg="mod">
          <ac:chgData name="Caldarelli, Leslie" userId="S::lcaldarelli_luriechildrens.org#ext#@nuwildcat.onmicrosoft.com::cd79b54d-c14e-4199-a04a-39c6f592e710" providerId="AD" clId="Web-{3A3E4FEE-6F9B-7EC3-B167-3C31BBE96824}" dt="2023-10-31T16:07:59.183" v="247" actId="14100"/>
          <ac:spMkLst>
            <pc:docMk/>
            <pc:sldMk cId="595546358" sldId="590"/>
            <ac:spMk id="26" creationId="{00000000-0000-0000-0000-000000000000}"/>
          </ac:spMkLst>
        </pc:spChg>
        <pc:grpChg chg="mod">
          <ac:chgData name="Caldarelli, Leslie" userId="S::lcaldarelli_luriechildrens.org#ext#@nuwildcat.onmicrosoft.com::cd79b54d-c14e-4199-a04a-39c6f592e710" providerId="AD" clId="Web-{3A3E4FEE-6F9B-7EC3-B167-3C31BBE96824}" dt="2023-10-31T16:07:50.371" v="246" actId="1076"/>
          <ac:grpSpMkLst>
            <pc:docMk/>
            <pc:sldMk cId="595546358" sldId="590"/>
            <ac:grpSpMk id="11"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01:40.623" v="217" actId="14100"/>
        <pc:sldMkLst>
          <pc:docMk/>
          <pc:sldMk cId="629433230" sldId="591"/>
        </pc:sldMkLst>
        <pc:spChg chg="mod">
          <ac:chgData name="Caldarelli, Leslie" userId="S::lcaldarelli_luriechildrens.org#ext#@nuwildcat.onmicrosoft.com::cd79b54d-c14e-4199-a04a-39c6f592e710" providerId="AD" clId="Web-{3A3E4FEE-6F9B-7EC3-B167-3C31BBE96824}" dt="2023-10-31T16:01:40.623" v="217" actId="14100"/>
          <ac:spMkLst>
            <pc:docMk/>
            <pc:sldMk cId="629433230" sldId="591"/>
            <ac:spMk id="20"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4:35.082" v="230" actId="20577"/>
        <pc:sldMkLst>
          <pc:docMk/>
          <pc:sldMk cId="1210022179" sldId="617"/>
        </pc:sldMkLst>
        <pc:spChg chg="mod">
          <ac:chgData name="Caldarelli, Leslie" userId="S::lcaldarelli_luriechildrens.org#ext#@nuwildcat.onmicrosoft.com::cd79b54d-c14e-4199-a04a-39c6f592e710" providerId="AD" clId="Web-{3A3E4FEE-6F9B-7EC3-B167-3C31BBE96824}" dt="2023-10-31T16:04:35.082" v="230" actId="20577"/>
          <ac:spMkLst>
            <pc:docMk/>
            <pc:sldMk cId="1210022179" sldId="617"/>
            <ac:spMk id="42" creationId="{E9E3C6CF-96AA-68D8-0977-EC06066DAB15}"/>
          </ac:spMkLst>
        </pc:spChg>
      </pc:sldChg>
      <pc:sldChg chg="modNotes">
        <pc:chgData name="Caldarelli, Leslie" userId="S::lcaldarelli_luriechildrens.org#ext#@nuwildcat.onmicrosoft.com::cd79b54d-c14e-4199-a04a-39c6f592e710" providerId="AD" clId="Web-{3A3E4FEE-6F9B-7EC3-B167-3C31BBE96824}" dt="2023-10-31T15:54:09.997" v="209"/>
        <pc:sldMkLst>
          <pc:docMk/>
          <pc:sldMk cId="3850125703" sldId="622"/>
        </pc:sldMkLst>
      </pc:sldChg>
      <pc:sldChg chg="modSp">
        <pc:chgData name="Caldarelli, Leslie" userId="S::lcaldarelli_luriechildrens.org#ext#@nuwildcat.onmicrosoft.com::cd79b54d-c14e-4199-a04a-39c6f592e710" providerId="AD" clId="Web-{3A3E4FEE-6F9B-7EC3-B167-3C31BBE96824}" dt="2023-10-31T16:04:40.692" v="231" actId="20577"/>
        <pc:sldMkLst>
          <pc:docMk/>
          <pc:sldMk cId="2561278274" sldId="630"/>
        </pc:sldMkLst>
        <pc:spChg chg="mod">
          <ac:chgData name="Caldarelli, Leslie" userId="S::lcaldarelli_luriechildrens.org#ext#@nuwildcat.onmicrosoft.com::cd79b54d-c14e-4199-a04a-39c6f592e710" providerId="AD" clId="Web-{3A3E4FEE-6F9B-7EC3-B167-3C31BBE96824}" dt="2023-10-31T16:04:40.692" v="231" actId="20577"/>
          <ac:spMkLst>
            <pc:docMk/>
            <pc:sldMk cId="2561278274" sldId="630"/>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04:46.880" v="233" actId="20577"/>
        <pc:sldMkLst>
          <pc:docMk/>
          <pc:sldMk cId="488873692" sldId="631"/>
        </pc:sldMkLst>
        <pc:spChg chg="mod">
          <ac:chgData name="Caldarelli, Leslie" userId="S::lcaldarelli_luriechildrens.org#ext#@nuwildcat.onmicrosoft.com::cd79b54d-c14e-4199-a04a-39c6f592e710" providerId="AD" clId="Web-{3A3E4FEE-6F9B-7EC3-B167-3C31BBE96824}" dt="2023-10-31T16:04:46.880" v="233" actId="20577"/>
          <ac:spMkLst>
            <pc:docMk/>
            <pc:sldMk cId="488873692" sldId="631"/>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15:37.372" v="277" actId="20577"/>
        <pc:sldMkLst>
          <pc:docMk/>
          <pc:sldMk cId="3115055849" sldId="632"/>
        </pc:sldMkLst>
        <pc:spChg chg="mod">
          <ac:chgData name="Caldarelli, Leslie" userId="S::lcaldarelli_luriechildrens.org#ext#@nuwildcat.onmicrosoft.com::cd79b54d-c14e-4199-a04a-39c6f592e710" providerId="AD" clId="Web-{3A3E4FEE-6F9B-7EC3-B167-3C31BBE96824}" dt="2023-10-31T16:15:37.372" v="277" actId="20577"/>
          <ac:spMkLst>
            <pc:docMk/>
            <pc:sldMk cId="3115055849" sldId="632"/>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22:31.574" v="374" actId="20577"/>
        <pc:sldMkLst>
          <pc:docMk/>
          <pc:sldMk cId="3999708931" sldId="633"/>
        </pc:sldMkLst>
        <pc:spChg chg="mod">
          <ac:chgData name="Caldarelli, Leslie" userId="S::lcaldarelli_luriechildrens.org#ext#@nuwildcat.onmicrosoft.com::cd79b54d-c14e-4199-a04a-39c6f592e710" providerId="AD" clId="Web-{3A3E4FEE-6F9B-7EC3-B167-3C31BBE96824}" dt="2023-10-31T16:22:31.574" v="374" actId="20577"/>
          <ac:spMkLst>
            <pc:docMk/>
            <pc:sldMk cId="3999708931" sldId="633"/>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5:33:52.641" v="54" actId="20577"/>
        <pc:sldMkLst>
          <pc:docMk/>
          <pc:sldMk cId="1271905251" sldId="637"/>
        </pc:sldMkLst>
        <pc:spChg chg="mod">
          <ac:chgData name="Caldarelli, Leslie" userId="S::lcaldarelli_luriechildrens.org#ext#@nuwildcat.onmicrosoft.com::cd79b54d-c14e-4199-a04a-39c6f592e710" providerId="AD" clId="Web-{3A3E4FEE-6F9B-7EC3-B167-3C31BBE96824}" dt="2023-10-31T15:33:52.641" v="54" actId="20577"/>
          <ac:spMkLst>
            <pc:docMk/>
            <pc:sldMk cId="1271905251" sldId="637"/>
            <ac:spMk id="3" creationId="{38BD8A99-C590-643F-CF50-2EEC68347C9C}"/>
          </ac:spMkLst>
        </pc:spChg>
      </pc:sldChg>
      <pc:sldChg chg="addSp delSp modSp mod setBg addAnim setClrOvrMap modNotes">
        <pc:chgData name="Caldarelli, Leslie" userId="S::lcaldarelli_luriechildrens.org#ext#@nuwildcat.onmicrosoft.com::cd79b54d-c14e-4199-a04a-39c6f592e710" providerId="AD" clId="Web-{3A3E4FEE-6F9B-7EC3-B167-3C31BBE96824}" dt="2023-10-31T16:46:24.002" v="562"/>
        <pc:sldMkLst>
          <pc:docMk/>
          <pc:sldMk cId="3557549611" sldId="639"/>
        </pc:sldMkLst>
        <pc:spChg chg="mod">
          <ac:chgData name="Caldarelli, Leslie" userId="S::lcaldarelli_luriechildrens.org#ext#@nuwildcat.onmicrosoft.com::cd79b54d-c14e-4199-a04a-39c6f592e710" providerId="AD" clId="Web-{3A3E4FEE-6F9B-7EC3-B167-3C31BBE96824}" dt="2023-10-31T16:45:57.547" v="552" actId="20577"/>
          <ac:spMkLst>
            <pc:docMk/>
            <pc:sldMk cId="3557549611" sldId="639"/>
            <ac:spMk id="2" creationId="{0BE17DCB-A8F8-6312-7CC0-B9B84CE03C29}"/>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4" creationId="{06276F4D-91A4-D091-2EFE-9A1748660AE2}"/>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5" creationId="{475B4B8E-2C04-6E84-AEFA-610CF3D9D135}"/>
          </ac:spMkLst>
        </pc:spChg>
        <pc:spChg chg="del">
          <ac:chgData name="Caldarelli, Leslie" userId="S::lcaldarelli_luriechildrens.org#ext#@nuwildcat.onmicrosoft.com::cd79b54d-c14e-4199-a04a-39c6f592e710" providerId="AD" clId="Web-{3A3E4FEE-6F9B-7EC3-B167-3C31BBE96824}" dt="2023-10-31T16:44:54.342" v="540"/>
          <ac:spMkLst>
            <pc:docMk/>
            <pc:sldMk cId="3557549611" sldId="639"/>
            <ac:spMk id="11" creationId="{71B2258F-86CA-4D4D-8270-BC05FCDEBFB3}"/>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6" creationId="{27BDFED6-6E33-4606-AFE2-886ADB1C018E}"/>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8" creationId="{890DEF05-784E-4B61-89E4-04C4ECF4E5A0}"/>
          </ac:spMkLst>
        </pc:spChg>
        <pc:spChg chg="add del">
          <ac:chgData name="Caldarelli, Leslie" userId="S::lcaldarelli_luriechildrens.org#ext#@nuwildcat.onmicrosoft.com::cd79b54d-c14e-4199-a04a-39c6f592e710" providerId="AD" clId="Web-{3A3E4FEE-6F9B-7EC3-B167-3C31BBE96824}" dt="2023-10-31T16:45:07.967" v="544"/>
          <ac:spMkLst>
            <pc:docMk/>
            <pc:sldMk cId="3557549611" sldId="639"/>
            <ac:spMk id="25" creationId="{37C89E4B-3C9F-44B9-8B86-D9E3D112D8EC}"/>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1" creationId="{08C9B587-E65E-4B52-B37C-ABEBB6E87928}"/>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2" creationId="{0671A8AE-40A1-4631-A6B8-581AFF065482}"/>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3" creationId="{AB58EF07-17C2-48CF-ABB0-EEF1F17CB8F0}"/>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4" creationId="{AF2F604E-43BE-4DC3-B983-E071523364F8}"/>
          </ac:spMkLst>
        </pc:spChg>
        <pc:spChg chg="add">
          <ac:chgData name="Caldarelli, Leslie" userId="S::lcaldarelli_luriechildrens.org#ext#@nuwildcat.onmicrosoft.com::cd79b54d-c14e-4199-a04a-39c6f592e710" providerId="AD" clId="Web-{3A3E4FEE-6F9B-7EC3-B167-3C31BBE96824}" dt="2023-10-31T16:45:23.561" v="547"/>
          <ac:spMkLst>
            <pc:docMk/>
            <pc:sldMk cId="3557549611" sldId="639"/>
            <ac:spMk id="36" creationId="{71B2258F-86CA-4D4D-8270-BC05FCDEBFB3}"/>
          </ac:spMkLst>
        </pc:spChg>
        <pc:picChg chg="add mod ord">
          <ac:chgData name="Caldarelli, Leslie" userId="S::lcaldarelli_luriechildrens.org#ext#@nuwildcat.onmicrosoft.com::cd79b54d-c14e-4199-a04a-39c6f592e710" providerId="AD" clId="Web-{3A3E4FEE-6F9B-7EC3-B167-3C31BBE96824}" dt="2023-10-31T16:45:23.561" v="547"/>
          <ac:picMkLst>
            <pc:docMk/>
            <pc:sldMk cId="3557549611" sldId="639"/>
            <ac:picMk id="3" creationId="{DAFBE606-7FC7-49C4-35AD-E7F8C66460CB}"/>
          </ac:picMkLst>
        </pc:picChg>
        <pc:picChg chg="del mod">
          <ac:chgData name="Caldarelli, Leslie" userId="S::lcaldarelli_luriechildrens.org#ext#@nuwildcat.onmicrosoft.com::cd79b54d-c14e-4199-a04a-39c6f592e710" providerId="AD" clId="Web-{3A3E4FEE-6F9B-7EC3-B167-3C31BBE96824}" dt="2023-10-31T16:44:58.154" v="542"/>
          <ac:picMkLst>
            <pc:docMk/>
            <pc:sldMk cId="3557549611" sldId="639"/>
            <ac:picMk id="7" creationId="{6B05B810-C788-B059-81CD-37A75C30A63A}"/>
          </ac:picMkLst>
        </pc:picChg>
        <pc:cxnChg chg="add del">
          <ac:chgData name="Caldarelli, Leslie" userId="S::lcaldarelli_luriechildrens.org#ext#@nuwildcat.onmicrosoft.com::cd79b54d-c14e-4199-a04a-39c6f592e710" providerId="AD" clId="Web-{3A3E4FEE-6F9B-7EC3-B167-3C31BBE96824}" dt="2023-10-31T16:45:23.561" v="547"/>
          <ac:cxnSpMkLst>
            <pc:docMk/>
            <pc:sldMk cId="3557549611" sldId="639"/>
            <ac:cxnSpMk id="20" creationId="{C41BAEC7-F7B0-4224-8B18-8F74B7D87F0B}"/>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7" creationId="{AA2EAA10-076F-46BD-8F0F-B9A2FB77A85C}"/>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9" creationId="{D891E407-403B-4764-86C9-33A56D3BCAA3}"/>
          </ac:cxnSpMkLst>
        </pc:cxnChg>
      </pc:sldChg>
      <pc:sldChg chg="addSp modSp modNotes">
        <pc:chgData name="Caldarelli, Leslie" userId="S::lcaldarelli_luriechildrens.org#ext#@nuwildcat.onmicrosoft.com::cd79b54d-c14e-4199-a04a-39c6f592e710" providerId="AD" clId="Web-{3A3E4FEE-6F9B-7EC3-B167-3C31BBE96824}" dt="2023-10-31T15:52:03.118" v="208"/>
        <pc:sldMkLst>
          <pc:docMk/>
          <pc:sldMk cId="113281680" sldId="642"/>
        </pc:sldMkLst>
        <pc:spChg chg="mod">
          <ac:chgData name="Caldarelli, Leslie" userId="S::lcaldarelli_luriechildrens.org#ext#@nuwildcat.onmicrosoft.com::cd79b54d-c14e-4199-a04a-39c6f592e710" providerId="AD" clId="Web-{3A3E4FEE-6F9B-7EC3-B167-3C31BBE96824}" dt="2023-10-31T15:50:18.864" v="194" actId="1076"/>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3A3E4FEE-6F9B-7EC3-B167-3C31BBE96824}" dt="2023-10-31T15:51:17.319" v="207" actId="20577"/>
          <ac:spMkLst>
            <pc:docMk/>
            <pc:sldMk cId="113281680" sldId="642"/>
            <ac:spMk id="3" creationId="{9038DB7D-70BC-F3BC-5E8D-8CFC7F509BED}"/>
          </ac:spMkLst>
        </pc:spChg>
        <pc:spChg chg="add mod">
          <ac:chgData name="Caldarelli, Leslie" userId="S::lcaldarelli_luriechildrens.org#ext#@nuwildcat.onmicrosoft.com::cd79b54d-c14e-4199-a04a-39c6f592e710" providerId="AD" clId="Web-{3A3E4FEE-6F9B-7EC3-B167-3C31BBE96824}" dt="2023-10-31T15:50:04.085" v="191" actId="1076"/>
          <ac:spMkLst>
            <pc:docMk/>
            <pc:sldMk cId="113281680" sldId="642"/>
            <ac:spMk id="6" creationId="{EB7BD3D8-0E72-993A-2F4C-9CE922B7CC0B}"/>
          </ac:spMkLst>
        </pc:spChg>
        <pc:spChg chg="add mod">
          <ac:chgData name="Caldarelli, Leslie" userId="S::lcaldarelli_luriechildrens.org#ext#@nuwildcat.onmicrosoft.com::cd79b54d-c14e-4199-a04a-39c6f592e710" providerId="AD" clId="Web-{3A3E4FEE-6F9B-7EC3-B167-3C31BBE96824}" dt="2023-10-31T15:50:08.410" v="192" actId="1076"/>
          <ac:spMkLst>
            <pc:docMk/>
            <pc:sldMk cId="113281680" sldId="642"/>
            <ac:spMk id="8" creationId="{9CAE83B1-576A-4BD3-4D30-DC90CF84A4CA}"/>
          </ac:spMkLst>
        </pc:spChg>
      </pc:sldChg>
      <pc:sldChg chg="modSp">
        <pc:chgData name="Caldarelli, Leslie" userId="S::lcaldarelli_luriechildrens.org#ext#@nuwildcat.onmicrosoft.com::cd79b54d-c14e-4199-a04a-39c6f592e710" providerId="AD" clId="Web-{3A3E4FEE-6F9B-7EC3-B167-3C31BBE96824}" dt="2023-10-31T16:37:26.732" v="495" actId="1076"/>
        <pc:sldMkLst>
          <pc:docMk/>
          <pc:sldMk cId="2443892533" sldId="643"/>
        </pc:sldMkLst>
        <pc:spChg chg="mod">
          <ac:chgData name="Caldarelli, Leslie" userId="S::lcaldarelli_luriechildrens.org#ext#@nuwildcat.onmicrosoft.com::cd79b54d-c14e-4199-a04a-39c6f592e710" providerId="AD" clId="Web-{3A3E4FEE-6F9B-7EC3-B167-3C31BBE96824}" dt="2023-10-31T16:37:07.794" v="491"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3A3E4FEE-6F9B-7EC3-B167-3C31BBE96824}" dt="2023-10-31T16:37:24.153" v="494" actId="20577"/>
          <ac:spMkLst>
            <pc:docMk/>
            <pc:sldMk cId="2443892533" sldId="643"/>
            <ac:spMk id="3" creationId="{E7ECD19B-85BC-6652-2856-676802964CFA}"/>
          </ac:spMkLst>
        </pc:spChg>
        <pc:picChg chg="mod">
          <ac:chgData name="Caldarelli, Leslie" userId="S::lcaldarelli_luriechildrens.org#ext#@nuwildcat.onmicrosoft.com::cd79b54d-c14e-4199-a04a-39c6f592e710" providerId="AD" clId="Web-{3A3E4FEE-6F9B-7EC3-B167-3C31BBE96824}" dt="2023-10-31T16:37:26.732" v="495" actId="1076"/>
          <ac:picMkLst>
            <pc:docMk/>
            <pc:sldMk cId="2443892533" sldId="643"/>
            <ac:picMk id="7" creationId="{8561AC10-C045-61C5-C572-29E58C8EEF9B}"/>
          </ac:picMkLst>
        </pc:picChg>
      </pc:sldChg>
      <pc:sldChg chg="modSp modNotes">
        <pc:chgData name="Caldarelli, Leslie" userId="S::lcaldarelli_luriechildrens.org#ext#@nuwildcat.onmicrosoft.com::cd79b54d-c14e-4199-a04a-39c6f592e710" providerId="AD" clId="Web-{3A3E4FEE-6F9B-7EC3-B167-3C31BBE96824}" dt="2023-10-31T16:42:54.264" v="528" actId="20577"/>
        <pc:sldMkLst>
          <pc:docMk/>
          <pc:sldMk cId="226321953" sldId="646"/>
        </pc:sldMkLst>
        <pc:spChg chg="mod">
          <ac:chgData name="Caldarelli, Leslie" userId="S::lcaldarelli_luriechildrens.org#ext#@nuwildcat.onmicrosoft.com::cd79b54d-c14e-4199-a04a-39c6f592e710" providerId="AD" clId="Web-{3A3E4FEE-6F9B-7EC3-B167-3C31BBE96824}" dt="2023-10-31T16:42:54.264" v="528" actId="20577"/>
          <ac:spMkLst>
            <pc:docMk/>
            <pc:sldMk cId="226321953" sldId="646"/>
            <ac:spMk id="2" creationId="{966FAC69-62AA-D40E-C4BD-DAD5BF599C69}"/>
          </ac:spMkLst>
        </pc:spChg>
      </pc:sldChg>
      <pc:sldChg chg="modSp modNotes">
        <pc:chgData name="Caldarelli, Leslie" userId="S::lcaldarelli_luriechildrens.org#ext#@nuwildcat.onmicrosoft.com::cd79b54d-c14e-4199-a04a-39c6f592e710" providerId="AD" clId="Web-{3A3E4FEE-6F9B-7EC3-B167-3C31BBE96824}" dt="2023-10-31T16:41:12.349" v="526"/>
        <pc:sldMkLst>
          <pc:docMk/>
          <pc:sldMk cId="1661337475" sldId="647"/>
        </pc:sldMkLst>
        <pc:spChg chg="mod">
          <ac:chgData name="Caldarelli, Leslie" userId="S::lcaldarelli_luriechildrens.org#ext#@nuwildcat.onmicrosoft.com::cd79b54d-c14e-4199-a04a-39c6f592e710" providerId="AD" clId="Web-{3A3E4FEE-6F9B-7EC3-B167-3C31BBE96824}" dt="2023-10-31T16:39:46.581" v="502" actId="1076"/>
          <ac:spMkLst>
            <pc:docMk/>
            <pc:sldMk cId="1661337475" sldId="647"/>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36.252" v="500" actId="1076"/>
          <ac:spMkLst>
            <pc:docMk/>
            <pc:sldMk cId="1661337475" sldId="647"/>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39:31.674" v="499" actId="1076"/>
          <ac:spMkLst>
            <pc:docMk/>
            <pc:sldMk cId="1661337475" sldId="647"/>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9:41.799" v="501" actId="1076"/>
          <ac:grpSpMkLst>
            <pc:docMk/>
            <pc:sldMk cId="1661337475" sldId="647"/>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39:52.753" v="503" actId="1076"/>
        <pc:sldMkLst>
          <pc:docMk/>
          <pc:sldMk cId="641611787" sldId="648"/>
        </pc:sldMkLst>
        <pc:spChg chg="mod">
          <ac:chgData name="Caldarelli, Leslie" userId="S::lcaldarelli_luriechildrens.org#ext#@nuwildcat.onmicrosoft.com::cd79b54d-c14e-4199-a04a-39c6f592e710" providerId="AD" clId="Web-{3A3E4FEE-6F9B-7EC3-B167-3C31BBE96824}" dt="2023-10-31T16:39:52.753" v="503" actId="1076"/>
          <ac:spMkLst>
            <pc:docMk/>
            <pc:sldMk cId="641611787" sldId="648"/>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19.611" v="497" actId="1076"/>
          <ac:spMkLst>
            <pc:docMk/>
            <pc:sldMk cId="641611787" sldId="648"/>
            <ac:spMk id="53" creationId="{00000000-0000-0000-0000-000000000000}"/>
          </ac:spMkLst>
        </pc:spChg>
      </pc:sldChg>
    </pc:docChg>
  </pc:docChgLst>
  <pc:docChgLst>
    <pc:chgData name="Isabel Rose Gippo" userId="S::irg9370@ads.northwestern.edu::b10bfe7e-55b9-46dd-9add-2eb52cb66d3b" providerId="AD" clId="Web-{6F4BA6F9-4A5A-3B13-85C3-6DB0B61CBC00}"/>
    <pc:docChg chg="addSld delSld modSld sldOrd">
      <pc:chgData name="Isabel Rose Gippo" userId="S::irg9370@ads.northwestern.edu::b10bfe7e-55b9-46dd-9add-2eb52cb66d3b" providerId="AD" clId="Web-{6F4BA6F9-4A5A-3B13-85C3-6DB0B61CBC00}" dt="2023-10-24T15:58:08.213" v="1715" actId="1076"/>
      <pc:docMkLst>
        <pc:docMk/>
      </pc:docMkLst>
      <pc:sldChg chg="addSp delSp modSp add del">
        <pc:chgData name="Isabel Rose Gippo" userId="S::irg9370@ads.northwestern.edu::b10bfe7e-55b9-46dd-9add-2eb52cb66d3b" providerId="AD" clId="Web-{6F4BA6F9-4A5A-3B13-85C3-6DB0B61CBC00}" dt="2023-10-24T15:58:08.213" v="1715" actId="1076"/>
        <pc:sldMkLst>
          <pc:docMk/>
          <pc:sldMk cId="3090389772" sldId="568"/>
        </pc:sldMkLst>
        <pc:spChg chg="mod">
          <ac:chgData name="Isabel Rose Gippo" userId="S::irg9370@ads.northwestern.edu::b10bfe7e-55b9-46dd-9add-2eb52cb66d3b" providerId="AD" clId="Web-{6F4BA6F9-4A5A-3B13-85C3-6DB0B61CBC00}" dt="2023-10-24T15:58:08.213" v="1715" actId="1076"/>
          <ac:spMkLst>
            <pc:docMk/>
            <pc:sldMk cId="3090389772" sldId="568"/>
            <ac:spMk id="11" creationId="{13896302-555C-1A80-C459-6D1ACE663F72}"/>
          </ac:spMkLst>
        </pc:spChg>
        <pc:spChg chg="mod">
          <ac:chgData name="Isabel Rose Gippo" userId="S::irg9370@ads.northwestern.edu::b10bfe7e-55b9-46dd-9add-2eb52cb66d3b" providerId="AD" clId="Web-{6F4BA6F9-4A5A-3B13-85C3-6DB0B61CBC00}" dt="2023-10-24T15:57:58.447" v="1714"/>
          <ac:spMkLst>
            <pc:docMk/>
            <pc:sldMk cId="3090389772" sldId="568"/>
            <ac:spMk id="15" creationId="{CA00A902-9377-5B4A-9651-129D059BB685}"/>
          </ac:spMkLst>
        </pc:spChg>
        <pc:spChg chg="mod">
          <ac:chgData name="Isabel Rose Gippo" userId="S::irg9370@ads.northwestern.edu::b10bfe7e-55b9-46dd-9add-2eb52cb66d3b" providerId="AD" clId="Web-{6F4BA6F9-4A5A-3B13-85C3-6DB0B61CBC00}" dt="2023-10-24T15:56:10.319" v="1694" actId="1076"/>
          <ac:spMkLst>
            <pc:docMk/>
            <pc:sldMk cId="3090389772" sldId="568"/>
            <ac:spMk id="19" creationId="{F49C1F1A-614A-5749-1A3F-78980B65ADBC}"/>
          </ac:spMkLst>
        </pc:spChg>
        <pc:graphicFrameChg chg="add del mod modGraphic">
          <ac:chgData name="Isabel Rose Gippo" userId="S::irg9370@ads.northwestern.edu::b10bfe7e-55b9-46dd-9add-2eb52cb66d3b" providerId="AD" clId="Web-{6F4BA6F9-4A5A-3B13-85C3-6DB0B61CBC00}" dt="2023-10-24T14:31:59.177" v="62"/>
          <ac:graphicFrameMkLst>
            <pc:docMk/>
            <pc:sldMk cId="3090389772" sldId="568"/>
            <ac:graphicFrameMk id="4" creationId="{6A2907FB-67FD-24B1-D91A-81A1E0F2FE3E}"/>
          </ac:graphicFrameMkLst>
        </pc:graphicFrameChg>
        <pc:picChg chg="add del mod">
          <ac:chgData name="Isabel Rose Gippo" userId="S::irg9370@ads.northwestern.edu::b10bfe7e-55b9-46dd-9add-2eb52cb66d3b" providerId="AD" clId="Web-{6F4BA6F9-4A5A-3B13-85C3-6DB0B61CBC00}" dt="2023-10-24T14:35:05.776" v="115"/>
          <ac:picMkLst>
            <pc:docMk/>
            <pc:sldMk cId="3090389772" sldId="568"/>
            <ac:picMk id="2" creationId="{22E3189E-1004-3B9A-952C-B9908ABEC812}"/>
          </ac:picMkLst>
        </pc:picChg>
        <pc:picChg chg="add mod">
          <ac:chgData name="Isabel Rose Gippo" userId="S::irg9370@ads.northwestern.edu::b10bfe7e-55b9-46dd-9add-2eb52cb66d3b" providerId="AD" clId="Web-{6F4BA6F9-4A5A-3B13-85C3-6DB0B61CBC00}" dt="2023-10-24T14:35:18.041" v="119" actId="14100"/>
          <ac:picMkLst>
            <pc:docMk/>
            <pc:sldMk cId="3090389772" sldId="568"/>
            <ac:picMk id="5" creationId="{65C4865E-19D9-EE97-B5E3-CD1D974570D2}"/>
          </ac:picMkLst>
        </pc:picChg>
        <pc:picChg chg="mod">
          <ac:chgData name="Isabel Rose Gippo" userId="S::irg9370@ads.northwestern.edu::b10bfe7e-55b9-46dd-9add-2eb52cb66d3b" providerId="AD" clId="Web-{6F4BA6F9-4A5A-3B13-85C3-6DB0B61CBC00}" dt="2023-10-24T15:56:31.632" v="1698" actId="1076"/>
          <ac:picMkLst>
            <pc:docMk/>
            <pc:sldMk cId="3090389772" sldId="568"/>
            <ac:picMk id="14" creationId="{557B5DD0-CAF3-34F4-E916-20658CE8833E}"/>
          </ac:picMkLst>
        </pc:picChg>
        <pc:picChg chg="del mod">
          <ac:chgData name="Isabel Rose Gippo" userId="S::irg9370@ads.northwestern.edu::b10bfe7e-55b9-46dd-9add-2eb52cb66d3b" providerId="AD" clId="Web-{6F4BA6F9-4A5A-3B13-85C3-6DB0B61CBC00}" dt="2023-10-24T14:32:31.866" v="75"/>
          <ac:picMkLst>
            <pc:docMk/>
            <pc:sldMk cId="3090389772" sldId="568"/>
            <ac:picMk id="21" creationId="{B3F7D84D-D47C-2EE1-3151-7E4DB552539E}"/>
          </ac:picMkLst>
        </pc:picChg>
        <pc:cxnChg chg="add mod">
          <ac:chgData name="Isabel Rose Gippo" userId="S::irg9370@ads.northwestern.edu::b10bfe7e-55b9-46dd-9add-2eb52cb66d3b" providerId="AD" clId="Web-{6F4BA6F9-4A5A-3B13-85C3-6DB0B61CBC00}" dt="2023-10-24T15:57:36.212" v="1709" actId="1076"/>
          <ac:cxnSpMkLst>
            <pc:docMk/>
            <pc:sldMk cId="3090389772" sldId="568"/>
            <ac:cxnSpMk id="6" creationId="{800C1A4B-558C-C3C1-0A73-4639336A0837}"/>
          </ac:cxnSpMkLst>
        </pc:cxnChg>
      </pc:sldChg>
      <pc:sldChg chg="addSp delSp modSp add del">
        <pc:chgData name="Isabel Rose Gippo" userId="S::irg9370@ads.northwestern.edu::b10bfe7e-55b9-46dd-9add-2eb52cb66d3b" providerId="AD" clId="Web-{6F4BA6F9-4A5A-3B13-85C3-6DB0B61CBC00}" dt="2023-10-24T14:58:27.576" v="440" actId="1076"/>
        <pc:sldMkLst>
          <pc:docMk/>
          <pc:sldMk cId="1088329954" sldId="569"/>
        </pc:sldMkLst>
        <pc:spChg chg="add mod">
          <ac:chgData name="Isabel Rose Gippo" userId="S::irg9370@ads.northwestern.edu::b10bfe7e-55b9-46dd-9add-2eb52cb66d3b" providerId="AD" clId="Web-{6F4BA6F9-4A5A-3B13-85C3-6DB0B61CBC00}" dt="2023-10-24T14:39:08.110" v="142"/>
          <ac:spMkLst>
            <pc:docMk/>
            <pc:sldMk cId="1088329954" sldId="569"/>
            <ac:spMk id="6" creationId="{001FEC55-3964-F5A7-7AE0-6E293AC7CBD9}"/>
          </ac:spMkLst>
        </pc:spChg>
        <pc:spChg chg="add mod">
          <ac:chgData name="Isabel Rose Gippo" userId="S::irg9370@ads.northwestern.edu::b10bfe7e-55b9-46dd-9add-2eb52cb66d3b" providerId="AD" clId="Web-{6F4BA6F9-4A5A-3B13-85C3-6DB0B61CBC00}" dt="2023-10-24T14:51:03.987" v="376" actId="1076"/>
          <ac:spMkLst>
            <pc:docMk/>
            <pc:sldMk cId="1088329954" sldId="569"/>
            <ac:spMk id="7" creationId="{EAD90045-A731-42F5-ED3E-D5AE61B97B24}"/>
          </ac:spMkLst>
        </pc:spChg>
        <pc:spChg chg="mod">
          <ac:chgData name="Isabel Rose Gippo" userId="S::irg9370@ads.northwestern.edu::b10bfe7e-55b9-46dd-9add-2eb52cb66d3b" providerId="AD" clId="Web-{6F4BA6F9-4A5A-3B13-85C3-6DB0B61CBC00}" dt="2023-10-24T14:39:06.766" v="139" actId="20577"/>
          <ac:spMkLst>
            <pc:docMk/>
            <pc:sldMk cId="1088329954" sldId="569"/>
            <ac:spMk id="19" creationId="{F49C1F1A-614A-5749-1A3F-78980B65ADBC}"/>
          </ac:spMkLst>
        </pc:spChg>
        <pc:spChg chg="mod">
          <ac:chgData name="Isabel Rose Gippo" userId="S::irg9370@ads.northwestern.edu::b10bfe7e-55b9-46dd-9add-2eb52cb66d3b" providerId="AD" clId="Web-{6F4BA6F9-4A5A-3B13-85C3-6DB0B61CBC00}" dt="2023-10-24T14:58:27.576" v="440" actId="1076"/>
          <ac:spMkLst>
            <pc:docMk/>
            <pc:sldMk cId="1088329954" sldId="569"/>
            <ac:spMk id="16386" creationId="{00000000-0000-0000-0000-000000000000}"/>
          </ac:spMkLst>
        </pc:spChg>
        <pc:graphicFrameChg chg="add del mod modGraphic">
          <ac:chgData name="Isabel Rose Gippo" userId="S::irg9370@ads.northwestern.edu::b10bfe7e-55b9-46dd-9add-2eb52cb66d3b" providerId="AD" clId="Web-{6F4BA6F9-4A5A-3B13-85C3-6DB0B61CBC00}" dt="2023-10-24T14:40:40.096" v="166"/>
          <ac:graphicFrameMkLst>
            <pc:docMk/>
            <pc:sldMk cId="1088329954" sldId="569"/>
            <ac:graphicFrameMk id="5" creationId="{44D1F5E2-36F3-46C2-BDE5-F839C2396742}"/>
          </ac:graphicFrameMkLst>
        </pc:graphicFrameChg>
        <pc:picChg chg="del mod">
          <ac:chgData name="Isabel Rose Gippo" userId="S::irg9370@ads.northwestern.edu::b10bfe7e-55b9-46dd-9add-2eb52cb66d3b" providerId="AD" clId="Web-{6F4BA6F9-4A5A-3B13-85C3-6DB0B61CBC00}" dt="2023-10-24T14:38:43.484" v="137"/>
          <ac:picMkLst>
            <pc:docMk/>
            <pc:sldMk cId="1088329954" sldId="569"/>
            <ac:picMk id="2" creationId="{7088B35E-417D-2903-C144-75276D9E0FF3}"/>
          </ac:picMkLst>
        </pc:picChg>
        <pc:picChg chg="add mod modCrop">
          <ac:chgData name="Isabel Rose Gippo" userId="S::irg9370@ads.northwestern.edu::b10bfe7e-55b9-46dd-9add-2eb52cb66d3b" providerId="AD" clId="Web-{6F4BA6F9-4A5A-3B13-85C3-6DB0B61CBC00}" dt="2023-10-24T14:44:29.852" v="231" actId="1076"/>
          <ac:picMkLst>
            <pc:docMk/>
            <pc:sldMk cId="1088329954" sldId="569"/>
            <ac:picMk id="3" creationId="{787AF34B-E42D-4B43-CB21-2B40E3955DDD}"/>
          </ac:picMkLst>
        </pc:picChg>
      </pc:sldChg>
      <pc:sldChg chg="addSp delSp modSp">
        <pc:chgData name="Isabel Rose Gippo" userId="S::irg9370@ads.northwestern.edu::b10bfe7e-55b9-46dd-9add-2eb52cb66d3b" providerId="AD" clId="Web-{6F4BA6F9-4A5A-3B13-85C3-6DB0B61CBC00}" dt="2023-10-24T15:55:56.382" v="1691" actId="1076"/>
        <pc:sldMkLst>
          <pc:docMk/>
          <pc:sldMk cId="2849312483" sldId="570"/>
        </pc:sldMkLst>
        <pc:spChg chg="mod">
          <ac:chgData name="Isabel Rose Gippo" userId="S::irg9370@ads.northwestern.edu::b10bfe7e-55b9-46dd-9add-2eb52cb66d3b" providerId="AD" clId="Web-{6F4BA6F9-4A5A-3B13-85C3-6DB0B61CBC00}" dt="2023-10-24T15:55:56.382" v="1691" actId="1076"/>
          <ac:spMkLst>
            <pc:docMk/>
            <pc:sldMk cId="2849312483" sldId="570"/>
            <ac:spMk id="4" creationId="{EA09FBC4-EFF6-9AB4-25A1-D6ED252CED0D}"/>
          </ac:spMkLst>
        </pc:spChg>
        <pc:spChg chg="mod">
          <ac:chgData name="Isabel Rose Gippo" userId="S::irg9370@ads.northwestern.edu::b10bfe7e-55b9-46dd-9add-2eb52cb66d3b" providerId="AD" clId="Web-{6F4BA6F9-4A5A-3B13-85C3-6DB0B61CBC00}" dt="2023-10-24T14:46:10.308" v="247" actId="1076"/>
          <ac:spMkLst>
            <pc:docMk/>
            <pc:sldMk cId="2849312483" sldId="570"/>
            <ac:spMk id="5" creationId="{E069BE35-38BF-B866-0B62-A243ACB6F110}"/>
          </ac:spMkLst>
        </pc:spChg>
        <pc:spChg chg="mod">
          <ac:chgData name="Isabel Rose Gippo" userId="S::irg9370@ads.northwestern.edu::b10bfe7e-55b9-46dd-9add-2eb52cb66d3b" providerId="AD" clId="Web-{6F4BA6F9-4A5A-3B13-85C3-6DB0B61CBC00}" dt="2023-10-24T14:45:53.292" v="243" actId="1076"/>
          <ac:spMkLst>
            <pc:docMk/>
            <pc:sldMk cId="2849312483" sldId="570"/>
            <ac:spMk id="6" creationId="{137890F0-FB58-2F7F-C68D-9B504512854C}"/>
          </ac:spMkLst>
        </pc:spChg>
        <pc:spChg chg="mod">
          <ac:chgData name="Isabel Rose Gippo" userId="S::irg9370@ads.northwestern.edu::b10bfe7e-55b9-46dd-9add-2eb52cb66d3b" providerId="AD" clId="Web-{6F4BA6F9-4A5A-3B13-85C3-6DB0B61CBC00}" dt="2023-10-24T14:46:01.714" v="245" actId="1076"/>
          <ac:spMkLst>
            <pc:docMk/>
            <pc:sldMk cId="2849312483" sldId="570"/>
            <ac:spMk id="7" creationId="{1F35585C-3549-CE9C-A34A-3452229F6833}"/>
          </ac:spMkLst>
        </pc:spChg>
        <pc:spChg chg="mod">
          <ac:chgData name="Isabel Rose Gippo" userId="S::irg9370@ads.northwestern.edu::b10bfe7e-55b9-46dd-9add-2eb52cb66d3b" providerId="AD" clId="Web-{6F4BA6F9-4A5A-3B13-85C3-6DB0B61CBC00}" dt="2023-10-24T14:46:07.167" v="246" actId="1076"/>
          <ac:spMkLst>
            <pc:docMk/>
            <pc:sldMk cId="2849312483" sldId="570"/>
            <ac:spMk id="9" creationId="{9BD0DB87-BFB9-248F-9187-16322CEC9C89}"/>
          </ac:spMkLst>
        </pc:spChg>
        <pc:spChg chg="mod">
          <ac:chgData name="Isabel Rose Gippo" userId="S::irg9370@ads.northwestern.edu::b10bfe7e-55b9-46dd-9add-2eb52cb66d3b" providerId="AD" clId="Web-{6F4BA6F9-4A5A-3B13-85C3-6DB0B61CBC00}" dt="2023-10-24T14:46:13.480" v="248" actId="1076"/>
          <ac:spMkLst>
            <pc:docMk/>
            <pc:sldMk cId="2849312483" sldId="570"/>
            <ac:spMk id="10" creationId="{C8307CA0-040F-CDB1-5F4D-16A04C6E74DF}"/>
          </ac:spMkLst>
        </pc:spChg>
        <pc:spChg chg="mod">
          <ac:chgData name="Isabel Rose Gippo" userId="S::irg9370@ads.northwestern.edu::b10bfe7e-55b9-46dd-9add-2eb52cb66d3b" providerId="AD" clId="Web-{6F4BA6F9-4A5A-3B13-85C3-6DB0B61CBC00}" dt="2023-10-24T14:58:32.123" v="441" actId="1076"/>
          <ac:spMkLst>
            <pc:docMk/>
            <pc:sldMk cId="2849312483" sldId="570"/>
            <ac:spMk id="16386" creationId="{00000000-0000-0000-0000-000000000000}"/>
          </ac:spMkLst>
        </pc:spChg>
        <pc:picChg chg="add mod modCrop">
          <ac:chgData name="Isabel Rose Gippo" userId="S::irg9370@ads.northwestern.edu::b10bfe7e-55b9-46dd-9add-2eb52cb66d3b" providerId="AD" clId="Web-{6F4BA6F9-4A5A-3B13-85C3-6DB0B61CBC00}" dt="2023-10-24T14:26:44.169" v="9" actId="1076"/>
          <ac:picMkLst>
            <pc:docMk/>
            <pc:sldMk cId="2849312483" sldId="570"/>
            <ac:picMk id="2" creationId="{D549A1D4-41B1-1D6F-42CB-8A4CB202EBC2}"/>
          </ac:picMkLst>
        </pc:picChg>
        <pc:picChg chg="add mod">
          <ac:chgData name="Isabel Rose Gippo" userId="S::irg9370@ads.northwestern.edu::b10bfe7e-55b9-46dd-9add-2eb52cb66d3b" providerId="AD" clId="Web-{6F4BA6F9-4A5A-3B13-85C3-6DB0B61CBC00}" dt="2023-10-24T14:45:56.854" v="244" actId="1076"/>
          <ac:picMkLst>
            <pc:docMk/>
            <pc:sldMk cId="2849312483" sldId="570"/>
            <ac:picMk id="3" creationId="{4DA2BC9A-416B-F3D1-6F75-394A69766AB0}"/>
          </ac:picMkLst>
        </pc:picChg>
        <pc:picChg chg="del mod">
          <ac:chgData name="Isabel Rose Gippo" userId="S::irg9370@ads.northwestern.edu::b10bfe7e-55b9-46dd-9add-2eb52cb66d3b" providerId="AD" clId="Web-{6F4BA6F9-4A5A-3B13-85C3-6DB0B61CBC00}" dt="2023-10-24T14:45:45.604" v="241"/>
          <ac:picMkLst>
            <pc:docMk/>
            <pc:sldMk cId="2849312483" sldId="570"/>
            <ac:picMk id="8" creationId="{59E0F2EE-E480-541D-E8E7-5C865B35C88F}"/>
          </ac:picMkLst>
        </pc:picChg>
        <pc:picChg chg="del">
          <ac:chgData name="Isabel Rose Gippo" userId="S::irg9370@ads.northwestern.edu::b10bfe7e-55b9-46dd-9add-2eb52cb66d3b" providerId="AD" clId="Web-{6F4BA6F9-4A5A-3B13-85C3-6DB0B61CBC00}" dt="2023-10-24T14:26:18.934" v="4"/>
          <ac:picMkLst>
            <pc:docMk/>
            <pc:sldMk cId="2849312483" sldId="570"/>
            <ac:picMk id="13" creationId="{03BF52CD-31EC-FC46-9A7F-3B257CCAC6A4}"/>
          </ac:picMkLst>
        </pc:picChg>
      </pc:sldChg>
      <pc:sldChg chg="addSp delSp modSp add ord replId">
        <pc:chgData name="Isabel Rose Gippo" userId="S::irg9370@ads.northwestern.edu::b10bfe7e-55b9-46dd-9add-2eb52cb66d3b" providerId="AD" clId="Web-{6F4BA6F9-4A5A-3B13-85C3-6DB0B61CBC00}" dt="2023-10-24T15:15:11.101" v="905" actId="1076"/>
        <pc:sldMkLst>
          <pc:docMk/>
          <pc:sldMk cId="1337825202" sldId="571"/>
        </pc:sldMkLst>
        <pc:spChg chg="add mod">
          <ac:chgData name="Isabel Rose Gippo" userId="S::irg9370@ads.northwestern.edu::b10bfe7e-55b9-46dd-9add-2eb52cb66d3b" providerId="AD" clId="Web-{6F4BA6F9-4A5A-3B13-85C3-6DB0B61CBC00}" dt="2023-10-24T14:58:09.169" v="438" actId="1076"/>
          <ac:spMkLst>
            <pc:docMk/>
            <pc:sldMk cId="1337825202" sldId="571"/>
            <ac:spMk id="4" creationId="{16B24218-AF37-F6C6-7684-E7E3C16AFAF4}"/>
          </ac:spMkLst>
        </pc:spChg>
        <pc:spChg chg="add mod">
          <ac:chgData name="Isabel Rose Gippo" userId="S::irg9370@ads.northwestern.edu::b10bfe7e-55b9-46dd-9add-2eb52cb66d3b" providerId="AD" clId="Web-{6F4BA6F9-4A5A-3B13-85C3-6DB0B61CBC00}" dt="2023-10-24T15:10:52.157" v="734" actId="1076"/>
          <ac:spMkLst>
            <pc:docMk/>
            <pc:sldMk cId="1337825202" sldId="571"/>
            <ac:spMk id="5" creationId="{45477BD9-E066-785E-8D58-760863918D07}"/>
          </ac:spMkLst>
        </pc:spChg>
        <pc:spChg chg="add mod ord">
          <ac:chgData name="Isabel Rose Gippo" userId="S::irg9370@ads.northwestern.edu::b10bfe7e-55b9-46dd-9add-2eb52cb66d3b" providerId="AD" clId="Web-{6F4BA6F9-4A5A-3B13-85C3-6DB0B61CBC00}" dt="2023-10-24T15:12:27.613" v="746" actId="14100"/>
          <ac:spMkLst>
            <pc:docMk/>
            <pc:sldMk cId="1337825202" sldId="571"/>
            <ac:spMk id="7" creationId="{70F70170-82A9-3F58-8A7E-1C8F0DE96C28}"/>
          </ac:spMkLst>
        </pc:spChg>
        <pc:spChg chg="add mod">
          <ac:chgData name="Isabel Rose Gippo" userId="S::irg9370@ads.northwestern.edu::b10bfe7e-55b9-46dd-9add-2eb52cb66d3b" providerId="AD" clId="Web-{6F4BA6F9-4A5A-3B13-85C3-6DB0B61CBC00}" dt="2023-10-24T15:11:07.955" v="736" actId="1076"/>
          <ac:spMkLst>
            <pc:docMk/>
            <pc:sldMk cId="1337825202" sldId="571"/>
            <ac:spMk id="9" creationId="{16E68D9A-C1B6-0901-3EFC-15C208817766}"/>
          </ac:spMkLst>
        </pc:spChg>
        <pc:spChg chg="add mod">
          <ac:chgData name="Isabel Rose Gippo" userId="S::irg9370@ads.northwestern.edu::b10bfe7e-55b9-46dd-9add-2eb52cb66d3b" providerId="AD" clId="Web-{6F4BA6F9-4A5A-3B13-85C3-6DB0B61CBC00}" dt="2023-10-24T15:11:14.377" v="737" actId="1076"/>
          <ac:spMkLst>
            <pc:docMk/>
            <pc:sldMk cId="1337825202" sldId="571"/>
            <ac:spMk id="10" creationId="{25AE8A2F-EC9C-3068-BE56-5960B5C6DCA1}"/>
          </ac:spMkLst>
        </pc:spChg>
        <pc:spChg chg="add mod">
          <ac:chgData name="Isabel Rose Gippo" userId="S::irg9370@ads.northwestern.edu::b10bfe7e-55b9-46dd-9add-2eb52cb66d3b" providerId="AD" clId="Web-{6F4BA6F9-4A5A-3B13-85C3-6DB0B61CBC00}" dt="2023-10-24T15:11:21.221" v="738" actId="1076"/>
          <ac:spMkLst>
            <pc:docMk/>
            <pc:sldMk cId="1337825202" sldId="571"/>
            <ac:spMk id="11" creationId="{F406DC6F-8C94-AF9D-26F8-B81A3F9E5004}"/>
          </ac:spMkLst>
        </pc:spChg>
        <pc:spChg chg="add mod">
          <ac:chgData name="Isabel Rose Gippo" userId="S::irg9370@ads.northwestern.edu::b10bfe7e-55b9-46dd-9add-2eb52cb66d3b" providerId="AD" clId="Web-{6F4BA6F9-4A5A-3B13-85C3-6DB0B61CBC00}" dt="2023-10-24T15:11:37.909" v="741" actId="1076"/>
          <ac:spMkLst>
            <pc:docMk/>
            <pc:sldMk cId="1337825202" sldId="571"/>
            <ac:spMk id="12" creationId="{913F4C80-BE39-2B7C-C4A4-98B839B10F3C}"/>
          </ac:spMkLst>
        </pc:spChg>
        <pc:spChg chg="add mod">
          <ac:chgData name="Isabel Rose Gippo" userId="S::irg9370@ads.northwestern.edu::b10bfe7e-55b9-46dd-9add-2eb52cb66d3b" providerId="AD" clId="Web-{6F4BA6F9-4A5A-3B13-85C3-6DB0B61CBC00}" dt="2023-10-24T15:11:32.768" v="740" actId="1076"/>
          <ac:spMkLst>
            <pc:docMk/>
            <pc:sldMk cId="1337825202" sldId="571"/>
            <ac:spMk id="13" creationId="{CA29CC08-AC6C-D03F-4212-3671B5C0255E}"/>
          </ac:spMkLst>
        </pc:spChg>
        <pc:spChg chg="add mod">
          <ac:chgData name="Isabel Rose Gippo" userId="S::irg9370@ads.northwestern.edu::b10bfe7e-55b9-46dd-9add-2eb52cb66d3b" providerId="AD" clId="Web-{6F4BA6F9-4A5A-3B13-85C3-6DB0B61CBC00}" dt="2023-10-24T15:11:44.581" v="742" actId="1076"/>
          <ac:spMkLst>
            <pc:docMk/>
            <pc:sldMk cId="1337825202" sldId="571"/>
            <ac:spMk id="14" creationId="{56D7802A-D9E3-5022-FEB1-A5E340BE8541}"/>
          </ac:spMkLst>
        </pc:spChg>
        <pc:spChg chg="add mod">
          <ac:chgData name="Isabel Rose Gippo" userId="S::irg9370@ads.northwestern.edu::b10bfe7e-55b9-46dd-9add-2eb52cb66d3b" providerId="AD" clId="Web-{6F4BA6F9-4A5A-3B13-85C3-6DB0B61CBC00}" dt="2023-10-24T15:11:52.956" v="743" actId="1076"/>
          <ac:spMkLst>
            <pc:docMk/>
            <pc:sldMk cId="1337825202" sldId="571"/>
            <ac:spMk id="15" creationId="{33C1CB15-DF62-AAD5-40DF-C348B0B14C79}"/>
          </ac:spMkLst>
        </pc:spChg>
        <pc:spChg chg="add">
          <ac:chgData name="Isabel Rose Gippo" userId="S::irg9370@ads.northwestern.edu::b10bfe7e-55b9-46dd-9add-2eb52cb66d3b" providerId="AD" clId="Web-{6F4BA6F9-4A5A-3B13-85C3-6DB0B61CBC00}" dt="2023-10-24T15:12:40.520" v="747"/>
          <ac:spMkLst>
            <pc:docMk/>
            <pc:sldMk cId="1337825202" sldId="571"/>
            <ac:spMk id="16" creationId="{F313A7DF-7EB6-E236-0B93-A3D3C3E562BC}"/>
          </ac:spMkLst>
        </pc:spChg>
        <pc:spChg chg="add mod">
          <ac:chgData name="Isabel Rose Gippo" userId="S::irg9370@ads.northwestern.edu::b10bfe7e-55b9-46dd-9add-2eb52cb66d3b" providerId="AD" clId="Web-{6F4BA6F9-4A5A-3B13-85C3-6DB0B61CBC00}" dt="2023-10-24T15:15:11.101" v="905" actId="1076"/>
          <ac:spMkLst>
            <pc:docMk/>
            <pc:sldMk cId="1337825202" sldId="571"/>
            <ac:spMk id="17" creationId="{F322531C-B747-9294-091C-9F40532B993A}"/>
          </ac:spMkLst>
        </pc:spChg>
        <pc:spChg chg="mod">
          <ac:chgData name="Isabel Rose Gippo" userId="S::irg9370@ads.northwestern.edu::b10bfe7e-55b9-46dd-9add-2eb52cb66d3b" providerId="AD" clId="Web-{6F4BA6F9-4A5A-3B13-85C3-6DB0B61CBC00}" dt="2023-10-24T14:57:39.325" v="425" actId="1076"/>
          <ac:spMkLst>
            <pc:docMk/>
            <pc:sldMk cId="1337825202" sldId="571"/>
            <ac:spMk id="19" creationId="{F49C1F1A-614A-5749-1A3F-78980B65ADBC}"/>
          </ac:spMkLst>
        </pc:spChg>
        <pc:spChg chg="mod">
          <ac:chgData name="Isabel Rose Gippo" userId="S::irg9370@ads.northwestern.edu::b10bfe7e-55b9-46dd-9add-2eb52cb66d3b" providerId="AD" clId="Web-{6F4BA6F9-4A5A-3B13-85C3-6DB0B61CBC00}" dt="2023-10-24T14:58:21.529" v="439" actId="1076"/>
          <ac:spMkLst>
            <pc:docMk/>
            <pc:sldMk cId="1337825202" sldId="571"/>
            <ac:spMk id="16386" creationId="{00000000-0000-0000-0000-000000000000}"/>
          </ac:spMkLst>
        </pc:spChg>
        <pc:picChg chg="del">
          <ac:chgData name="Isabel Rose Gippo" userId="S::irg9370@ads.northwestern.edu::b10bfe7e-55b9-46dd-9add-2eb52cb66d3b" providerId="AD" clId="Web-{6F4BA6F9-4A5A-3B13-85C3-6DB0B61CBC00}" dt="2023-10-24T14:28:03.140" v="46"/>
          <ac:picMkLst>
            <pc:docMk/>
            <pc:sldMk cId="1337825202" sldId="571"/>
            <ac:picMk id="2" creationId="{7088B35E-417D-2903-C144-75276D9E0FF3}"/>
          </ac:picMkLst>
        </pc:picChg>
        <pc:picChg chg="add mod">
          <ac:chgData name="Isabel Rose Gippo" userId="S::irg9370@ads.northwestern.edu::b10bfe7e-55b9-46dd-9add-2eb52cb66d3b" providerId="AD" clId="Web-{6F4BA6F9-4A5A-3B13-85C3-6DB0B61CBC00}" dt="2023-10-24T14:57:54.528" v="431" actId="14100"/>
          <ac:picMkLst>
            <pc:docMk/>
            <pc:sldMk cId="1337825202" sldId="571"/>
            <ac:picMk id="3" creationId="{295316AB-273C-55D8-0FED-C92B67DB5F3C}"/>
          </ac:picMkLst>
        </pc:picChg>
        <pc:picChg chg="add mod">
          <ac:chgData name="Isabel Rose Gippo" userId="S::irg9370@ads.northwestern.edu::b10bfe7e-55b9-46dd-9add-2eb52cb66d3b" providerId="AD" clId="Web-{6F4BA6F9-4A5A-3B13-85C3-6DB0B61CBC00}" dt="2023-10-24T15:11:02.736" v="735" actId="1076"/>
          <ac:picMkLst>
            <pc:docMk/>
            <pc:sldMk cId="1337825202" sldId="571"/>
            <ac:picMk id="6" creationId="{D2D0700A-FC9B-84DC-6A25-6288ECF7D29A}"/>
          </ac:picMkLst>
        </pc:picChg>
      </pc:sldChg>
      <pc:sldChg chg="modSp add del replId">
        <pc:chgData name="Isabel Rose Gippo" userId="S::irg9370@ads.northwestern.edu::b10bfe7e-55b9-46dd-9add-2eb52cb66d3b" providerId="AD" clId="Web-{6F4BA6F9-4A5A-3B13-85C3-6DB0B61CBC00}" dt="2023-10-24T15:15:28.883" v="910"/>
        <pc:sldMkLst>
          <pc:docMk/>
          <pc:sldMk cId="2676048260" sldId="574"/>
        </pc:sldMkLst>
        <pc:spChg chg="mod">
          <ac:chgData name="Isabel Rose Gippo" userId="S::irg9370@ads.northwestern.edu::b10bfe7e-55b9-46dd-9add-2eb52cb66d3b" providerId="AD" clId="Web-{6F4BA6F9-4A5A-3B13-85C3-6DB0B61CBC00}" dt="2023-10-24T15:09:52.078" v="731" actId="20577"/>
          <ac:spMkLst>
            <pc:docMk/>
            <pc:sldMk cId="2676048260" sldId="574"/>
            <ac:spMk id="5" creationId="{45477BD9-E066-785E-8D58-760863918D07}"/>
          </ac:spMkLst>
        </pc:spChg>
        <pc:spChg chg="mod">
          <ac:chgData name="Isabel Rose Gippo" userId="S::irg9370@ads.northwestern.edu::b10bfe7e-55b9-46dd-9add-2eb52cb66d3b" providerId="AD" clId="Web-{6F4BA6F9-4A5A-3B13-85C3-6DB0B61CBC00}" dt="2023-10-24T15:09:58.547" v="732"/>
          <ac:spMkLst>
            <pc:docMk/>
            <pc:sldMk cId="2676048260" sldId="574"/>
            <ac:spMk id="7" creationId="{70F70170-82A9-3F58-8A7E-1C8F0DE96C28}"/>
          </ac:spMkLst>
        </pc:spChg>
        <pc:spChg chg="mod">
          <ac:chgData name="Isabel Rose Gippo" userId="S::irg9370@ads.northwestern.edu::b10bfe7e-55b9-46dd-9add-2eb52cb66d3b" providerId="AD" clId="Web-{6F4BA6F9-4A5A-3B13-85C3-6DB0B61CBC00}" dt="2023-10-24T15:09:41.171" v="729" actId="20577"/>
          <ac:spMkLst>
            <pc:docMk/>
            <pc:sldMk cId="2676048260" sldId="574"/>
            <ac:spMk id="16386" creationId="{00000000-0000-0000-0000-000000000000}"/>
          </ac:spMkLst>
        </pc:spChg>
      </pc:sldChg>
      <pc:sldChg chg="addSp delSp modSp add del replId">
        <pc:chgData name="Isabel Rose Gippo" userId="S::irg9370@ads.northwestern.edu::b10bfe7e-55b9-46dd-9add-2eb52cb66d3b" providerId="AD" clId="Web-{6F4BA6F9-4A5A-3B13-85C3-6DB0B61CBC00}" dt="2023-10-24T15:55:34.943" v="1689" actId="1076"/>
        <pc:sldMkLst>
          <pc:docMk/>
          <pc:sldMk cId="1568500938" sldId="575"/>
        </pc:sldMkLst>
        <pc:spChg chg="mod">
          <ac:chgData name="Isabel Rose Gippo" userId="S::irg9370@ads.northwestern.edu::b10bfe7e-55b9-46dd-9add-2eb52cb66d3b" providerId="AD" clId="Web-{6F4BA6F9-4A5A-3B13-85C3-6DB0B61CBC00}" dt="2023-10-24T15:22:51.394" v="981" actId="1076"/>
          <ac:spMkLst>
            <pc:docMk/>
            <pc:sldMk cId="1568500938" sldId="575"/>
            <ac:spMk id="4" creationId="{16B24218-AF37-F6C6-7684-E7E3C16AFAF4}"/>
          </ac:spMkLst>
        </pc:spChg>
        <pc:spChg chg="mod">
          <ac:chgData name="Isabel Rose Gippo" userId="S::irg9370@ads.northwestern.edu::b10bfe7e-55b9-46dd-9add-2eb52cb66d3b" providerId="AD" clId="Web-{6F4BA6F9-4A5A-3B13-85C3-6DB0B61CBC00}" dt="2023-10-24T15:15:41.665" v="912" actId="20577"/>
          <ac:spMkLst>
            <pc:docMk/>
            <pc:sldMk cId="1568500938" sldId="575"/>
            <ac:spMk id="5" creationId="{45477BD9-E066-785E-8D58-760863918D07}"/>
          </ac:spMkLst>
        </pc:spChg>
        <pc:spChg chg="mod">
          <ac:chgData name="Isabel Rose Gippo" userId="S::irg9370@ads.northwestern.edu::b10bfe7e-55b9-46dd-9add-2eb52cb66d3b" providerId="AD" clId="Web-{6F4BA6F9-4A5A-3B13-85C3-6DB0B61CBC00}" dt="2023-10-24T15:15:36.930" v="911"/>
          <ac:spMkLst>
            <pc:docMk/>
            <pc:sldMk cId="1568500938" sldId="575"/>
            <ac:spMk id="7" creationId="{70F70170-82A9-3F58-8A7E-1C8F0DE96C28}"/>
          </ac:spMkLst>
        </pc:spChg>
        <pc:spChg chg="mod">
          <ac:chgData name="Isabel Rose Gippo" userId="S::irg9370@ads.northwestern.edu::b10bfe7e-55b9-46dd-9add-2eb52cb66d3b" providerId="AD" clId="Web-{6F4BA6F9-4A5A-3B13-85C3-6DB0B61CBC00}" dt="2023-10-24T15:30:40.812" v="1090" actId="1076"/>
          <ac:spMkLst>
            <pc:docMk/>
            <pc:sldMk cId="1568500938" sldId="575"/>
            <ac:spMk id="9" creationId="{16E68D9A-C1B6-0901-3EFC-15C208817766}"/>
          </ac:spMkLst>
        </pc:spChg>
        <pc:spChg chg="mod">
          <ac:chgData name="Isabel Rose Gippo" userId="S::irg9370@ads.northwestern.edu::b10bfe7e-55b9-46dd-9add-2eb52cb66d3b" providerId="AD" clId="Web-{6F4BA6F9-4A5A-3B13-85C3-6DB0B61CBC00}" dt="2023-10-24T15:30:48.922" v="1091" actId="1076"/>
          <ac:spMkLst>
            <pc:docMk/>
            <pc:sldMk cId="1568500938" sldId="575"/>
            <ac:spMk id="10" creationId="{25AE8A2F-EC9C-3068-BE56-5960B5C6DCA1}"/>
          </ac:spMkLst>
        </pc:spChg>
        <pc:spChg chg="mod">
          <ac:chgData name="Isabel Rose Gippo" userId="S::irg9370@ads.northwestern.edu::b10bfe7e-55b9-46dd-9add-2eb52cb66d3b" providerId="AD" clId="Web-{6F4BA6F9-4A5A-3B13-85C3-6DB0B61CBC00}" dt="2023-10-24T15:30:52.359" v="1092" actId="1076"/>
          <ac:spMkLst>
            <pc:docMk/>
            <pc:sldMk cId="1568500938" sldId="575"/>
            <ac:spMk id="11" creationId="{F406DC6F-8C94-AF9D-26F8-B81A3F9E5004}"/>
          </ac:spMkLst>
        </pc:spChg>
        <pc:spChg chg="mod">
          <ac:chgData name="Isabel Rose Gippo" userId="S::irg9370@ads.northwestern.edu::b10bfe7e-55b9-46dd-9add-2eb52cb66d3b" providerId="AD" clId="Web-{6F4BA6F9-4A5A-3B13-85C3-6DB0B61CBC00}" dt="2023-10-24T15:30:55.109" v="1093" actId="1076"/>
          <ac:spMkLst>
            <pc:docMk/>
            <pc:sldMk cId="1568500938" sldId="575"/>
            <ac:spMk id="12" creationId="{913F4C80-BE39-2B7C-C4A4-98B839B10F3C}"/>
          </ac:spMkLst>
        </pc:spChg>
        <pc:spChg chg="mod">
          <ac:chgData name="Isabel Rose Gippo" userId="S::irg9370@ads.northwestern.edu::b10bfe7e-55b9-46dd-9add-2eb52cb66d3b" providerId="AD" clId="Web-{6F4BA6F9-4A5A-3B13-85C3-6DB0B61CBC00}" dt="2023-10-24T15:30:59.516" v="1094" actId="1076"/>
          <ac:spMkLst>
            <pc:docMk/>
            <pc:sldMk cId="1568500938" sldId="575"/>
            <ac:spMk id="13" creationId="{CA29CC08-AC6C-D03F-4212-3671B5C0255E}"/>
          </ac:spMkLst>
        </pc:spChg>
        <pc:spChg chg="mod">
          <ac:chgData name="Isabel Rose Gippo" userId="S::irg9370@ads.northwestern.edu::b10bfe7e-55b9-46dd-9add-2eb52cb66d3b" providerId="AD" clId="Web-{6F4BA6F9-4A5A-3B13-85C3-6DB0B61CBC00}" dt="2023-10-24T15:31:03.172" v="1095" actId="1076"/>
          <ac:spMkLst>
            <pc:docMk/>
            <pc:sldMk cId="1568500938" sldId="575"/>
            <ac:spMk id="14" creationId="{56D7802A-D9E3-5022-FEB1-A5E340BE8541}"/>
          </ac:spMkLst>
        </pc:spChg>
        <pc:spChg chg="mod">
          <ac:chgData name="Isabel Rose Gippo" userId="S::irg9370@ads.northwestern.edu::b10bfe7e-55b9-46dd-9add-2eb52cb66d3b" providerId="AD" clId="Web-{6F4BA6F9-4A5A-3B13-85C3-6DB0B61CBC00}" dt="2023-10-24T15:31:07.750" v="1096" actId="1076"/>
          <ac:spMkLst>
            <pc:docMk/>
            <pc:sldMk cId="1568500938" sldId="575"/>
            <ac:spMk id="15" creationId="{33C1CB15-DF62-AAD5-40DF-C348B0B14C79}"/>
          </ac:spMkLst>
        </pc:spChg>
        <pc:spChg chg="mod">
          <ac:chgData name="Isabel Rose Gippo" userId="S::irg9370@ads.northwestern.edu::b10bfe7e-55b9-46dd-9add-2eb52cb66d3b" providerId="AD" clId="Web-{6F4BA6F9-4A5A-3B13-85C3-6DB0B61CBC00}" dt="2023-10-24T15:34:03.114" v="1206" actId="20577"/>
          <ac:spMkLst>
            <pc:docMk/>
            <pc:sldMk cId="1568500938" sldId="575"/>
            <ac:spMk id="17" creationId="{F322531C-B747-9294-091C-9F40532B993A}"/>
          </ac:spMkLst>
        </pc:spChg>
        <pc:spChg chg="mod">
          <ac:chgData name="Isabel Rose Gippo" userId="S::irg9370@ads.northwestern.edu::b10bfe7e-55b9-46dd-9add-2eb52cb66d3b" providerId="AD" clId="Web-{6F4BA6F9-4A5A-3B13-85C3-6DB0B61CBC00}" dt="2023-10-24T15:22:48.097" v="980" actId="1076"/>
          <ac:spMkLst>
            <pc:docMk/>
            <pc:sldMk cId="1568500938" sldId="575"/>
            <ac:spMk id="19" creationId="{F49C1F1A-614A-5749-1A3F-78980B65ADBC}"/>
          </ac:spMkLst>
        </pc:spChg>
        <pc:spChg chg="add mod">
          <ac:chgData name="Isabel Rose Gippo" userId="S::irg9370@ads.northwestern.edu::b10bfe7e-55b9-46dd-9add-2eb52cb66d3b" providerId="AD" clId="Web-{6F4BA6F9-4A5A-3B13-85C3-6DB0B61CBC00}" dt="2023-10-24T15:31:11.344" v="1097" actId="1076"/>
          <ac:spMkLst>
            <pc:docMk/>
            <pc:sldMk cId="1568500938" sldId="575"/>
            <ac:spMk id="21" creationId="{16124592-48C8-CBB5-0C67-F7EC7BD3F818}"/>
          </ac:spMkLst>
        </pc:spChg>
        <pc:spChg chg="add del mod">
          <ac:chgData name="Isabel Rose Gippo" userId="S::irg9370@ads.northwestern.edu::b10bfe7e-55b9-46dd-9add-2eb52cb66d3b" providerId="AD" clId="Web-{6F4BA6F9-4A5A-3B13-85C3-6DB0B61CBC00}" dt="2023-10-24T15:31:53.142" v="1125"/>
          <ac:spMkLst>
            <pc:docMk/>
            <pc:sldMk cId="1568500938" sldId="575"/>
            <ac:spMk id="22" creationId="{79C0A09F-BAC0-9497-B649-4AFA9FF44101}"/>
          </ac:spMkLst>
        </pc:spChg>
        <pc:spChg chg="add mod">
          <ac:chgData name="Isabel Rose Gippo" userId="S::irg9370@ads.northwestern.edu::b10bfe7e-55b9-46dd-9add-2eb52cb66d3b" providerId="AD" clId="Web-{6F4BA6F9-4A5A-3B13-85C3-6DB0B61CBC00}" dt="2023-10-24T15:33:52.380" v="1203" actId="1076"/>
          <ac:spMkLst>
            <pc:docMk/>
            <pc:sldMk cId="1568500938" sldId="575"/>
            <ac:spMk id="23" creationId="{242E4660-E8A4-DB53-3AE0-E98317C0C8D3}"/>
          </ac:spMkLst>
        </pc:spChg>
        <pc:spChg chg="mod">
          <ac:chgData name="Isabel Rose Gippo" userId="S::irg9370@ads.northwestern.edu::b10bfe7e-55b9-46dd-9add-2eb52cb66d3b" providerId="AD" clId="Web-{6F4BA6F9-4A5A-3B13-85C3-6DB0B61CBC00}" dt="2023-10-24T15:15:26.242" v="909" actId="20577"/>
          <ac:spMkLst>
            <pc:docMk/>
            <pc:sldMk cId="1568500938" sldId="575"/>
            <ac:spMk id="16386" creationId="{00000000-0000-0000-0000-000000000000}"/>
          </ac:spMkLst>
        </pc:spChg>
        <pc:picChg chg="add del mod">
          <ac:chgData name="Isabel Rose Gippo" userId="S::irg9370@ads.northwestern.edu::b10bfe7e-55b9-46dd-9add-2eb52cb66d3b" providerId="AD" clId="Web-{6F4BA6F9-4A5A-3B13-85C3-6DB0B61CBC00}" dt="2023-10-24T15:18:28.763" v="935"/>
          <ac:picMkLst>
            <pc:docMk/>
            <pc:sldMk cId="1568500938" sldId="575"/>
            <ac:picMk id="2" creationId="{95BB1340-67B2-9A3C-8B7D-1DAD7401068E}"/>
          </ac:picMkLst>
        </pc:picChg>
        <pc:picChg chg="del">
          <ac:chgData name="Isabel Rose Gippo" userId="S::irg9370@ads.northwestern.edu::b10bfe7e-55b9-46dd-9add-2eb52cb66d3b" providerId="AD" clId="Web-{6F4BA6F9-4A5A-3B13-85C3-6DB0B61CBC00}" dt="2023-10-24T15:17:12.761" v="916"/>
          <ac:picMkLst>
            <pc:docMk/>
            <pc:sldMk cId="1568500938" sldId="575"/>
            <ac:picMk id="3" creationId="{295316AB-273C-55D8-0FED-C92B67DB5F3C}"/>
          </ac:picMkLst>
        </pc:picChg>
        <pc:picChg chg="del mod">
          <ac:chgData name="Isabel Rose Gippo" userId="S::irg9370@ads.northwestern.edu::b10bfe7e-55b9-46dd-9add-2eb52cb66d3b" providerId="AD" clId="Web-{6F4BA6F9-4A5A-3B13-85C3-6DB0B61CBC00}" dt="2023-10-24T15:26:38.150" v="986"/>
          <ac:picMkLst>
            <pc:docMk/>
            <pc:sldMk cId="1568500938" sldId="575"/>
            <ac:picMk id="6" creationId="{D2D0700A-FC9B-84DC-6A25-6288ECF7D29A}"/>
          </ac:picMkLst>
        </pc:picChg>
        <pc:picChg chg="add mod">
          <ac:chgData name="Isabel Rose Gippo" userId="S::irg9370@ads.northwestern.edu::b10bfe7e-55b9-46dd-9add-2eb52cb66d3b" providerId="AD" clId="Web-{6F4BA6F9-4A5A-3B13-85C3-6DB0B61CBC00}" dt="2023-10-24T15:55:34.943" v="1689" actId="1076"/>
          <ac:picMkLst>
            <pc:docMk/>
            <pc:sldMk cId="1568500938" sldId="575"/>
            <ac:picMk id="8" creationId="{C4A61916-BC63-F6E7-BBA0-F124F7732FEA}"/>
          </ac:picMkLst>
        </pc:picChg>
        <pc:picChg chg="add del mod">
          <ac:chgData name="Isabel Rose Gippo" userId="S::irg9370@ads.northwestern.edu::b10bfe7e-55b9-46dd-9add-2eb52cb66d3b" providerId="AD" clId="Web-{6F4BA6F9-4A5A-3B13-85C3-6DB0B61CBC00}" dt="2023-10-24T15:27:20.839" v="994"/>
          <ac:picMkLst>
            <pc:docMk/>
            <pc:sldMk cId="1568500938" sldId="575"/>
            <ac:picMk id="18" creationId="{BCD3C2AF-D968-0135-4B4D-CDF4831C9AC7}"/>
          </ac:picMkLst>
        </pc:picChg>
        <pc:picChg chg="add mod">
          <ac:chgData name="Isabel Rose Gippo" userId="S::irg9370@ads.northwestern.edu::b10bfe7e-55b9-46dd-9add-2eb52cb66d3b" providerId="AD" clId="Web-{6F4BA6F9-4A5A-3B13-85C3-6DB0B61CBC00}" dt="2023-10-24T15:30:35.140" v="1089" actId="1076"/>
          <ac:picMkLst>
            <pc:docMk/>
            <pc:sldMk cId="1568500938" sldId="575"/>
            <ac:picMk id="20" creationId="{B6BEFD36-21D1-F003-8218-38BCE13A76CD}"/>
          </ac:picMkLst>
        </pc:picChg>
      </pc:sldChg>
      <pc:sldChg chg="addSp delSp modSp add del replId">
        <pc:chgData name="Isabel Rose Gippo" userId="S::irg9370@ads.northwestern.edu::b10bfe7e-55b9-46dd-9add-2eb52cb66d3b" providerId="AD" clId="Web-{6F4BA6F9-4A5A-3B13-85C3-6DB0B61CBC00}" dt="2023-10-24T15:55:22.521" v="1688"/>
        <pc:sldMkLst>
          <pc:docMk/>
          <pc:sldMk cId="1407824229" sldId="576"/>
        </pc:sldMkLst>
        <pc:spChg chg="add mod ord">
          <ac:chgData name="Isabel Rose Gippo" userId="S::irg9370@ads.northwestern.edu::b10bfe7e-55b9-46dd-9add-2eb52cb66d3b" providerId="AD" clId="Web-{6F4BA6F9-4A5A-3B13-85C3-6DB0B61CBC00}" dt="2023-10-24T15:55:16.099" v="1687"/>
          <ac:spMkLst>
            <pc:docMk/>
            <pc:sldMk cId="1407824229" sldId="576"/>
            <ac:spMk id="3" creationId="{E820A2E4-4F18-6799-9BD9-B308061CC76C}"/>
          </ac:spMkLst>
        </pc:spChg>
        <pc:spChg chg="del">
          <ac:chgData name="Isabel Rose Gippo" userId="S::irg9370@ads.northwestern.edu::b10bfe7e-55b9-46dd-9add-2eb52cb66d3b" providerId="AD" clId="Web-{6F4BA6F9-4A5A-3B13-85C3-6DB0B61CBC00}" dt="2023-10-24T15:38:43.746" v="1261"/>
          <ac:spMkLst>
            <pc:docMk/>
            <pc:sldMk cId="1407824229" sldId="576"/>
            <ac:spMk id="4" creationId="{16B24218-AF37-F6C6-7684-E7E3C16AFAF4}"/>
          </ac:spMkLst>
        </pc:spChg>
        <pc:spChg chg="mod">
          <ac:chgData name="Isabel Rose Gippo" userId="S::irg9370@ads.northwestern.edu::b10bfe7e-55b9-46dd-9add-2eb52cb66d3b" providerId="AD" clId="Web-{6F4BA6F9-4A5A-3B13-85C3-6DB0B61CBC00}" dt="2023-10-24T15:55:00.771" v="1686" actId="1076"/>
          <ac:spMkLst>
            <pc:docMk/>
            <pc:sldMk cId="1407824229" sldId="576"/>
            <ac:spMk id="5" creationId="{45477BD9-E066-785E-8D58-760863918D07}"/>
          </ac:spMkLst>
        </pc:spChg>
        <pc:spChg chg="add mod">
          <ac:chgData name="Isabel Rose Gippo" userId="S::irg9370@ads.northwestern.edu::b10bfe7e-55b9-46dd-9add-2eb52cb66d3b" providerId="AD" clId="Web-{6F4BA6F9-4A5A-3B13-85C3-6DB0B61CBC00}" dt="2023-10-24T15:55:22.521" v="1688"/>
          <ac:spMkLst>
            <pc:docMk/>
            <pc:sldMk cId="1407824229" sldId="576"/>
            <ac:spMk id="6" creationId="{ADFC1F5A-A2FF-8C65-F763-941E2E4DFF8C}"/>
          </ac:spMkLst>
        </pc:spChg>
        <pc:spChg chg="mod">
          <ac:chgData name="Isabel Rose Gippo" userId="S::irg9370@ads.northwestern.edu::b10bfe7e-55b9-46dd-9add-2eb52cb66d3b" providerId="AD" clId="Web-{6F4BA6F9-4A5A-3B13-85C3-6DB0B61CBC00}" dt="2023-10-24T15:46:13.601" v="1454"/>
          <ac:spMkLst>
            <pc:docMk/>
            <pc:sldMk cId="1407824229" sldId="576"/>
            <ac:spMk id="7" creationId="{70F70170-82A9-3F58-8A7E-1C8F0DE96C28}"/>
          </ac:spMkLst>
        </pc:spChg>
        <pc:spChg chg="del">
          <ac:chgData name="Isabel Rose Gippo" userId="S::irg9370@ads.northwestern.edu::b10bfe7e-55b9-46dd-9add-2eb52cb66d3b" providerId="AD" clId="Web-{6F4BA6F9-4A5A-3B13-85C3-6DB0B61CBC00}" dt="2023-10-24T15:48:10.464" v="1469"/>
          <ac:spMkLst>
            <pc:docMk/>
            <pc:sldMk cId="1407824229" sldId="576"/>
            <ac:spMk id="9" creationId="{16E68D9A-C1B6-0901-3EFC-15C208817766}"/>
          </ac:spMkLst>
        </pc:spChg>
        <pc:spChg chg="del">
          <ac:chgData name="Isabel Rose Gippo" userId="S::irg9370@ads.northwestern.edu::b10bfe7e-55b9-46dd-9add-2eb52cb66d3b" providerId="AD" clId="Web-{6F4BA6F9-4A5A-3B13-85C3-6DB0B61CBC00}" dt="2023-10-24T15:48:08.573" v="1468"/>
          <ac:spMkLst>
            <pc:docMk/>
            <pc:sldMk cId="1407824229" sldId="576"/>
            <ac:spMk id="10" creationId="{25AE8A2F-EC9C-3068-BE56-5960B5C6DCA1}"/>
          </ac:spMkLst>
        </pc:spChg>
        <pc:spChg chg="del">
          <ac:chgData name="Isabel Rose Gippo" userId="S::irg9370@ads.northwestern.edu::b10bfe7e-55b9-46dd-9add-2eb52cb66d3b" providerId="AD" clId="Web-{6F4BA6F9-4A5A-3B13-85C3-6DB0B61CBC00}" dt="2023-10-24T15:48:06.448" v="1467"/>
          <ac:spMkLst>
            <pc:docMk/>
            <pc:sldMk cId="1407824229" sldId="576"/>
            <ac:spMk id="11" creationId="{F406DC6F-8C94-AF9D-26F8-B81A3F9E5004}"/>
          </ac:spMkLst>
        </pc:spChg>
        <pc:spChg chg="del">
          <ac:chgData name="Isabel Rose Gippo" userId="S::irg9370@ads.northwestern.edu::b10bfe7e-55b9-46dd-9add-2eb52cb66d3b" providerId="AD" clId="Web-{6F4BA6F9-4A5A-3B13-85C3-6DB0B61CBC00}" dt="2023-10-24T15:48:04.542" v="1466"/>
          <ac:spMkLst>
            <pc:docMk/>
            <pc:sldMk cId="1407824229" sldId="576"/>
            <ac:spMk id="12" creationId="{913F4C80-BE39-2B7C-C4A4-98B839B10F3C}"/>
          </ac:spMkLst>
        </pc:spChg>
        <pc:spChg chg="del">
          <ac:chgData name="Isabel Rose Gippo" userId="S::irg9370@ads.northwestern.edu::b10bfe7e-55b9-46dd-9add-2eb52cb66d3b" providerId="AD" clId="Web-{6F4BA6F9-4A5A-3B13-85C3-6DB0B61CBC00}" dt="2023-10-24T15:48:02.495" v="1465"/>
          <ac:spMkLst>
            <pc:docMk/>
            <pc:sldMk cId="1407824229" sldId="576"/>
            <ac:spMk id="13" creationId="{CA29CC08-AC6C-D03F-4212-3671B5C0255E}"/>
          </ac:spMkLst>
        </pc:spChg>
        <pc:spChg chg="del">
          <ac:chgData name="Isabel Rose Gippo" userId="S::irg9370@ads.northwestern.edu::b10bfe7e-55b9-46dd-9add-2eb52cb66d3b" providerId="AD" clId="Web-{6F4BA6F9-4A5A-3B13-85C3-6DB0B61CBC00}" dt="2023-10-24T15:48:00.666" v="1464"/>
          <ac:spMkLst>
            <pc:docMk/>
            <pc:sldMk cId="1407824229" sldId="576"/>
            <ac:spMk id="14" creationId="{56D7802A-D9E3-5022-FEB1-A5E340BE8541}"/>
          </ac:spMkLst>
        </pc:spChg>
        <pc:spChg chg="del mod">
          <ac:chgData name="Isabel Rose Gippo" userId="S::irg9370@ads.northwestern.edu::b10bfe7e-55b9-46dd-9add-2eb52cb66d3b" providerId="AD" clId="Web-{6F4BA6F9-4A5A-3B13-85C3-6DB0B61CBC00}" dt="2023-10-24T15:47:58.760" v="1463"/>
          <ac:spMkLst>
            <pc:docMk/>
            <pc:sldMk cId="1407824229" sldId="576"/>
            <ac:spMk id="15" creationId="{33C1CB15-DF62-AAD5-40DF-C348B0B14C79}"/>
          </ac:spMkLst>
        </pc:spChg>
        <pc:spChg chg="del">
          <ac:chgData name="Isabel Rose Gippo" userId="S::irg9370@ads.northwestern.edu::b10bfe7e-55b9-46dd-9add-2eb52cb66d3b" providerId="AD" clId="Web-{6F4BA6F9-4A5A-3B13-85C3-6DB0B61CBC00}" dt="2023-10-24T15:45:15.912" v="1419"/>
          <ac:spMkLst>
            <pc:docMk/>
            <pc:sldMk cId="1407824229" sldId="576"/>
            <ac:spMk id="17" creationId="{F322531C-B747-9294-091C-9F40532B993A}"/>
          </ac:spMkLst>
        </pc:spChg>
        <pc:spChg chg="del mod">
          <ac:chgData name="Isabel Rose Gippo" userId="S::irg9370@ads.northwestern.edu::b10bfe7e-55b9-46dd-9add-2eb52cb66d3b" providerId="AD" clId="Web-{6F4BA6F9-4A5A-3B13-85C3-6DB0B61CBC00}" dt="2023-10-24T15:41:24.282" v="1336"/>
          <ac:spMkLst>
            <pc:docMk/>
            <pc:sldMk cId="1407824229" sldId="576"/>
            <ac:spMk id="19" creationId="{F49C1F1A-614A-5749-1A3F-78980B65ADBC}"/>
          </ac:spMkLst>
        </pc:spChg>
        <pc:spChg chg="del">
          <ac:chgData name="Isabel Rose Gippo" userId="S::irg9370@ads.northwestern.edu::b10bfe7e-55b9-46dd-9add-2eb52cb66d3b" providerId="AD" clId="Web-{6F4BA6F9-4A5A-3B13-85C3-6DB0B61CBC00}" dt="2023-10-24T15:47:55.823" v="1461"/>
          <ac:spMkLst>
            <pc:docMk/>
            <pc:sldMk cId="1407824229" sldId="576"/>
            <ac:spMk id="21" creationId="{16124592-48C8-CBB5-0C67-F7EC7BD3F818}"/>
          </ac:spMkLst>
        </pc:spChg>
        <pc:spChg chg="del">
          <ac:chgData name="Isabel Rose Gippo" userId="S::irg9370@ads.northwestern.edu::b10bfe7e-55b9-46dd-9add-2eb52cb66d3b" providerId="AD" clId="Web-{6F4BA6F9-4A5A-3B13-85C3-6DB0B61CBC00}" dt="2023-10-24T15:45:14.084" v="1418"/>
          <ac:spMkLst>
            <pc:docMk/>
            <pc:sldMk cId="1407824229" sldId="576"/>
            <ac:spMk id="23" creationId="{242E4660-E8A4-DB53-3AE0-E98317C0C8D3}"/>
          </ac:spMkLst>
        </pc:spChg>
        <pc:spChg chg="add mod">
          <ac:chgData name="Isabel Rose Gippo" userId="S::irg9370@ads.northwestern.edu::b10bfe7e-55b9-46dd-9add-2eb52cb66d3b" providerId="AD" clId="Web-{6F4BA6F9-4A5A-3B13-85C3-6DB0B61CBC00}" dt="2023-10-24T15:53:56.660" v="1669" actId="1076"/>
          <ac:spMkLst>
            <pc:docMk/>
            <pc:sldMk cId="1407824229" sldId="576"/>
            <ac:spMk id="26" creationId="{4E5DC01A-FD86-C088-08A9-75E4492040D0}"/>
          </ac:spMkLst>
        </pc:spChg>
        <pc:spChg chg="add del mod">
          <ac:chgData name="Isabel Rose Gippo" userId="S::irg9370@ads.northwestern.edu::b10bfe7e-55b9-46dd-9add-2eb52cb66d3b" providerId="AD" clId="Web-{6F4BA6F9-4A5A-3B13-85C3-6DB0B61CBC00}" dt="2023-10-24T15:51:55.454" v="1617"/>
          <ac:spMkLst>
            <pc:docMk/>
            <pc:sldMk cId="1407824229" sldId="576"/>
            <ac:spMk id="28" creationId="{0634AC62-B461-C579-C1E0-59D9F4B72983}"/>
          </ac:spMkLst>
        </pc:spChg>
        <pc:spChg chg="add mod">
          <ac:chgData name="Isabel Rose Gippo" userId="S::irg9370@ads.northwestern.edu::b10bfe7e-55b9-46dd-9add-2eb52cb66d3b" providerId="AD" clId="Web-{6F4BA6F9-4A5A-3B13-85C3-6DB0B61CBC00}" dt="2023-10-24T15:54:00.082" v="1670" actId="1076"/>
          <ac:spMkLst>
            <pc:docMk/>
            <pc:sldMk cId="1407824229" sldId="576"/>
            <ac:spMk id="29" creationId="{74107DB5-E209-4AEF-9800-3DE57E4F629D}"/>
          </ac:spMkLst>
        </pc:spChg>
        <pc:spChg chg="mod">
          <ac:chgData name="Isabel Rose Gippo" userId="S::irg9370@ads.northwestern.edu::b10bfe7e-55b9-46dd-9add-2eb52cb66d3b" providerId="AD" clId="Web-{6F4BA6F9-4A5A-3B13-85C3-6DB0B61CBC00}" dt="2023-10-24T15:44:47.005" v="1398" actId="20577"/>
          <ac:spMkLst>
            <pc:docMk/>
            <pc:sldMk cId="1407824229" sldId="576"/>
            <ac:spMk id="16386" creationId="{00000000-0000-0000-0000-000000000000}"/>
          </ac:spMkLst>
        </pc:spChg>
        <pc:picChg chg="add mod modCrop">
          <ac:chgData name="Isabel Rose Gippo" userId="S::irg9370@ads.northwestern.edu::b10bfe7e-55b9-46dd-9add-2eb52cb66d3b" providerId="AD" clId="Web-{6F4BA6F9-4A5A-3B13-85C3-6DB0B61CBC00}" dt="2023-10-24T15:44:22.270" v="1393" actId="1076"/>
          <ac:picMkLst>
            <pc:docMk/>
            <pc:sldMk cId="1407824229" sldId="576"/>
            <ac:picMk id="2" creationId="{B8AC14FF-4EC0-8575-EDE3-C0FA67908392}"/>
          </ac:picMkLst>
        </pc:picChg>
        <pc:picChg chg="del">
          <ac:chgData name="Isabel Rose Gippo" userId="S::irg9370@ads.northwestern.edu::b10bfe7e-55b9-46dd-9add-2eb52cb66d3b" providerId="AD" clId="Web-{6F4BA6F9-4A5A-3B13-85C3-6DB0B61CBC00}" dt="2023-10-24T15:35:08.131" v="1222"/>
          <ac:picMkLst>
            <pc:docMk/>
            <pc:sldMk cId="1407824229" sldId="576"/>
            <ac:picMk id="8" creationId="{C4A61916-BC63-F6E7-BBA0-F124F7732FEA}"/>
          </ac:picMkLst>
        </pc:picChg>
        <pc:picChg chg="add mod ord">
          <ac:chgData name="Isabel Rose Gippo" userId="S::irg9370@ads.northwestern.edu::b10bfe7e-55b9-46dd-9add-2eb52cb66d3b" providerId="AD" clId="Web-{6F4BA6F9-4A5A-3B13-85C3-6DB0B61CBC00}" dt="2023-10-24T15:44:15.411" v="1391" actId="1076"/>
          <ac:picMkLst>
            <pc:docMk/>
            <pc:sldMk cId="1407824229" sldId="576"/>
            <ac:picMk id="18" creationId="{7B1A0AA1-15B5-44AC-69EE-FA0C3636DDE8}"/>
          </ac:picMkLst>
        </pc:picChg>
        <pc:picChg chg="del">
          <ac:chgData name="Isabel Rose Gippo" userId="S::irg9370@ads.northwestern.edu::b10bfe7e-55b9-46dd-9add-2eb52cb66d3b" providerId="AD" clId="Web-{6F4BA6F9-4A5A-3B13-85C3-6DB0B61CBC00}" dt="2023-10-24T15:45:06.771" v="1415"/>
          <ac:picMkLst>
            <pc:docMk/>
            <pc:sldMk cId="1407824229" sldId="576"/>
            <ac:picMk id="20" creationId="{B6BEFD36-21D1-F003-8218-38BCE13A76CD}"/>
          </ac:picMkLst>
        </pc:picChg>
        <pc:picChg chg="add del mod">
          <ac:chgData name="Isabel Rose Gippo" userId="S::irg9370@ads.northwestern.edu::b10bfe7e-55b9-46dd-9add-2eb52cb66d3b" providerId="AD" clId="Web-{6F4BA6F9-4A5A-3B13-85C3-6DB0B61CBC00}" dt="2023-10-24T15:48:45.918" v="1475"/>
          <ac:picMkLst>
            <pc:docMk/>
            <pc:sldMk cId="1407824229" sldId="576"/>
            <ac:picMk id="22" creationId="{13DD8CE3-1FDC-102F-CBBB-FB401F1872A7}"/>
          </ac:picMkLst>
        </pc:picChg>
        <pc:picChg chg="add mod">
          <ac:chgData name="Isabel Rose Gippo" userId="S::irg9370@ads.northwestern.edu::b10bfe7e-55b9-46dd-9add-2eb52cb66d3b" providerId="AD" clId="Web-{6F4BA6F9-4A5A-3B13-85C3-6DB0B61CBC00}" dt="2023-10-24T15:53:51.160" v="1668" actId="1076"/>
          <ac:picMkLst>
            <pc:docMk/>
            <pc:sldMk cId="1407824229" sldId="576"/>
            <ac:picMk id="24" creationId="{2D6C607A-C2C1-8EE7-6156-28BA1CD6D4EB}"/>
          </ac:picMkLst>
        </pc:picChg>
      </pc:sldChg>
    </pc:docChg>
  </pc:docChgLst>
  <pc:docChgLst>
    <pc:chgData name="Eileen Fleming Suse" userId="S::efs3844@ads.northwestern.edu::725c94ef-d051-42d7-9d33-8572765d592b" providerId="AD" clId="Web-{FFAD42E9-C519-11DF-E299-D524098D897E}"/>
    <pc:docChg chg="addSld modSld">
      <pc:chgData name="Eileen Fleming Suse" userId="S::efs3844@ads.northwestern.edu::725c94ef-d051-42d7-9d33-8572765d592b" providerId="AD" clId="Web-{FFAD42E9-C519-11DF-E299-D524098D897E}" dt="2023-10-24T02:47:59.133" v="27" actId="14100"/>
      <pc:docMkLst>
        <pc:docMk/>
      </pc:docMkLst>
      <pc:sldChg chg="add">
        <pc:chgData name="Eileen Fleming Suse" userId="S::efs3844@ads.northwestern.edu::725c94ef-d051-42d7-9d33-8572765d592b" providerId="AD" clId="Web-{FFAD42E9-C519-11DF-E299-D524098D897E}" dt="2023-10-24T02:45:56.550" v="0"/>
        <pc:sldMkLst>
          <pc:docMk/>
          <pc:sldMk cId="3845418986" sldId="563"/>
        </pc:sldMkLst>
      </pc:sldChg>
      <pc:sldChg chg="modSp add">
        <pc:chgData name="Eileen Fleming Suse" userId="S::efs3844@ads.northwestern.edu::725c94ef-d051-42d7-9d33-8572765d592b" providerId="AD" clId="Web-{FFAD42E9-C519-11DF-E299-D524098D897E}" dt="2023-10-24T02:47:04.615" v="20" actId="1076"/>
        <pc:sldMkLst>
          <pc:docMk/>
          <pc:sldMk cId="1536434647" sldId="564"/>
        </pc:sldMkLst>
        <pc:spChg chg="mod">
          <ac:chgData name="Eileen Fleming Suse" userId="S::efs3844@ads.northwestern.edu::725c94ef-d051-42d7-9d33-8572765d592b" providerId="AD" clId="Web-{FFAD42E9-C519-11DF-E299-D524098D897E}" dt="2023-10-24T02:46:24.114" v="5" actId="20577"/>
          <ac:spMkLst>
            <pc:docMk/>
            <pc:sldMk cId="1536434647" sldId="564"/>
            <ac:spMk id="39" creationId="{00000000-0000-0000-0000-000000000000}"/>
          </ac:spMkLst>
        </pc:spChg>
        <pc:spChg chg="mod">
          <ac:chgData name="Eileen Fleming Suse" userId="S::efs3844@ads.northwestern.edu::725c94ef-d051-42d7-9d33-8572765d592b" providerId="AD" clId="Web-{FFAD42E9-C519-11DF-E299-D524098D897E}" dt="2023-10-24T02:46:41.583" v="12" actId="20577"/>
          <ac:spMkLst>
            <pc:docMk/>
            <pc:sldMk cId="1536434647" sldId="564"/>
            <ac:spMk id="41" creationId="{00000000-0000-0000-0000-000000000000}"/>
          </ac:spMkLst>
        </pc:spChg>
        <pc:spChg chg="mod">
          <ac:chgData name="Eileen Fleming Suse" userId="S::efs3844@ads.northwestern.edu::725c94ef-d051-42d7-9d33-8572765d592b" providerId="AD" clId="Web-{FFAD42E9-C519-11DF-E299-D524098D897E}" dt="2023-10-24T02:46:54.552" v="18" actId="20577"/>
          <ac:spMkLst>
            <pc:docMk/>
            <pc:sldMk cId="1536434647" sldId="564"/>
            <ac:spMk id="43" creationId="{00000000-0000-0000-0000-000000000000}"/>
          </ac:spMkLst>
        </pc:spChg>
        <pc:spChg chg="mod">
          <ac:chgData name="Eileen Fleming Suse" userId="S::efs3844@ads.northwestern.edu::725c94ef-d051-42d7-9d33-8572765d592b" providerId="AD" clId="Web-{FFAD42E9-C519-11DF-E299-D524098D897E}" dt="2023-10-24T02:47:04.615" v="20" actId="1076"/>
          <ac:spMkLst>
            <pc:docMk/>
            <pc:sldMk cId="1536434647" sldId="564"/>
            <ac:spMk id="47" creationId="{00000000-0000-0000-0000-000000000000}"/>
          </ac:spMkLst>
        </pc:spChg>
      </pc:sldChg>
      <pc:sldChg chg="modSp add">
        <pc:chgData name="Eileen Fleming Suse" userId="S::efs3844@ads.northwestern.edu::725c94ef-d051-42d7-9d33-8572765d592b" providerId="AD" clId="Web-{FFAD42E9-C519-11DF-E299-D524098D897E}" dt="2023-10-24T02:47:59.133" v="27" actId="14100"/>
        <pc:sldMkLst>
          <pc:docMk/>
          <pc:sldMk cId="3004937174" sldId="565"/>
        </pc:sldMkLst>
        <pc:spChg chg="mod">
          <ac:chgData name="Eileen Fleming Suse" userId="S::efs3844@ads.northwestern.edu::725c94ef-d051-42d7-9d33-8572765d592b" providerId="AD" clId="Web-{FFAD42E9-C519-11DF-E299-D524098D897E}" dt="2023-10-24T02:47:55.679" v="26" actId="1076"/>
          <ac:spMkLst>
            <pc:docMk/>
            <pc:sldMk cId="3004937174" sldId="565"/>
            <ac:spMk id="33" creationId="{00000000-0000-0000-0000-000000000000}"/>
          </ac:spMkLst>
        </pc:spChg>
        <pc:spChg chg="mod">
          <ac:chgData name="Eileen Fleming Suse" userId="S::efs3844@ads.northwestern.edu::725c94ef-d051-42d7-9d33-8572765d592b" providerId="AD" clId="Web-{FFAD42E9-C519-11DF-E299-D524098D897E}" dt="2023-10-24T02:47:59.133" v="27" actId="14100"/>
          <ac:spMkLst>
            <pc:docMk/>
            <pc:sldMk cId="3004937174" sldId="565"/>
            <ac:spMk id="35" creationId="{00000000-0000-0000-0000-000000000000}"/>
          </ac:spMkLst>
        </pc:spChg>
        <pc:spChg chg="mod">
          <ac:chgData name="Eileen Fleming Suse" userId="S::efs3844@ads.northwestern.edu::725c94ef-d051-42d7-9d33-8572765d592b" providerId="AD" clId="Web-{FFAD42E9-C519-11DF-E299-D524098D897E}" dt="2023-10-24T02:47:35.194" v="22" actId="20577"/>
          <ac:spMkLst>
            <pc:docMk/>
            <pc:sldMk cId="3004937174" sldId="565"/>
            <ac:spMk id="37" creationId="{00000000-0000-0000-0000-000000000000}"/>
          </ac:spMkLst>
        </pc:spChg>
        <pc:spChg chg="mod">
          <ac:chgData name="Eileen Fleming Suse" userId="S::efs3844@ads.northwestern.edu::725c94ef-d051-42d7-9d33-8572765d592b" providerId="AD" clId="Web-{FFAD42E9-C519-11DF-E299-D524098D897E}" dt="2023-10-24T02:47:45.913" v="24" actId="20577"/>
          <ac:spMkLst>
            <pc:docMk/>
            <pc:sldMk cId="3004937174" sldId="565"/>
            <ac:spMk id="40" creationId="{00000000-0000-0000-0000-000000000000}"/>
          </ac:spMkLst>
        </pc:spChg>
      </pc:sldChg>
    </pc:docChg>
  </pc:docChgLst>
  <pc:docChgLst>
    <pc:chgData name="Alana Rivera" userId="S::arg3669@ads.northwestern.edu::fc8b707a-b7e9-4f2a-8d71-2d76819b7881" providerId="AD" clId="Web-{FC194283-EEC6-0521-D05D-577D27A78776}"/>
    <pc:docChg chg="modSld">
      <pc:chgData name="Alana Rivera" userId="S::arg3669@ads.northwestern.edu::fc8b707a-b7e9-4f2a-8d71-2d76819b7881" providerId="AD" clId="Web-{FC194283-EEC6-0521-D05D-577D27A78776}" dt="2023-10-30T20:28:42.508" v="163" actId="20577"/>
      <pc:docMkLst>
        <pc:docMk/>
      </pc:docMkLst>
      <pc:sldChg chg="delCm">
        <pc:chgData name="Alana Rivera" userId="S::arg3669@ads.northwestern.edu::fc8b707a-b7e9-4f2a-8d71-2d76819b7881" providerId="AD" clId="Web-{FC194283-EEC6-0521-D05D-577D27A78776}" dt="2023-10-30T19:50:20.612" v="0"/>
        <pc:sldMkLst>
          <pc:docMk/>
          <pc:sldMk cId="3127921386" sldId="280"/>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19:50:20.612" v="0"/>
              <pc2:cmMkLst xmlns:pc2="http://schemas.microsoft.com/office/powerpoint/2019/9/main/command">
                <pc:docMk/>
                <pc:sldMk cId="3127921386" sldId="280"/>
                <pc2:cmMk id="{78C9B980-2656-432B-BA11-07ACE79B211F}"/>
              </pc2:cmMkLst>
            </pc226:cmChg>
          </p:ext>
        </pc:extLst>
      </pc:sldChg>
      <pc:sldChg chg="modSp delCm">
        <pc:chgData name="Alana Rivera" userId="S::arg3669@ads.northwestern.edu::fc8b707a-b7e9-4f2a-8d71-2d76819b7881" providerId="AD" clId="Web-{FC194283-EEC6-0521-D05D-577D27A78776}" dt="2023-10-30T20:28:42.508" v="163" actId="20577"/>
        <pc:sldMkLst>
          <pc:docMk/>
          <pc:sldMk cId="4044691067" sldId="283"/>
        </pc:sldMkLst>
        <pc:spChg chg="mod">
          <ac:chgData name="Alana Rivera" userId="S::arg3669@ads.northwestern.edu::fc8b707a-b7e9-4f2a-8d71-2d76819b7881" providerId="AD" clId="Web-{FC194283-EEC6-0521-D05D-577D27A78776}" dt="2023-10-30T20:16:51.612" v="107" actId="14100"/>
          <ac:spMkLst>
            <pc:docMk/>
            <pc:sldMk cId="4044691067" sldId="283"/>
            <ac:spMk id="2" creationId="{00000000-0000-0000-0000-000000000000}"/>
          </ac:spMkLst>
        </pc:spChg>
        <pc:spChg chg="mod">
          <ac:chgData name="Alana Rivera" userId="S::arg3669@ads.northwestern.edu::fc8b707a-b7e9-4f2a-8d71-2d76819b7881" providerId="AD" clId="Web-{FC194283-EEC6-0521-D05D-577D27A78776}" dt="2023-10-30T20:28:42.508" v="163" actId="20577"/>
          <ac:spMkLst>
            <pc:docMk/>
            <pc:sldMk cId="4044691067" sldId="283"/>
            <ac:spMk id="3" creationId="{00000000-0000-0000-0000-000000000000}"/>
          </ac:spMkLst>
        </pc:spChg>
        <pc:spChg chg="mod">
          <ac:chgData name="Alana Rivera" userId="S::arg3669@ads.northwestern.edu::fc8b707a-b7e9-4f2a-8d71-2d76819b7881" providerId="AD" clId="Web-{FC194283-EEC6-0521-D05D-577D27A78776}" dt="2023-10-30T20:16:22.283" v="101" actId="1076"/>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20:25:18.096" v="146"/>
              <pc2:cmMkLst xmlns:pc2="http://schemas.microsoft.com/office/powerpoint/2019/9/main/command">
                <pc:docMk/>
                <pc:sldMk cId="4044691067" sldId="283"/>
                <pc2:cmMk id="{51D99AE4-D60E-4433-99C8-10E7EA141D41}"/>
              </pc2:cmMkLst>
            </pc226:cmChg>
          </p:ext>
        </pc:extLst>
      </pc:sldChg>
      <pc:sldChg chg="modSp">
        <pc:chgData name="Alana Rivera" userId="S::arg3669@ads.northwestern.edu::fc8b707a-b7e9-4f2a-8d71-2d76819b7881" providerId="AD" clId="Web-{FC194283-EEC6-0521-D05D-577D27A78776}" dt="2023-10-30T19:53:52.196" v="7"/>
        <pc:sldMkLst>
          <pc:docMk/>
          <pc:sldMk cId="3004937174" sldId="565"/>
        </pc:sldMkLst>
        <pc:spChg chg="mod">
          <ac:chgData name="Alana Rivera" userId="S::arg3669@ads.northwestern.edu::fc8b707a-b7e9-4f2a-8d71-2d76819b7881" providerId="AD" clId="Web-{FC194283-EEC6-0521-D05D-577D27A78776}" dt="2023-10-30T19:53:52.196" v="7"/>
          <ac:spMkLst>
            <pc:docMk/>
            <pc:sldMk cId="3004937174" sldId="565"/>
            <ac:spMk id="10" creationId="{00000000-0000-0000-0000-000000000000}"/>
          </ac:spMkLst>
        </pc:spChg>
      </pc:sldChg>
      <pc:sldChg chg="addSp modSp">
        <pc:chgData name="Alana Rivera" userId="S::arg3669@ads.northwestern.edu::fc8b707a-b7e9-4f2a-8d71-2d76819b7881" providerId="AD" clId="Web-{FC194283-EEC6-0521-D05D-577D27A78776}" dt="2023-10-30T20:04:05.402" v="58" actId="20577"/>
        <pc:sldMkLst>
          <pc:docMk/>
          <pc:sldMk cId="3419957415" sldId="577"/>
        </pc:sldMkLst>
        <pc:spChg chg="mod">
          <ac:chgData name="Alana Rivera" userId="S::arg3669@ads.northwestern.edu::fc8b707a-b7e9-4f2a-8d71-2d76819b7881" providerId="AD" clId="Web-{FC194283-EEC6-0521-D05D-577D27A78776}" dt="2023-10-30T20:04:05.402" v="58" actId="20577"/>
          <ac:spMkLst>
            <pc:docMk/>
            <pc:sldMk cId="3419957415" sldId="577"/>
            <ac:spMk id="51" creationId="{00000000-0000-0000-0000-000000000000}"/>
          </ac:spMkLst>
        </pc:spChg>
        <pc:spChg chg="mod">
          <ac:chgData name="Alana Rivera" userId="S::arg3669@ads.northwestern.edu::fc8b707a-b7e9-4f2a-8d71-2d76819b7881" providerId="AD" clId="Web-{FC194283-EEC6-0521-D05D-577D27A78776}" dt="2023-10-30T20:04:01.402" v="57" actId="20577"/>
          <ac:spMkLst>
            <pc:docMk/>
            <pc:sldMk cId="3419957415" sldId="577"/>
            <ac:spMk id="52" creationId="{00000000-0000-0000-0000-000000000000}"/>
          </ac:spMkLst>
        </pc:spChg>
        <pc:spChg chg="mod">
          <ac:chgData name="Alana Rivera" userId="S::arg3669@ads.northwestern.edu::fc8b707a-b7e9-4f2a-8d71-2d76819b7881" providerId="AD" clId="Web-{FC194283-EEC6-0521-D05D-577D27A78776}" dt="2023-10-30T20:03:58.183" v="55" actId="20577"/>
          <ac:spMkLst>
            <pc:docMk/>
            <pc:sldMk cId="3419957415" sldId="577"/>
            <ac:spMk id="53" creationId="{00000000-0000-0000-0000-000000000000}"/>
          </ac:spMkLst>
        </pc:spChg>
        <pc:spChg chg="mod">
          <ac:chgData name="Alana Rivera" userId="S::arg3669@ads.northwestern.edu::fc8b707a-b7e9-4f2a-8d71-2d76819b7881" providerId="AD" clId="Web-{FC194283-EEC6-0521-D05D-577D27A78776}" dt="2023-10-30T20:03:46.714" v="52" actId="14100"/>
          <ac:spMkLst>
            <pc:docMk/>
            <pc:sldMk cId="3419957415" sldId="577"/>
            <ac:spMk id="54" creationId="{00000000-0000-0000-0000-000000000000}"/>
          </ac:spMkLst>
        </pc:spChg>
        <pc:spChg chg="mod">
          <ac:chgData name="Alana Rivera" userId="S::arg3669@ads.northwestern.edu::fc8b707a-b7e9-4f2a-8d71-2d76819b7881" providerId="AD" clId="Web-{FC194283-EEC6-0521-D05D-577D27A78776}" dt="2023-10-30T20:03:53.511" v="54" actId="14100"/>
          <ac:spMkLst>
            <pc:docMk/>
            <pc:sldMk cId="3419957415" sldId="577"/>
            <ac:spMk id="57" creationId="{00000000-0000-0000-0000-000000000000}"/>
          </ac:spMkLst>
        </pc:spChg>
        <pc:spChg chg="mod">
          <ac:chgData name="Alana Rivera" userId="S::arg3669@ads.northwestern.edu::fc8b707a-b7e9-4f2a-8d71-2d76819b7881" providerId="AD" clId="Web-{FC194283-EEC6-0521-D05D-577D27A78776}" dt="2023-10-30T20:00:54.053" v="18" actId="20577"/>
          <ac:spMkLst>
            <pc:docMk/>
            <pc:sldMk cId="3419957415" sldId="577"/>
            <ac:spMk id="64" creationId="{CE06DA76-2516-7530-74D6-38D1B1FC6BFE}"/>
          </ac:spMkLst>
        </pc:spChg>
        <pc:spChg chg="add mod">
          <ac:chgData name="Alana Rivera" userId="S::arg3669@ads.northwestern.edu::fc8b707a-b7e9-4f2a-8d71-2d76819b7881" providerId="AD" clId="Web-{FC194283-EEC6-0521-D05D-577D27A78776}" dt="2023-10-30T20:01:02.834" v="20" actId="1076"/>
          <ac:spMkLst>
            <pc:docMk/>
            <pc:sldMk cId="3419957415" sldId="577"/>
            <ac:spMk id="65" creationId="{28CD4543-B35F-C7BE-C5DB-7DF0067C551A}"/>
          </ac:spMkLst>
        </pc:spChg>
      </pc:sldChg>
      <pc:sldChg chg="modSp">
        <pc:chgData name="Alana Rivera" userId="S::arg3669@ads.northwestern.edu::fc8b707a-b7e9-4f2a-8d71-2d76819b7881" providerId="AD" clId="Web-{FC194283-EEC6-0521-D05D-577D27A78776}" dt="2023-10-30T20:01:29.616" v="25" actId="20577"/>
        <pc:sldMkLst>
          <pc:docMk/>
          <pc:sldMk cId="785115983" sldId="578"/>
        </pc:sldMkLst>
        <pc:spChg chg="mod">
          <ac:chgData name="Alana Rivera" userId="S::arg3669@ads.northwestern.edu::fc8b707a-b7e9-4f2a-8d71-2d76819b7881" providerId="AD" clId="Web-{FC194283-EEC6-0521-D05D-577D27A78776}" dt="2023-10-30T20:01:24.991" v="22" actId="20577"/>
          <ac:spMkLst>
            <pc:docMk/>
            <pc:sldMk cId="785115983" sldId="578"/>
            <ac:spMk id="46" creationId="{00000000-0000-0000-0000-000000000000}"/>
          </ac:spMkLst>
        </pc:spChg>
        <pc:spChg chg="mod">
          <ac:chgData name="Alana Rivera" userId="S::arg3669@ads.northwestern.edu::fc8b707a-b7e9-4f2a-8d71-2d76819b7881" providerId="AD" clId="Web-{FC194283-EEC6-0521-D05D-577D27A78776}" dt="2023-10-30T20:01:29.616" v="25" actId="20577"/>
          <ac:spMkLst>
            <pc:docMk/>
            <pc:sldMk cId="785115983" sldId="578"/>
            <ac:spMk id="47" creationId="{00000000-0000-0000-0000-000000000000}"/>
          </ac:spMkLst>
        </pc:spChg>
        <pc:spChg chg="mod">
          <ac:chgData name="Alana Rivera" userId="S::arg3669@ads.northwestern.edu::fc8b707a-b7e9-4f2a-8d71-2d76819b7881" providerId="AD" clId="Web-{FC194283-EEC6-0521-D05D-577D27A78776}" dt="2023-10-30T20:01:28.257" v="24" actId="20577"/>
          <ac:spMkLst>
            <pc:docMk/>
            <pc:sldMk cId="785115983" sldId="578"/>
            <ac:spMk id="50" creationId="{00000000-0000-0000-0000-000000000000}"/>
          </ac:spMkLst>
        </pc:spChg>
      </pc:sldChg>
      <pc:sldChg chg="modSp">
        <pc:chgData name="Alana Rivera" userId="S::arg3669@ads.northwestern.edu::fc8b707a-b7e9-4f2a-8d71-2d76819b7881" providerId="AD" clId="Web-{FC194283-EEC6-0521-D05D-577D27A78776}" dt="2023-10-30T20:01:59.492" v="31"/>
        <pc:sldMkLst>
          <pc:docMk/>
          <pc:sldMk cId="3030449316" sldId="579"/>
        </pc:sldMkLst>
        <pc:spChg chg="mod">
          <ac:chgData name="Alana Rivera" userId="S::arg3669@ads.northwestern.edu::fc8b707a-b7e9-4f2a-8d71-2d76819b7881" providerId="AD" clId="Web-{FC194283-EEC6-0521-D05D-577D27A78776}" dt="2023-10-30T20:01:59.477" v="30"/>
          <ac:spMkLst>
            <pc:docMk/>
            <pc:sldMk cId="3030449316" sldId="579"/>
            <ac:spMk id="4" creationId="{00000000-0000-0000-0000-000000000000}"/>
          </ac:spMkLst>
        </pc:spChg>
        <pc:spChg chg="mod">
          <ac:chgData name="Alana Rivera" userId="S::arg3669@ads.northwestern.edu::fc8b707a-b7e9-4f2a-8d71-2d76819b7881" providerId="AD" clId="Web-{FC194283-EEC6-0521-D05D-577D27A78776}" dt="2023-10-30T20:01:59.492" v="31"/>
          <ac:spMkLst>
            <pc:docMk/>
            <pc:sldMk cId="3030449316" sldId="579"/>
            <ac:spMk id="5" creationId="{00000000-0000-0000-0000-000000000000}"/>
          </ac:spMkLst>
        </pc:spChg>
        <pc:spChg chg="mod">
          <ac:chgData name="Alana Rivera" userId="S::arg3669@ads.northwestern.edu::fc8b707a-b7e9-4f2a-8d71-2d76819b7881" providerId="AD" clId="Web-{FC194283-EEC6-0521-D05D-577D27A78776}" dt="2023-10-30T20:01:40.304" v="26" actId="20577"/>
          <ac:spMkLst>
            <pc:docMk/>
            <pc:sldMk cId="3030449316" sldId="579"/>
            <ac:spMk id="46" creationId="{00000000-0000-0000-0000-000000000000}"/>
          </ac:spMkLst>
        </pc:spChg>
        <pc:spChg chg="mod">
          <ac:chgData name="Alana Rivera" userId="S::arg3669@ads.northwestern.edu::fc8b707a-b7e9-4f2a-8d71-2d76819b7881" providerId="AD" clId="Web-{FC194283-EEC6-0521-D05D-577D27A78776}" dt="2023-10-30T20:01:50.039" v="29" actId="14100"/>
          <ac:spMkLst>
            <pc:docMk/>
            <pc:sldMk cId="3030449316" sldId="579"/>
            <ac:spMk id="47" creationId="{00000000-0000-0000-0000-000000000000}"/>
          </ac:spMkLst>
        </pc:spChg>
        <pc:spChg chg="mod">
          <ac:chgData name="Alana Rivera" userId="S::arg3669@ads.northwestern.edu::fc8b707a-b7e9-4f2a-8d71-2d76819b7881" providerId="AD" clId="Web-{FC194283-EEC6-0521-D05D-577D27A78776}" dt="2023-10-30T20:01:43.664" v="27" actId="20577"/>
          <ac:spMkLst>
            <pc:docMk/>
            <pc:sldMk cId="3030449316" sldId="579"/>
            <ac:spMk id="50" creationId="{00000000-0000-0000-0000-000000000000}"/>
          </ac:spMkLst>
        </pc:spChg>
      </pc:sldChg>
      <pc:sldChg chg="modSp">
        <pc:chgData name="Alana Rivera" userId="S::arg3669@ads.northwestern.edu::fc8b707a-b7e9-4f2a-8d71-2d76819b7881" providerId="AD" clId="Web-{FC194283-EEC6-0521-D05D-577D27A78776}" dt="2023-10-30T20:02:39.259" v="40" actId="20577"/>
        <pc:sldMkLst>
          <pc:docMk/>
          <pc:sldMk cId="4283907660" sldId="580"/>
        </pc:sldMkLst>
        <pc:spChg chg="mod">
          <ac:chgData name="Alana Rivera" userId="S::arg3669@ads.northwestern.edu::fc8b707a-b7e9-4f2a-8d71-2d76819b7881" providerId="AD" clId="Web-{FC194283-EEC6-0521-D05D-577D27A78776}" dt="2023-10-30T20:02:19.508" v="32"/>
          <ac:spMkLst>
            <pc:docMk/>
            <pc:sldMk cId="4283907660" sldId="580"/>
            <ac:spMk id="49" creationId="{00000000-0000-0000-0000-000000000000}"/>
          </ac:spMkLst>
        </pc:spChg>
        <pc:spChg chg="mod">
          <ac:chgData name="Alana Rivera" userId="S::arg3669@ads.northwestern.edu::fc8b707a-b7e9-4f2a-8d71-2d76819b7881" providerId="AD" clId="Web-{FC194283-EEC6-0521-D05D-577D27A78776}" dt="2023-10-30T20:02:19.540" v="33"/>
          <ac:spMkLst>
            <pc:docMk/>
            <pc:sldMk cId="4283907660" sldId="580"/>
            <ac:spMk id="50" creationId="{00000000-0000-0000-0000-000000000000}"/>
          </ac:spMkLst>
        </pc:spChg>
        <pc:spChg chg="mod">
          <ac:chgData name="Alana Rivera" userId="S::arg3669@ads.northwestern.edu::fc8b707a-b7e9-4f2a-8d71-2d76819b7881" providerId="AD" clId="Web-{FC194283-EEC6-0521-D05D-577D27A78776}" dt="2023-10-30T20:02:39.259" v="40" actId="20577"/>
          <ac:spMkLst>
            <pc:docMk/>
            <pc:sldMk cId="4283907660" sldId="580"/>
            <ac:spMk id="60" creationId="{00000000-0000-0000-0000-000000000000}"/>
          </ac:spMkLst>
        </pc:spChg>
        <pc:spChg chg="mod">
          <ac:chgData name="Alana Rivera" userId="S::arg3669@ads.northwestern.edu::fc8b707a-b7e9-4f2a-8d71-2d76819b7881" providerId="AD" clId="Web-{FC194283-EEC6-0521-D05D-577D27A78776}" dt="2023-10-30T20:02:32.149" v="38" actId="20577"/>
          <ac:spMkLst>
            <pc:docMk/>
            <pc:sldMk cId="4283907660" sldId="580"/>
            <ac:spMk id="61" creationId="{00000000-0000-0000-0000-000000000000}"/>
          </ac:spMkLst>
        </pc:spChg>
        <pc:spChg chg="mod">
          <ac:chgData name="Alana Rivera" userId="S::arg3669@ads.northwestern.edu::fc8b707a-b7e9-4f2a-8d71-2d76819b7881" providerId="AD" clId="Web-{FC194283-EEC6-0521-D05D-577D27A78776}" dt="2023-10-30T20:02:37.884" v="39" actId="20577"/>
          <ac:spMkLst>
            <pc:docMk/>
            <pc:sldMk cId="4283907660" sldId="580"/>
            <ac:spMk id="63" creationId="{00000000-0000-0000-0000-000000000000}"/>
          </ac:spMkLst>
        </pc:spChg>
        <pc:spChg chg="mod">
          <ac:chgData name="Alana Rivera" userId="S::arg3669@ads.northwestern.edu::fc8b707a-b7e9-4f2a-8d71-2d76819b7881" providerId="AD" clId="Web-{FC194283-EEC6-0521-D05D-577D27A78776}" dt="2023-10-30T20:02:28.790" v="37" actId="20577"/>
          <ac:spMkLst>
            <pc:docMk/>
            <pc:sldMk cId="4283907660" sldId="580"/>
            <ac:spMk id="64" creationId="{00000000-0000-0000-0000-000000000000}"/>
          </ac:spMkLst>
        </pc:spChg>
        <pc:spChg chg="mod">
          <ac:chgData name="Alana Rivera" userId="S::arg3669@ads.northwestern.edu::fc8b707a-b7e9-4f2a-8d71-2d76819b7881" providerId="AD" clId="Web-{FC194283-EEC6-0521-D05D-577D27A78776}" dt="2023-10-30T20:02:26.305" v="36" actId="20577"/>
          <ac:spMkLst>
            <pc:docMk/>
            <pc:sldMk cId="4283907660" sldId="580"/>
            <ac:spMk id="67" creationId="{00000000-0000-0000-0000-000000000000}"/>
          </ac:spMkLst>
        </pc:spChg>
        <pc:spChg chg="mod">
          <ac:chgData name="Alana Rivera" userId="S::arg3669@ads.northwestern.edu::fc8b707a-b7e9-4f2a-8d71-2d76819b7881" providerId="AD" clId="Web-{FC194283-EEC6-0521-D05D-577D27A78776}" dt="2023-10-30T20:02:25.024" v="35" actId="20577"/>
          <ac:spMkLst>
            <pc:docMk/>
            <pc:sldMk cId="4283907660" sldId="580"/>
            <ac:spMk id="68" creationId="{00000000-0000-0000-0000-000000000000}"/>
          </ac:spMkLst>
        </pc:spChg>
      </pc:sldChg>
      <pc:sldChg chg="addSp modSp">
        <pc:chgData name="Alana Rivera" userId="S::arg3669@ads.northwestern.edu::fc8b707a-b7e9-4f2a-8d71-2d76819b7881" providerId="AD" clId="Web-{FC194283-EEC6-0521-D05D-577D27A78776}" dt="2023-10-30T20:03:32.526" v="50" actId="20577"/>
        <pc:sldMkLst>
          <pc:docMk/>
          <pc:sldMk cId="3429940818" sldId="581"/>
        </pc:sldMkLst>
        <pc:spChg chg="mod">
          <ac:chgData name="Alana Rivera" userId="S::arg3669@ads.northwestern.edu::fc8b707a-b7e9-4f2a-8d71-2d76819b7881" providerId="AD" clId="Web-{FC194283-EEC6-0521-D05D-577D27A78776}" dt="2023-10-30T20:03:00.400" v="42"/>
          <ac:spMkLst>
            <pc:docMk/>
            <pc:sldMk cId="3429940818" sldId="581"/>
            <ac:spMk id="4" creationId="{00000000-0000-0000-0000-000000000000}"/>
          </ac:spMkLst>
        </pc:spChg>
        <pc:spChg chg="mod">
          <ac:chgData name="Alana Rivera" userId="S::arg3669@ads.northwestern.edu::fc8b707a-b7e9-4f2a-8d71-2d76819b7881" providerId="AD" clId="Web-{FC194283-EEC6-0521-D05D-577D27A78776}" dt="2023-10-30T20:03:00.432" v="43"/>
          <ac:spMkLst>
            <pc:docMk/>
            <pc:sldMk cId="3429940818" sldId="581"/>
            <ac:spMk id="5" creationId="{00000000-0000-0000-0000-000000000000}"/>
          </ac:spMkLst>
        </pc:spChg>
        <pc:spChg chg="mod">
          <ac:chgData name="Alana Rivera" userId="S::arg3669@ads.northwestern.edu::fc8b707a-b7e9-4f2a-8d71-2d76819b7881" providerId="AD" clId="Web-{FC194283-EEC6-0521-D05D-577D27A78776}" dt="2023-10-30T20:03:29.604" v="49" actId="20577"/>
          <ac:spMkLst>
            <pc:docMk/>
            <pc:sldMk cId="3429940818" sldId="581"/>
            <ac:spMk id="59" creationId="{00000000-0000-0000-0000-000000000000}"/>
          </ac:spMkLst>
        </pc:spChg>
        <pc:spChg chg="mod">
          <ac:chgData name="Alana Rivera" userId="S::arg3669@ads.northwestern.edu::fc8b707a-b7e9-4f2a-8d71-2d76819b7881" providerId="AD" clId="Web-{FC194283-EEC6-0521-D05D-577D27A78776}" dt="2023-10-30T20:03:32.526" v="50" actId="20577"/>
          <ac:spMkLst>
            <pc:docMk/>
            <pc:sldMk cId="3429940818" sldId="581"/>
            <ac:spMk id="63" creationId="{00000000-0000-0000-0000-000000000000}"/>
          </ac:spMkLst>
        </pc:spChg>
        <pc:spChg chg="mod">
          <ac:chgData name="Alana Rivera" userId="S::arg3669@ads.northwestern.edu::fc8b707a-b7e9-4f2a-8d71-2d76819b7881" providerId="AD" clId="Web-{FC194283-EEC6-0521-D05D-577D27A78776}" dt="2023-10-30T20:03:21.713" v="47" actId="20577"/>
          <ac:spMkLst>
            <pc:docMk/>
            <pc:sldMk cId="3429940818" sldId="581"/>
            <ac:spMk id="64" creationId="{00000000-0000-0000-0000-000000000000}"/>
          </ac:spMkLst>
        </pc:spChg>
        <pc:spChg chg="mod">
          <ac:chgData name="Alana Rivera" userId="S::arg3669@ads.northwestern.edu::fc8b707a-b7e9-4f2a-8d71-2d76819b7881" providerId="AD" clId="Web-{FC194283-EEC6-0521-D05D-577D27A78776}" dt="2023-10-30T20:03:24.745" v="48" actId="20577"/>
          <ac:spMkLst>
            <pc:docMk/>
            <pc:sldMk cId="3429940818" sldId="581"/>
            <ac:spMk id="67" creationId="{00000000-0000-0000-0000-000000000000}"/>
          </ac:spMkLst>
        </pc:spChg>
        <pc:spChg chg="mod">
          <ac:chgData name="Alana Rivera" userId="S::arg3669@ads.northwestern.edu::fc8b707a-b7e9-4f2a-8d71-2d76819b7881" providerId="AD" clId="Web-{FC194283-EEC6-0521-D05D-577D27A78776}" dt="2023-10-30T20:03:17.995" v="46" actId="1076"/>
          <ac:spMkLst>
            <pc:docMk/>
            <pc:sldMk cId="3429940818" sldId="581"/>
            <ac:spMk id="69" creationId="{00000000-0000-0000-0000-000000000000}"/>
          </ac:spMkLst>
        </pc:spChg>
        <pc:spChg chg="mod">
          <ac:chgData name="Alana Rivera" userId="S::arg3669@ads.northwestern.edu::fc8b707a-b7e9-4f2a-8d71-2d76819b7881" providerId="AD" clId="Web-{FC194283-EEC6-0521-D05D-577D27A78776}" dt="2023-10-30T20:02:56.338" v="41" actId="20577"/>
          <ac:spMkLst>
            <pc:docMk/>
            <pc:sldMk cId="3429940818" sldId="581"/>
            <ac:spMk id="70" creationId="{00000000-0000-0000-0000-000000000000}"/>
          </ac:spMkLst>
        </pc:spChg>
        <pc:spChg chg="mod">
          <ac:chgData name="Alana Rivera" userId="S::arg3669@ads.northwestern.edu::fc8b707a-b7e9-4f2a-8d71-2d76819b7881" providerId="AD" clId="Web-{FC194283-EEC6-0521-D05D-577D27A78776}" dt="2023-10-30T20:00:47.334" v="17" actId="20577"/>
          <ac:spMkLst>
            <pc:docMk/>
            <pc:sldMk cId="3429940818" sldId="581"/>
            <ac:spMk id="73" creationId="{1A989E17-799A-6415-ED4B-A44CCA00B657}"/>
          </ac:spMkLst>
        </pc:spChg>
        <pc:spChg chg="add mod">
          <ac:chgData name="Alana Rivera" userId="S::arg3669@ads.northwestern.edu::fc8b707a-b7e9-4f2a-8d71-2d76819b7881" providerId="AD" clId="Web-{FC194283-EEC6-0521-D05D-577D27A78776}" dt="2023-10-30T20:00:44.552" v="16" actId="1076"/>
          <ac:spMkLst>
            <pc:docMk/>
            <pc:sldMk cId="3429940818" sldId="581"/>
            <ac:spMk id="75" creationId="{20D2DCD7-9B15-FB75-E33B-CECC88A394B8}"/>
          </ac:spMkLst>
        </pc:spChg>
      </pc:sldChg>
      <pc:sldChg chg="modSp">
        <pc:chgData name="Alana Rivera" userId="S::arg3669@ads.northwestern.edu::fc8b707a-b7e9-4f2a-8d71-2d76819b7881" providerId="AD" clId="Web-{FC194283-EEC6-0521-D05D-577D27A78776}" dt="2023-10-30T19:54:28.463" v="13"/>
        <pc:sldMkLst>
          <pc:docMk/>
          <pc:sldMk cId="3850125703" sldId="622"/>
        </pc:sldMkLst>
        <pc:spChg chg="mod">
          <ac:chgData name="Alana Rivera" userId="S::arg3669@ads.northwestern.edu::fc8b707a-b7e9-4f2a-8d71-2d76819b7881" providerId="AD" clId="Web-{FC194283-EEC6-0521-D05D-577D27A78776}" dt="2023-10-30T19:54:13.603" v="8"/>
          <ac:spMkLst>
            <pc:docMk/>
            <pc:sldMk cId="3850125703" sldId="622"/>
            <ac:spMk id="43" creationId="{00000000-0000-0000-0000-000000000000}"/>
          </ac:spMkLst>
        </pc:spChg>
        <pc:spChg chg="mod">
          <ac:chgData name="Alana Rivera" userId="S::arg3669@ads.northwestern.edu::fc8b707a-b7e9-4f2a-8d71-2d76819b7881" providerId="AD" clId="Web-{FC194283-EEC6-0521-D05D-577D27A78776}" dt="2023-10-30T19:54:13.619" v="9"/>
          <ac:spMkLst>
            <pc:docMk/>
            <pc:sldMk cId="3850125703" sldId="622"/>
            <ac:spMk id="44" creationId="{00000000-0000-0000-0000-000000000000}"/>
          </ac:spMkLst>
        </pc:spChg>
        <pc:spChg chg="mod">
          <ac:chgData name="Alana Rivera" userId="S::arg3669@ads.northwestern.edu::fc8b707a-b7e9-4f2a-8d71-2d76819b7881" providerId="AD" clId="Web-{FC194283-EEC6-0521-D05D-577D27A78776}" dt="2023-10-30T19:54:28.463" v="13"/>
          <ac:spMkLst>
            <pc:docMk/>
            <pc:sldMk cId="3850125703" sldId="622"/>
            <ac:spMk id="46" creationId="{00000000-0000-0000-0000-000000000000}"/>
          </ac:spMkLst>
        </pc:spChg>
        <pc:spChg chg="mod">
          <ac:chgData name="Alana Rivera" userId="S::arg3669@ads.northwestern.edu::fc8b707a-b7e9-4f2a-8d71-2d76819b7881" providerId="AD" clId="Web-{FC194283-EEC6-0521-D05D-577D27A78776}" dt="2023-10-30T19:54:28.463" v="12"/>
          <ac:spMkLst>
            <pc:docMk/>
            <pc:sldMk cId="3850125703" sldId="622"/>
            <ac:spMk id="47" creationId="{00000000-0000-0000-0000-000000000000}"/>
          </ac:spMkLst>
        </pc:spChg>
        <pc:spChg chg="mod">
          <ac:chgData name="Alana Rivera" userId="S::arg3669@ads.northwestern.edu::fc8b707a-b7e9-4f2a-8d71-2d76819b7881" providerId="AD" clId="Web-{FC194283-EEC6-0521-D05D-577D27A78776}" dt="2023-10-30T19:53:22.024" v="4"/>
          <ac:spMkLst>
            <pc:docMk/>
            <pc:sldMk cId="3850125703" sldId="622"/>
            <ac:spMk id="49" creationId="{00000000-0000-0000-0000-000000000000}"/>
          </ac:spMkLst>
        </pc:spChg>
      </pc:sldChg>
    </pc:docChg>
  </pc:docChgLst>
  <pc:docChgLst>
    <pc:chgData name="Alana Rivera" userId="S::arg3669@ads.northwestern.edu::fc8b707a-b7e9-4f2a-8d71-2d76819b7881" providerId="AD" clId="Web-{B6F32D0F-7EF8-C22A-D4AE-933B4E9674EC}"/>
    <pc:docChg chg="addSld delSld modSld">
      <pc:chgData name="Alana Rivera" userId="S::arg3669@ads.northwestern.edu::fc8b707a-b7e9-4f2a-8d71-2d76819b7881" providerId="AD" clId="Web-{B6F32D0F-7EF8-C22A-D4AE-933B4E9674EC}" dt="2023-10-24T04:39:00.705" v="171" actId="1076"/>
      <pc:docMkLst>
        <pc:docMk/>
      </pc:docMkLst>
      <pc:sldChg chg="addSp delSp modSp">
        <pc:chgData name="Alana Rivera" userId="S::arg3669@ads.northwestern.edu::fc8b707a-b7e9-4f2a-8d71-2d76819b7881" providerId="AD" clId="Web-{B6F32D0F-7EF8-C22A-D4AE-933B4E9674EC}" dt="2023-10-24T03:42:19.146" v="30" actId="1076"/>
        <pc:sldMkLst>
          <pc:docMk/>
          <pc:sldMk cId="3127921386" sldId="280"/>
        </pc:sldMkLst>
        <pc:spChg chg="mod">
          <ac:chgData name="Alana Rivera" userId="S::arg3669@ads.northwestern.edu::fc8b707a-b7e9-4f2a-8d71-2d76819b7881" providerId="AD" clId="Web-{B6F32D0F-7EF8-C22A-D4AE-933B4E9674EC}" dt="2023-10-24T03:41:54.802" v="25" actId="1076"/>
          <ac:spMkLst>
            <pc:docMk/>
            <pc:sldMk cId="3127921386" sldId="280"/>
            <ac:spMk id="3" creationId="{1D742501-F937-8041-84E5-748F96AE991B}"/>
          </ac:spMkLst>
        </pc:spChg>
        <pc:spChg chg="del">
          <ac:chgData name="Alana Rivera" userId="S::arg3669@ads.northwestern.edu::fc8b707a-b7e9-4f2a-8d71-2d76819b7881" providerId="AD" clId="Web-{B6F32D0F-7EF8-C22A-D4AE-933B4E9674EC}" dt="2023-10-24T03:42:06.005" v="26"/>
          <ac:spMkLst>
            <pc:docMk/>
            <pc:sldMk cId="3127921386" sldId="280"/>
            <ac:spMk id="4" creationId="{19922563-64D6-2A4E-B048-13AC25DB45AD}"/>
          </ac:spMkLst>
        </pc:spChg>
        <pc:spChg chg="add del mod">
          <ac:chgData name="Alana Rivera" userId="S::arg3669@ads.northwestern.edu::fc8b707a-b7e9-4f2a-8d71-2d76819b7881" providerId="AD" clId="Web-{B6F32D0F-7EF8-C22A-D4AE-933B4E9674EC}" dt="2023-10-24T03:40:43.425" v="10"/>
          <ac:spMkLst>
            <pc:docMk/>
            <pc:sldMk cId="3127921386" sldId="280"/>
            <ac:spMk id="6" creationId="{E0CA01DF-B159-7E00-0A28-663487A43E23}"/>
          </ac:spMkLst>
        </pc:spChg>
        <pc:spChg chg="add del mod">
          <ac:chgData name="Alana Rivera" userId="S::arg3669@ads.northwestern.edu::fc8b707a-b7e9-4f2a-8d71-2d76819b7881" providerId="AD" clId="Web-{B6F32D0F-7EF8-C22A-D4AE-933B4E9674EC}" dt="2023-10-24T03:42:15.037" v="29"/>
          <ac:spMkLst>
            <pc:docMk/>
            <pc:sldMk cId="3127921386" sldId="280"/>
            <ac:spMk id="8" creationId="{9B053BCB-F81B-7717-0313-99518A680707}"/>
          </ac:spMkLst>
        </pc:spChg>
        <pc:spChg chg="add mod">
          <ac:chgData name="Alana Rivera" userId="S::arg3669@ads.northwestern.edu::fc8b707a-b7e9-4f2a-8d71-2d76819b7881" providerId="AD" clId="Web-{B6F32D0F-7EF8-C22A-D4AE-933B4E9674EC}" dt="2023-10-24T03:42:19.146" v="30" actId="1076"/>
          <ac:spMkLst>
            <pc:docMk/>
            <pc:sldMk cId="3127921386" sldId="280"/>
            <ac:spMk id="9" creationId="{7F20A429-9947-F447-2DF2-A5C17B5C6EC1}"/>
          </ac:spMkLst>
        </pc:spChg>
        <pc:picChg chg="add mod">
          <ac:chgData name="Alana Rivera" userId="S::arg3669@ads.northwestern.edu::fc8b707a-b7e9-4f2a-8d71-2d76819b7881" providerId="AD" clId="Web-{B6F32D0F-7EF8-C22A-D4AE-933B4E9674EC}" dt="2023-10-24T03:41:04.082" v="13" actId="1076"/>
          <ac:picMkLst>
            <pc:docMk/>
            <pc:sldMk cId="3127921386" sldId="280"/>
            <ac:picMk id="2" creationId="{0D7C69D0-240C-8322-D521-66F461EE341B}"/>
          </ac:picMkLst>
        </pc:picChg>
        <pc:picChg chg="del mod">
          <ac:chgData name="Alana Rivera" userId="S::arg3669@ads.northwestern.edu::fc8b707a-b7e9-4f2a-8d71-2d76819b7881" providerId="AD" clId="Web-{B6F32D0F-7EF8-C22A-D4AE-933B4E9674EC}" dt="2023-10-24T03:40:29.909" v="6"/>
          <ac:picMkLst>
            <pc:docMk/>
            <pc:sldMk cId="3127921386" sldId="280"/>
            <ac:picMk id="25" creationId="{AFDEE866-04F7-BF46-8FB4-0968BA571C5D}"/>
          </ac:picMkLst>
        </pc:picChg>
      </pc:sldChg>
      <pc:sldChg chg="del">
        <pc:chgData name="Alana Rivera" userId="S::arg3669@ads.northwestern.edu::fc8b707a-b7e9-4f2a-8d71-2d76819b7881" providerId="AD" clId="Web-{B6F32D0F-7EF8-C22A-D4AE-933B4E9674EC}" dt="2023-10-24T03:20:44.965" v="3"/>
        <pc:sldMkLst>
          <pc:docMk/>
          <pc:sldMk cId="3252939964" sldId="282"/>
        </pc:sldMkLst>
      </pc:sldChg>
      <pc:sldChg chg="modSp">
        <pc:chgData name="Alana Rivera" userId="S::arg3669@ads.northwestern.edu::fc8b707a-b7e9-4f2a-8d71-2d76819b7881" providerId="AD" clId="Web-{B6F32D0F-7EF8-C22A-D4AE-933B4E9674EC}" dt="2023-10-24T03:19:53.541" v="2" actId="20577"/>
        <pc:sldMkLst>
          <pc:docMk/>
          <pc:sldMk cId="4044691067" sldId="283"/>
        </pc:sldMkLst>
        <pc:spChg chg="mod">
          <ac:chgData name="Alana Rivera" userId="S::arg3669@ads.northwestern.edu::fc8b707a-b7e9-4f2a-8d71-2d76819b7881" providerId="AD" clId="Web-{B6F32D0F-7EF8-C22A-D4AE-933B4E9674EC}" dt="2023-10-24T03:19:53.541" v="2" actId="20577"/>
          <ac:spMkLst>
            <pc:docMk/>
            <pc:sldMk cId="4044691067" sldId="283"/>
            <ac:spMk id="3" creationId="{00000000-0000-0000-0000-000000000000}"/>
          </ac:spMkLst>
        </pc:spChg>
      </pc:sldChg>
      <pc:sldChg chg="modSp">
        <pc:chgData name="Alana Rivera" userId="S::arg3669@ads.northwestern.edu::fc8b707a-b7e9-4f2a-8d71-2d76819b7881" providerId="AD" clId="Web-{B6F32D0F-7EF8-C22A-D4AE-933B4E9674EC}" dt="2023-10-24T03:42:36.294" v="31"/>
        <pc:sldMkLst>
          <pc:docMk/>
          <pc:sldMk cId="2338849283" sldId="290"/>
        </pc:sldMkLst>
        <pc:spChg chg="mod">
          <ac:chgData name="Alana Rivera" userId="S::arg3669@ads.northwestern.edu::fc8b707a-b7e9-4f2a-8d71-2d76819b7881" providerId="AD" clId="Web-{B6F32D0F-7EF8-C22A-D4AE-933B4E9674EC}" dt="2023-10-24T03:42:36.294" v="31"/>
          <ac:spMkLst>
            <pc:docMk/>
            <pc:sldMk cId="2338849283" sldId="290"/>
            <ac:spMk id="2" creationId="{04883840-FDEC-E449-F7BA-E78CCEC4DD34}"/>
          </ac:spMkLst>
        </pc:spChg>
      </pc:sldChg>
      <pc:sldChg chg="modSp">
        <pc:chgData name="Alana Rivera" userId="S::arg3669@ads.northwestern.edu::fc8b707a-b7e9-4f2a-8d71-2d76819b7881" providerId="AD" clId="Web-{B6F32D0F-7EF8-C22A-D4AE-933B4E9674EC}" dt="2023-10-24T03:43:25.296" v="46" actId="20577"/>
        <pc:sldMkLst>
          <pc:docMk/>
          <pc:sldMk cId="3635595752" sldId="545"/>
        </pc:sldMkLst>
        <pc:spChg chg="mod">
          <ac:chgData name="Alana Rivera" userId="S::arg3669@ads.northwestern.edu::fc8b707a-b7e9-4f2a-8d71-2d76819b7881" providerId="AD" clId="Web-{B6F32D0F-7EF8-C22A-D4AE-933B4E9674EC}" dt="2023-10-24T03:43:25.296" v="46" actId="20577"/>
          <ac:spMkLst>
            <pc:docMk/>
            <pc:sldMk cId="3635595752" sldId="545"/>
            <ac:spMk id="3" creationId="{BFE56240-A306-0E11-425A-7323821A42F2}"/>
          </ac:spMkLst>
        </pc:spChg>
      </pc:sldChg>
      <pc:sldChg chg="modSp">
        <pc:chgData name="Alana Rivera" userId="S::arg3669@ads.northwestern.edu::fc8b707a-b7e9-4f2a-8d71-2d76819b7881" providerId="AD" clId="Web-{B6F32D0F-7EF8-C22A-D4AE-933B4E9674EC}" dt="2023-10-24T04:10:37.837" v="47" actId="1076"/>
        <pc:sldMkLst>
          <pc:docMk/>
          <pc:sldMk cId="3845418986" sldId="563"/>
        </pc:sldMkLst>
        <pc:spChg chg="mod">
          <ac:chgData name="Alana Rivera" userId="S::arg3669@ads.northwestern.edu::fc8b707a-b7e9-4f2a-8d71-2d76819b7881" providerId="AD" clId="Web-{B6F32D0F-7EF8-C22A-D4AE-933B4E9674EC}" dt="2023-10-24T04:10:37.837" v="47" actId="1076"/>
          <ac:spMkLst>
            <pc:docMk/>
            <pc:sldMk cId="3845418986" sldId="563"/>
            <ac:spMk id="44" creationId="{00000000-0000-0000-0000-000000000000}"/>
          </ac:spMkLst>
        </pc:spChg>
      </pc:sldChg>
      <pc:sldChg chg="addSp modSp add">
        <pc:chgData name="Alana Rivera" userId="S::arg3669@ads.northwestern.edu::fc8b707a-b7e9-4f2a-8d71-2d76819b7881" providerId="AD" clId="Web-{B6F32D0F-7EF8-C22A-D4AE-933B4E9674EC}" dt="2023-10-24T04:27:47.156" v="116" actId="1076"/>
        <pc:sldMkLst>
          <pc:docMk/>
          <pc:sldMk cId="2564870475" sldId="566"/>
        </pc:sldMkLst>
        <pc:spChg chg="mod">
          <ac:chgData name="Alana Rivera" userId="S::arg3669@ads.northwestern.edu::fc8b707a-b7e9-4f2a-8d71-2d76819b7881" providerId="AD" clId="Web-{B6F32D0F-7EF8-C22A-D4AE-933B4E9674EC}" dt="2023-10-24T04:22:26.665" v="60" actId="1076"/>
          <ac:spMkLst>
            <pc:docMk/>
            <pc:sldMk cId="2564870475" sldId="566"/>
            <ac:spMk id="2" creationId="{00000000-0000-0000-0000-000000000000}"/>
          </ac:spMkLst>
        </pc:spChg>
        <pc:spChg chg="mod">
          <ac:chgData name="Alana Rivera" userId="S::arg3669@ads.northwestern.edu::fc8b707a-b7e9-4f2a-8d71-2d76819b7881" providerId="AD" clId="Web-{B6F32D0F-7EF8-C22A-D4AE-933B4E9674EC}" dt="2023-10-24T04:22:32.259" v="61" actId="1076"/>
          <ac:spMkLst>
            <pc:docMk/>
            <pc:sldMk cId="2564870475" sldId="566"/>
            <ac:spMk id="12" creationId="{00000000-0000-0000-0000-000000000000}"/>
          </ac:spMkLst>
        </pc:spChg>
        <pc:spChg chg="mod">
          <ac:chgData name="Alana Rivera" userId="S::arg3669@ads.northwestern.edu::fc8b707a-b7e9-4f2a-8d71-2d76819b7881" providerId="AD" clId="Web-{B6F32D0F-7EF8-C22A-D4AE-933B4E9674EC}" dt="2023-10-24T04:22:35.009" v="62" actId="1076"/>
          <ac:spMkLst>
            <pc:docMk/>
            <pc:sldMk cId="2564870475" sldId="566"/>
            <ac:spMk id="15" creationId="{00000000-0000-0000-0000-000000000000}"/>
          </ac:spMkLst>
        </pc:spChg>
        <pc:spChg chg="add mod">
          <ac:chgData name="Alana Rivera" userId="S::arg3669@ads.northwestern.edu::fc8b707a-b7e9-4f2a-8d71-2d76819b7881" providerId="AD" clId="Web-{B6F32D0F-7EF8-C22A-D4AE-933B4E9674EC}" dt="2023-10-24T04:22:38.759" v="63" actId="1076"/>
          <ac:spMkLst>
            <pc:docMk/>
            <pc:sldMk cId="2564870475" sldId="566"/>
            <ac:spMk id="23" creationId="{78B5A3B7-0107-74A6-42BE-EFADF14BEC3D}"/>
          </ac:spMkLst>
        </pc:spChg>
        <pc:picChg chg="add mod">
          <ac:chgData name="Alana Rivera" userId="S::arg3669@ads.northwestern.edu::fc8b707a-b7e9-4f2a-8d71-2d76819b7881" providerId="AD" clId="Web-{B6F32D0F-7EF8-C22A-D4AE-933B4E9674EC}" dt="2023-10-24T04:27:47.156" v="116" actId="1076"/>
          <ac:picMkLst>
            <pc:docMk/>
            <pc:sldMk cId="2564870475" sldId="566"/>
            <ac:picMk id="24" creationId="{BB2CB55F-0790-7175-FF6E-777FF2A900CC}"/>
          </ac:picMkLst>
        </pc:picChg>
      </pc:sldChg>
      <pc:sldChg chg="addSp delSp modSp add del replId">
        <pc:chgData name="Alana Rivera" userId="S::arg3669@ads.northwestern.edu::fc8b707a-b7e9-4f2a-8d71-2d76819b7881" providerId="AD" clId="Web-{B6F32D0F-7EF8-C22A-D4AE-933B4E9674EC}" dt="2023-10-24T04:39:00.705" v="171" actId="1076"/>
        <pc:sldMkLst>
          <pc:docMk/>
          <pc:sldMk cId="310672773" sldId="567"/>
        </pc:sldMkLst>
        <pc:spChg chg="mod">
          <ac:chgData name="Alana Rivera" userId="S::arg3669@ads.northwestern.edu::fc8b707a-b7e9-4f2a-8d71-2d76819b7881" providerId="AD" clId="Web-{B6F32D0F-7EF8-C22A-D4AE-933B4E9674EC}" dt="2023-10-24T04:27:59.609" v="118" actId="1076"/>
          <ac:spMkLst>
            <pc:docMk/>
            <pc:sldMk cId="310672773" sldId="567"/>
            <ac:spMk id="24" creationId="{00000000-0000-0000-0000-000000000000}"/>
          </ac:spMkLst>
        </pc:spChg>
        <pc:spChg chg="mod">
          <ac:chgData name="Alana Rivera" userId="S::arg3669@ads.northwestern.edu::fc8b707a-b7e9-4f2a-8d71-2d76819b7881" providerId="AD" clId="Web-{B6F32D0F-7EF8-C22A-D4AE-933B4E9674EC}" dt="2023-10-24T04:28:20.360" v="121" actId="1076"/>
          <ac:spMkLst>
            <pc:docMk/>
            <pc:sldMk cId="310672773" sldId="567"/>
            <ac:spMk id="25" creationId="{00000000-0000-0000-0000-000000000000}"/>
          </ac:spMkLst>
        </pc:spChg>
        <pc:spChg chg="del">
          <ac:chgData name="Alana Rivera" userId="S::arg3669@ads.northwestern.edu::fc8b707a-b7e9-4f2a-8d71-2d76819b7881" providerId="AD" clId="Web-{B6F32D0F-7EF8-C22A-D4AE-933B4E9674EC}" dt="2023-10-24T04:23:18.681" v="68"/>
          <ac:spMkLst>
            <pc:docMk/>
            <pc:sldMk cId="310672773" sldId="567"/>
            <ac:spMk id="26" creationId="{00000000-0000-0000-0000-000000000000}"/>
          </ac:spMkLst>
        </pc:spChg>
        <pc:spChg chg="del">
          <ac:chgData name="Alana Rivera" userId="S::arg3669@ads.northwestern.edu::fc8b707a-b7e9-4f2a-8d71-2d76819b7881" providerId="AD" clId="Web-{B6F32D0F-7EF8-C22A-D4AE-933B4E9674EC}" dt="2023-10-24T04:23:44.541" v="72"/>
          <ac:spMkLst>
            <pc:docMk/>
            <pc:sldMk cId="310672773" sldId="567"/>
            <ac:spMk id="27" creationId="{00000000-0000-0000-0000-000000000000}"/>
          </ac:spMkLst>
        </pc:spChg>
        <pc:spChg chg="del">
          <ac:chgData name="Alana Rivera" userId="S::arg3669@ads.northwestern.edu::fc8b707a-b7e9-4f2a-8d71-2d76819b7881" providerId="AD" clId="Web-{B6F32D0F-7EF8-C22A-D4AE-933B4E9674EC}" dt="2023-10-24T04:23:54.120" v="77"/>
          <ac:spMkLst>
            <pc:docMk/>
            <pc:sldMk cId="310672773" sldId="567"/>
            <ac:spMk id="28" creationId="{00000000-0000-0000-0000-000000000000}"/>
          </ac:spMkLst>
        </pc:spChg>
        <pc:spChg chg="del">
          <ac:chgData name="Alana Rivera" userId="S::arg3669@ads.northwestern.edu::fc8b707a-b7e9-4f2a-8d71-2d76819b7881" providerId="AD" clId="Web-{B6F32D0F-7EF8-C22A-D4AE-933B4E9674EC}" dt="2023-10-24T04:24:20.777" v="92"/>
          <ac:spMkLst>
            <pc:docMk/>
            <pc:sldMk cId="310672773" sldId="567"/>
            <ac:spMk id="29" creationId="{00000000-0000-0000-0000-000000000000}"/>
          </ac:spMkLst>
        </pc:spChg>
        <pc:spChg chg="del">
          <ac:chgData name="Alana Rivera" userId="S::arg3669@ads.northwestern.edu::fc8b707a-b7e9-4f2a-8d71-2d76819b7881" providerId="AD" clId="Web-{B6F32D0F-7EF8-C22A-D4AE-933B4E9674EC}" dt="2023-10-24T04:24:00.464" v="81"/>
          <ac:spMkLst>
            <pc:docMk/>
            <pc:sldMk cId="310672773" sldId="567"/>
            <ac:spMk id="30" creationId="{00000000-0000-0000-0000-000000000000}"/>
          </ac:spMkLst>
        </pc:spChg>
        <pc:spChg chg="del">
          <ac:chgData name="Alana Rivera" userId="S::arg3669@ads.northwestern.edu::fc8b707a-b7e9-4f2a-8d71-2d76819b7881" providerId="AD" clId="Web-{B6F32D0F-7EF8-C22A-D4AE-933B4E9674EC}" dt="2023-10-24T04:24:14.964" v="88"/>
          <ac:spMkLst>
            <pc:docMk/>
            <pc:sldMk cId="310672773" sldId="567"/>
            <ac:spMk id="32" creationId="{00000000-0000-0000-0000-000000000000}"/>
          </ac:spMkLst>
        </pc:spChg>
        <pc:spChg chg="del mod">
          <ac:chgData name="Alana Rivera" userId="S::arg3669@ads.northwestern.edu::fc8b707a-b7e9-4f2a-8d71-2d76819b7881" providerId="AD" clId="Web-{B6F32D0F-7EF8-C22A-D4AE-933B4E9674EC}" dt="2023-10-24T04:23:44.651" v="74"/>
          <ac:spMkLst>
            <pc:docMk/>
            <pc:sldMk cId="310672773" sldId="567"/>
            <ac:spMk id="33" creationId="{00000000-0000-0000-0000-000000000000}"/>
          </ac:spMkLst>
        </pc:spChg>
        <pc:spChg chg="del">
          <ac:chgData name="Alana Rivera" userId="S::arg3669@ads.northwestern.edu::fc8b707a-b7e9-4f2a-8d71-2d76819b7881" providerId="AD" clId="Web-{B6F32D0F-7EF8-C22A-D4AE-933B4E9674EC}" dt="2023-10-24T04:23:45.291" v="75"/>
          <ac:spMkLst>
            <pc:docMk/>
            <pc:sldMk cId="310672773" sldId="567"/>
            <ac:spMk id="34" creationId="{00000000-0000-0000-0000-000000000000}"/>
          </ac:spMkLst>
        </pc:spChg>
        <pc:spChg chg="del">
          <ac:chgData name="Alana Rivera" userId="S::arg3669@ads.northwestern.edu::fc8b707a-b7e9-4f2a-8d71-2d76819b7881" providerId="AD" clId="Web-{B6F32D0F-7EF8-C22A-D4AE-933B4E9674EC}" dt="2023-10-24T04:23:50.291" v="76"/>
          <ac:spMkLst>
            <pc:docMk/>
            <pc:sldMk cId="310672773" sldId="567"/>
            <ac:spMk id="35" creationId="{00000000-0000-0000-0000-000000000000}"/>
          </ac:spMkLst>
        </pc:spChg>
        <pc:spChg chg="del">
          <ac:chgData name="Alana Rivera" userId="S::arg3669@ads.northwestern.edu::fc8b707a-b7e9-4f2a-8d71-2d76819b7881" providerId="AD" clId="Web-{B6F32D0F-7EF8-C22A-D4AE-933B4E9674EC}" dt="2023-10-24T04:24:25.667" v="95"/>
          <ac:spMkLst>
            <pc:docMk/>
            <pc:sldMk cId="310672773" sldId="567"/>
            <ac:spMk id="36" creationId="{00000000-0000-0000-0000-000000000000}"/>
          </ac:spMkLst>
        </pc:spChg>
        <pc:spChg chg="del">
          <ac:chgData name="Alana Rivera" userId="S::arg3669@ads.northwestern.edu::fc8b707a-b7e9-4f2a-8d71-2d76819b7881" providerId="AD" clId="Web-{B6F32D0F-7EF8-C22A-D4AE-933B4E9674EC}" dt="2023-10-24T04:24:24.511" v="94"/>
          <ac:spMkLst>
            <pc:docMk/>
            <pc:sldMk cId="310672773" sldId="567"/>
            <ac:spMk id="37" creationId="{00000000-0000-0000-0000-000000000000}"/>
          </ac:spMkLst>
        </pc:spChg>
        <pc:spChg chg="del">
          <ac:chgData name="Alana Rivera" userId="S::arg3669@ads.northwestern.edu::fc8b707a-b7e9-4f2a-8d71-2d76819b7881" providerId="AD" clId="Web-{B6F32D0F-7EF8-C22A-D4AE-933B4E9674EC}" dt="2023-10-24T04:24:04.448" v="84"/>
          <ac:spMkLst>
            <pc:docMk/>
            <pc:sldMk cId="310672773" sldId="567"/>
            <ac:spMk id="38" creationId="{00000000-0000-0000-0000-000000000000}"/>
          </ac:spMkLst>
        </pc:spChg>
        <pc:spChg chg="del">
          <ac:chgData name="Alana Rivera" userId="S::arg3669@ads.northwestern.edu::fc8b707a-b7e9-4f2a-8d71-2d76819b7881" providerId="AD" clId="Web-{B6F32D0F-7EF8-C22A-D4AE-933B4E9674EC}" dt="2023-10-24T04:24:04.339" v="83"/>
          <ac:spMkLst>
            <pc:docMk/>
            <pc:sldMk cId="310672773" sldId="567"/>
            <ac:spMk id="39" creationId="{00000000-0000-0000-0000-000000000000}"/>
          </ac:spMkLst>
        </pc:spChg>
        <pc:spChg chg="del">
          <ac:chgData name="Alana Rivera" userId="S::arg3669@ads.northwestern.edu::fc8b707a-b7e9-4f2a-8d71-2d76819b7881" providerId="AD" clId="Web-{B6F32D0F-7EF8-C22A-D4AE-933B4E9674EC}" dt="2023-10-24T04:24:10.636" v="86"/>
          <ac:spMkLst>
            <pc:docMk/>
            <pc:sldMk cId="310672773" sldId="567"/>
            <ac:spMk id="40" creationId="{00000000-0000-0000-0000-000000000000}"/>
          </ac:spMkLst>
        </pc:spChg>
        <pc:spChg chg="del">
          <ac:chgData name="Alana Rivera" userId="S::arg3669@ads.northwestern.edu::fc8b707a-b7e9-4f2a-8d71-2d76819b7881" providerId="AD" clId="Web-{B6F32D0F-7EF8-C22A-D4AE-933B4E9674EC}" dt="2023-10-24T04:24:05.776" v="85"/>
          <ac:spMkLst>
            <pc:docMk/>
            <pc:sldMk cId="310672773" sldId="567"/>
            <ac:spMk id="41" creationId="{00000000-0000-0000-0000-000000000000}"/>
          </ac:spMkLst>
        </pc:spChg>
        <pc:spChg chg="del">
          <ac:chgData name="Alana Rivera" userId="S::arg3669@ads.northwestern.edu::fc8b707a-b7e9-4f2a-8d71-2d76819b7881" providerId="AD" clId="Web-{B6F32D0F-7EF8-C22A-D4AE-933B4E9674EC}" dt="2023-10-24T04:24:15.058" v="90"/>
          <ac:spMkLst>
            <pc:docMk/>
            <pc:sldMk cId="310672773" sldId="567"/>
            <ac:spMk id="42" creationId="{00000000-0000-0000-0000-000000000000}"/>
          </ac:spMkLst>
        </pc:spChg>
        <pc:spChg chg="del">
          <ac:chgData name="Alana Rivera" userId="S::arg3669@ads.northwestern.edu::fc8b707a-b7e9-4f2a-8d71-2d76819b7881" providerId="AD" clId="Web-{B6F32D0F-7EF8-C22A-D4AE-933B4E9674EC}" dt="2023-10-24T04:24:16.573" v="91"/>
          <ac:spMkLst>
            <pc:docMk/>
            <pc:sldMk cId="310672773" sldId="567"/>
            <ac:spMk id="43" creationId="{00000000-0000-0000-0000-000000000000}"/>
          </ac:spMkLst>
        </pc:spChg>
        <pc:spChg chg="mod">
          <ac:chgData name="Alana Rivera" userId="S::arg3669@ads.northwestern.edu::fc8b707a-b7e9-4f2a-8d71-2d76819b7881" providerId="AD" clId="Web-{B6F32D0F-7EF8-C22A-D4AE-933B4E9674EC}" dt="2023-10-24T04:28:16.641" v="120" actId="1076"/>
          <ac:spMkLst>
            <pc:docMk/>
            <pc:sldMk cId="310672773" sldId="567"/>
            <ac:spMk id="44" creationId="{00000000-0000-0000-0000-000000000000}"/>
          </ac:spMkLst>
        </pc:spChg>
        <pc:spChg chg="mod">
          <ac:chgData name="Alana Rivera" userId="S::arg3669@ads.northwestern.edu::fc8b707a-b7e9-4f2a-8d71-2d76819b7881" providerId="AD" clId="Web-{B6F32D0F-7EF8-C22A-D4AE-933B4E9674EC}" dt="2023-10-24T04:39:00.705" v="171" actId="1076"/>
          <ac:spMkLst>
            <pc:docMk/>
            <pc:sldMk cId="310672773" sldId="567"/>
            <ac:spMk id="45" creationId="{00000000-0000-0000-0000-000000000000}"/>
          </ac:spMkLst>
        </pc:spChg>
        <pc:spChg chg="del">
          <ac:chgData name="Alana Rivera" userId="S::arg3669@ads.northwestern.edu::fc8b707a-b7e9-4f2a-8d71-2d76819b7881" providerId="AD" clId="Web-{B6F32D0F-7EF8-C22A-D4AE-933B4E9674EC}" dt="2023-10-24T04:23:54.292" v="79"/>
          <ac:spMkLst>
            <pc:docMk/>
            <pc:sldMk cId="310672773" sldId="567"/>
            <ac:spMk id="46" creationId="{00000000-0000-0000-0000-000000000000}"/>
          </ac:spMkLst>
        </pc:spChg>
        <pc:spChg chg="del">
          <ac:chgData name="Alana Rivera" userId="S::arg3669@ads.northwestern.edu::fc8b707a-b7e9-4f2a-8d71-2d76819b7881" providerId="AD" clId="Web-{B6F32D0F-7EF8-C22A-D4AE-933B4E9674EC}" dt="2023-10-24T04:23:44.604" v="73"/>
          <ac:spMkLst>
            <pc:docMk/>
            <pc:sldMk cId="310672773" sldId="567"/>
            <ac:spMk id="47" creationId="{00000000-0000-0000-0000-000000000000}"/>
          </ac:spMkLst>
        </pc:spChg>
        <pc:spChg chg="del">
          <ac:chgData name="Alana Rivera" userId="S::arg3669@ads.northwestern.edu::fc8b707a-b7e9-4f2a-8d71-2d76819b7881" providerId="AD" clId="Web-{B6F32D0F-7EF8-C22A-D4AE-933B4E9674EC}" dt="2023-10-24T04:23:24.260" v="69"/>
          <ac:spMkLst>
            <pc:docMk/>
            <pc:sldMk cId="310672773" sldId="567"/>
            <ac:spMk id="48" creationId="{00000000-0000-0000-0000-000000000000}"/>
          </ac:spMkLst>
        </pc:spChg>
        <pc:spChg chg="del mod">
          <ac:chgData name="Alana Rivera" userId="S::arg3669@ads.northwestern.edu::fc8b707a-b7e9-4f2a-8d71-2d76819b7881" providerId="AD" clId="Web-{B6F32D0F-7EF8-C22A-D4AE-933B4E9674EC}" dt="2023-10-24T04:38:51.142" v="170"/>
          <ac:spMkLst>
            <pc:docMk/>
            <pc:sldMk cId="310672773" sldId="567"/>
            <ac:spMk id="49" creationId="{00000000-0000-0000-0000-000000000000}"/>
          </ac:spMkLst>
        </pc:spChg>
        <pc:spChg chg="add mod">
          <ac:chgData name="Alana Rivera" userId="S::arg3669@ads.northwestern.edu::fc8b707a-b7e9-4f2a-8d71-2d76819b7881" providerId="AD" clId="Web-{B6F32D0F-7EF8-C22A-D4AE-933B4E9674EC}" dt="2023-10-24T04:36:55.296" v="154" actId="14100"/>
          <ac:spMkLst>
            <pc:docMk/>
            <pc:sldMk cId="310672773" sldId="567"/>
            <ac:spMk id="50" creationId="{95B469C3-D645-40A9-B8DD-54193E200864}"/>
          </ac:spMkLst>
        </pc:spChg>
        <pc:spChg chg="add mod">
          <ac:chgData name="Alana Rivera" userId="S::arg3669@ads.northwestern.edu::fc8b707a-b7e9-4f2a-8d71-2d76819b7881" providerId="AD" clId="Web-{B6F32D0F-7EF8-C22A-D4AE-933B4E9674EC}" dt="2023-10-24T04:38:00.282" v="165" actId="20577"/>
          <ac:spMkLst>
            <pc:docMk/>
            <pc:sldMk cId="310672773" sldId="567"/>
            <ac:spMk id="51" creationId="{30D625CB-EE41-128F-FC0A-4E5883BC18EC}"/>
          </ac:spMkLst>
        </pc:spChg>
        <pc:spChg chg="add mod">
          <ac:chgData name="Alana Rivera" userId="S::arg3669@ads.northwestern.edu::fc8b707a-b7e9-4f2a-8d71-2d76819b7881" providerId="AD" clId="Web-{B6F32D0F-7EF8-C22A-D4AE-933B4E9674EC}" dt="2023-10-24T04:37:30.500" v="158" actId="1076"/>
          <ac:spMkLst>
            <pc:docMk/>
            <pc:sldMk cId="310672773" sldId="567"/>
            <ac:spMk id="52" creationId="{E8A77D57-8EE2-88D3-5381-D8E92995DA02}"/>
          </ac:spMkLst>
        </pc:spChg>
        <pc:spChg chg="add mod">
          <ac:chgData name="Alana Rivera" userId="S::arg3669@ads.northwestern.edu::fc8b707a-b7e9-4f2a-8d71-2d76819b7881" providerId="AD" clId="Web-{B6F32D0F-7EF8-C22A-D4AE-933B4E9674EC}" dt="2023-10-24T04:38:40.939" v="168"/>
          <ac:spMkLst>
            <pc:docMk/>
            <pc:sldMk cId="310672773" sldId="567"/>
            <ac:spMk id="53" creationId="{FBAF7918-02CE-7D9C-B338-0825A2E5C3E6}"/>
          </ac:spMkLst>
        </pc:spChg>
        <pc:grpChg chg="del">
          <ac:chgData name="Alana Rivera" userId="S::arg3669@ads.northwestern.edu::fc8b707a-b7e9-4f2a-8d71-2d76819b7881" providerId="AD" clId="Web-{B6F32D0F-7EF8-C22A-D4AE-933B4E9674EC}" dt="2023-10-24T04:23:55.401" v="80"/>
          <ac:grpSpMkLst>
            <pc:docMk/>
            <pc:sldMk cId="310672773" sldId="567"/>
            <ac:grpSpMk id="2" creationId="{00000000-0000-0000-0000-000000000000}"/>
          </ac:grpSpMkLst>
        </pc:grpChg>
        <pc:grpChg chg="del">
          <ac:chgData name="Alana Rivera" userId="S::arg3669@ads.northwestern.edu::fc8b707a-b7e9-4f2a-8d71-2d76819b7881" providerId="AD" clId="Web-{B6F32D0F-7EF8-C22A-D4AE-933B4E9674EC}" dt="2023-10-24T04:23:40.604" v="71"/>
          <ac:grpSpMkLst>
            <pc:docMk/>
            <pc:sldMk cId="310672773" sldId="567"/>
            <ac:grpSpMk id="5" creationId="{00000000-0000-0000-0000-000000000000}"/>
          </ac:grpSpMkLst>
        </pc:grpChg>
        <pc:grpChg chg="del">
          <ac:chgData name="Alana Rivera" userId="S::arg3669@ads.northwestern.edu::fc8b707a-b7e9-4f2a-8d71-2d76819b7881" providerId="AD" clId="Web-{B6F32D0F-7EF8-C22A-D4AE-933B4E9674EC}" dt="2023-10-24T04:24:04.292" v="82"/>
          <ac:grpSpMkLst>
            <pc:docMk/>
            <pc:sldMk cId="310672773" sldId="567"/>
            <ac:grpSpMk id="8" creationId="{00000000-0000-0000-0000-000000000000}"/>
          </ac:grpSpMkLst>
        </pc:grpChg>
        <pc:grpChg chg="del">
          <ac:chgData name="Alana Rivera" userId="S::arg3669@ads.northwestern.edu::fc8b707a-b7e9-4f2a-8d71-2d76819b7881" providerId="AD" clId="Web-{B6F32D0F-7EF8-C22A-D4AE-933B4E9674EC}" dt="2023-10-24T04:23:54.245" v="78"/>
          <ac:grpSpMkLst>
            <pc:docMk/>
            <pc:sldMk cId="310672773" sldId="567"/>
            <ac:grpSpMk id="11" creationId="{00000000-0000-0000-0000-000000000000}"/>
          </ac:grpSpMkLst>
        </pc:grpChg>
        <pc:grpChg chg="del">
          <ac:chgData name="Alana Rivera" userId="S::arg3669@ads.northwestern.edu::fc8b707a-b7e9-4f2a-8d71-2d76819b7881" providerId="AD" clId="Web-{B6F32D0F-7EF8-C22A-D4AE-933B4E9674EC}" dt="2023-10-24T04:24:14.870" v="87"/>
          <ac:grpSpMkLst>
            <pc:docMk/>
            <pc:sldMk cId="310672773" sldId="567"/>
            <ac:grpSpMk id="14" creationId="{00000000-0000-0000-0000-000000000000}"/>
          </ac:grpSpMkLst>
        </pc:grpChg>
        <pc:grpChg chg="del">
          <ac:chgData name="Alana Rivera" userId="S::arg3669@ads.northwestern.edu::fc8b707a-b7e9-4f2a-8d71-2d76819b7881" providerId="AD" clId="Web-{B6F32D0F-7EF8-C22A-D4AE-933B4E9674EC}" dt="2023-10-24T04:24:24.448" v="93"/>
          <ac:grpSpMkLst>
            <pc:docMk/>
            <pc:sldMk cId="310672773" sldId="567"/>
            <ac:grpSpMk id="17" creationId="{00000000-0000-0000-0000-000000000000}"/>
          </ac:grpSpMkLst>
        </pc:grpChg>
        <pc:grpChg chg="del">
          <ac:chgData name="Alana Rivera" userId="S::arg3669@ads.northwestern.edu::fc8b707a-b7e9-4f2a-8d71-2d76819b7881" providerId="AD" clId="Web-{B6F32D0F-7EF8-C22A-D4AE-933B4E9674EC}" dt="2023-10-24T04:24:14.980" v="89"/>
          <ac:grpSpMkLst>
            <pc:docMk/>
            <pc:sldMk cId="310672773" sldId="567"/>
            <ac:grpSpMk id="20" creationId="{00000000-0000-0000-0000-000000000000}"/>
          </ac:grpSpMkLst>
        </pc:grpChg>
      </pc:sldChg>
    </pc:docChg>
  </pc:docChgLst>
  <pc:docChgLst>
    <pc:chgData name="Eileen Fleming Suse" userId="S::efs3844@ads.northwestern.edu::725c94ef-d051-42d7-9d33-8572765d592b" providerId="AD" clId="Web-{AC5E249F-4AD8-EC7C-FB2F-902F01AC2000}"/>
    <pc:docChg chg="addSld delSld modSld sldOrd">
      <pc:chgData name="Eileen Fleming Suse" userId="S::efs3844@ads.northwestern.edu::725c94ef-d051-42d7-9d33-8572765d592b" providerId="AD" clId="Web-{AC5E249F-4AD8-EC7C-FB2F-902F01AC2000}" dt="2023-10-27T16:29:18.072" v="456" actId="1076"/>
      <pc:docMkLst>
        <pc:docMk/>
      </pc:docMkLst>
      <pc:sldChg chg="modSp modNotes">
        <pc:chgData name="Eileen Fleming Suse" userId="S::efs3844@ads.northwestern.edu::725c94ef-d051-42d7-9d33-8572765d592b" providerId="AD" clId="Web-{AC5E249F-4AD8-EC7C-FB2F-902F01AC2000}" dt="2023-10-27T16:29:18.072" v="456" actId="1076"/>
        <pc:sldMkLst>
          <pc:docMk/>
          <pc:sldMk cId="4044691067" sldId="283"/>
        </pc:sldMkLst>
        <pc:spChg chg="mod">
          <ac:chgData name="Eileen Fleming Suse" userId="S::efs3844@ads.northwestern.edu::725c94ef-d051-42d7-9d33-8572765d592b" providerId="AD" clId="Web-{AC5E249F-4AD8-EC7C-FB2F-902F01AC2000}" dt="2023-10-27T16:29:18.072" v="456" actId="1076"/>
          <ac:spMkLst>
            <pc:docMk/>
            <pc:sldMk cId="4044691067" sldId="283"/>
            <ac:spMk id="2" creationId="{00000000-0000-0000-0000-000000000000}"/>
          </ac:spMkLst>
        </pc:spChg>
        <pc:spChg chg="mod">
          <ac:chgData name="Eileen Fleming Suse" userId="S::efs3844@ads.northwestern.edu::725c94ef-d051-42d7-9d33-8572765d592b" providerId="AD" clId="Web-{AC5E249F-4AD8-EC7C-FB2F-902F01AC2000}" dt="2023-10-27T16:29:15.931" v="455" actId="1076"/>
          <ac:spMkLst>
            <pc:docMk/>
            <pc:sldMk cId="4044691067" sldId="283"/>
            <ac:spMk id="3" creationId="{00000000-0000-0000-0000-000000000000}"/>
          </ac:spMkLst>
        </pc:spChg>
        <pc:spChg chg="mod">
          <ac:chgData name="Eileen Fleming Suse" userId="S::efs3844@ads.northwestern.edu::725c94ef-d051-42d7-9d33-8572765d592b" providerId="AD" clId="Web-{AC5E249F-4AD8-EC7C-FB2F-902F01AC2000}" dt="2023-10-27T16:29:10.446" v="454" actId="14100"/>
          <ac:spMkLst>
            <pc:docMk/>
            <pc:sldMk cId="4044691067" sldId="283"/>
            <ac:spMk id="16387" creationId="{00000000-0000-0000-0000-000000000000}"/>
          </ac:spMkLst>
        </pc:spChg>
      </pc:sldChg>
      <pc:sldChg chg="addSp delSp">
        <pc:chgData name="Eileen Fleming Suse" userId="S::efs3844@ads.northwestern.edu::725c94ef-d051-42d7-9d33-8572765d592b" providerId="AD" clId="Web-{AC5E249F-4AD8-EC7C-FB2F-902F01AC2000}" dt="2023-10-26T21:58:41.182" v="151"/>
        <pc:sldMkLst>
          <pc:docMk/>
          <pc:sldMk cId="2351229145" sldId="544"/>
        </pc:sldMkLst>
        <pc:spChg chg="add del">
          <ac:chgData name="Eileen Fleming Suse" userId="S::efs3844@ads.northwestern.edu::725c94ef-d051-42d7-9d33-8572765d592b" providerId="AD" clId="Web-{AC5E249F-4AD8-EC7C-FB2F-902F01AC2000}" dt="2023-10-26T21:58:06.181" v="147"/>
          <ac:spMkLst>
            <pc:docMk/>
            <pc:sldMk cId="2351229145" sldId="544"/>
            <ac:spMk id="5" creationId="{36680922-E1CE-BE2F-3876-A01BCC5F7C11}"/>
          </ac:spMkLst>
        </pc:spChg>
        <pc:spChg chg="add del">
          <ac:chgData name="Eileen Fleming Suse" userId="S::efs3844@ads.northwestern.edu::725c94ef-d051-42d7-9d33-8572765d592b" providerId="AD" clId="Web-{AC5E249F-4AD8-EC7C-FB2F-902F01AC2000}" dt="2023-10-26T21:58:26.150" v="149"/>
          <ac:spMkLst>
            <pc:docMk/>
            <pc:sldMk cId="2351229145" sldId="544"/>
            <ac:spMk id="7" creationId="{DEE6C46D-5131-EC35-0A2F-8AA9AE4340CC}"/>
          </ac:spMkLst>
        </pc:spChg>
        <pc:spChg chg="add del">
          <ac:chgData name="Eileen Fleming Suse" userId="S::efs3844@ads.northwestern.edu::725c94ef-d051-42d7-9d33-8572765d592b" providerId="AD" clId="Web-{AC5E249F-4AD8-EC7C-FB2F-902F01AC2000}" dt="2023-10-26T21:58:41.182" v="151"/>
          <ac:spMkLst>
            <pc:docMk/>
            <pc:sldMk cId="2351229145" sldId="544"/>
            <ac:spMk id="9" creationId="{A6920F2C-76F5-7A5F-BA4C-F207C33F8197}"/>
          </ac:spMkLst>
        </pc:spChg>
      </pc:sldChg>
      <pc:sldChg chg="modSp">
        <pc:chgData name="Eileen Fleming Suse" userId="S::efs3844@ads.northwestern.edu::725c94ef-d051-42d7-9d33-8572765d592b" providerId="AD" clId="Web-{AC5E249F-4AD8-EC7C-FB2F-902F01AC2000}" dt="2023-10-26T19:51:49.576" v="8" actId="20577"/>
        <pc:sldMkLst>
          <pc:docMk/>
          <pc:sldMk cId="1036043289" sldId="546"/>
        </pc:sldMkLst>
        <pc:spChg chg="mod">
          <ac:chgData name="Eileen Fleming Suse" userId="S::efs3844@ads.northwestern.edu::725c94ef-d051-42d7-9d33-8572765d592b" providerId="AD" clId="Web-{AC5E249F-4AD8-EC7C-FB2F-902F01AC2000}" dt="2023-10-26T19:51:49.576" v="8" actId="20577"/>
          <ac:spMkLst>
            <pc:docMk/>
            <pc:sldMk cId="1036043289" sldId="546"/>
            <ac:spMk id="2" creationId="{67E16CF5-47C8-BEAD-25F8-81514DC0AF8B}"/>
          </ac:spMkLst>
        </pc:spChg>
      </pc:sldChg>
      <pc:sldChg chg="del">
        <pc:chgData name="Eileen Fleming Suse" userId="S::efs3844@ads.northwestern.edu::725c94ef-d051-42d7-9d33-8572765d592b" providerId="AD" clId="Web-{AC5E249F-4AD8-EC7C-FB2F-902F01AC2000}" dt="2023-10-26T22:03:16.959" v="182"/>
        <pc:sldMkLst>
          <pc:docMk/>
          <pc:sldMk cId="4024842338" sldId="547"/>
        </pc:sldMkLst>
      </pc:sldChg>
      <pc:sldChg chg="addSp delSp modSp">
        <pc:chgData name="Eileen Fleming Suse" userId="S::efs3844@ads.northwestern.edu::725c94ef-d051-42d7-9d33-8572765d592b" providerId="AD" clId="Web-{AC5E249F-4AD8-EC7C-FB2F-902F01AC2000}" dt="2023-10-26T22:07:46.547" v="215"/>
        <pc:sldMkLst>
          <pc:docMk/>
          <pc:sldMk cId="3067427377" sldId="560"/>
        </pc:sldMkLst>
        <pc:spChg chg="mod">
          <ac:chgData name="Eileen Fleming Suse" userId="S::efs3844@ads.northwestern.edu::725c94ef-d051-42d7-9d33-8572765d592b" providerId="AD" clId="Web-{AC5E249F-4AD8-EC7C-FB2F-902F01AC2000}" dt="2023-10-26T22:07:00.390" v="210" actId="14100"/>
          <ac:spMkLst>
            <pc:docMk/>
            <pc:sldMk cId="3067427377" sldId="560"/>
            <ac:spMk id="3" creationId="{E7ECD19B-85BC-6652-2856-676802964CFA}"/>
          </ac:spMkLst>
        </pc:spChg>
        <pc:spChg chg="add del">
          <ac:chgData name="Eileen Fleming Suse" userId="S::efs3844@ads.northwestern.edu::725c94ef-d051-42d7-9d33-8572765d592b" providerId="AD" clId="Web-{AC5E249F-4AD8-EC7C-FB2F-902F01AC2000}" dt="2023-10-26T22:07:33.687" v="213"/>
          <ac:spMkLst>
            <pc:docMk/>
            <pc:sldMk cId="3067427377" sldId="560"/>
            <ac:spMk id="7" creationId="{A02B2455-F99D-2227-02B8-F9E1B069703B}"/>
          </ac:spMkLst>
        </pc:spChg>
        <pc:spChg chg="add del mod">
          <ac:chgData name="Eileen Fleming Suse" userId="S::efs3844@ads.northwestern.edu::725c94ef-d051-42d7-9d33-8572765d592b" providerId="AD" clId="Web-{AC5E249F-4AD8-EC7C-FB2F-902F01AC2000}" dt="2023-10-26T22:07:22.296" v="212"/>
          <ac:spMkLst>
            <pc:docMk/>
            <pc:sldMk cId="3067427377" sldId="560"/>
            <ac:spMk id="9" creationId="{584AC78D-2AB3-FFCF-7E6D-6AD502FC54D4}"/>
          </ac:spMkLst>
        </pc:spChg>
        <pc:spChg chg="add del">
          <ac:chgData name="Eileen Fleming Suse" userId="S::efs3844@ads.northwestern.edu::725c94ef-d051-42d7-9d33-8572765d592b" providerId="AD" clId="Web-{AC5E249F-4AD8-EC7C-FB2F-902F01AC2000}" dt="2023-10-26T22:07:34.875" v="214"/>
          <ac:spMkLst>
            <pc:docMk/>
            <pc:sldMk cId="3067427377" sldId="560"/>
            <ac:spMk id="11" creationId="{25AE46F6-8873-C45A-4460-9B1E673C65E0}"/>
          </ac:spMkLst>
        </pc:spChg>
        <pc:spChg chg="add del">
          <ac:chgData name="Eileen Fleming Suse" userId="S::efs3844@ads.northwestern.edu::725c94ef-d051-42d7-9d33-8572765d592b" providerId="AD" clId="Web-{AC5E249F-4AD8-EC7C-FB2F-902F01AC2000}" dt="2023-10-26T22:07:46.547" v="215"/>
          <ac:spMkLst>
            <pc:docMk/>
            <pc:sldMk cId="3067427377" sldId="560"/>
            <ac:spMk id="13" creationId="{01F6CB6F-B810-DCDD-2A4B-90C738ED3EA9}"/>
          </ac:spMkLst>
        </pc:spChg>
      </pc:sldChg>
      <pc:sldChg chg="addSp delSp modSp">
        <pc:chgData name="Eileen Fleming Suse" userId="S::efs3844@ads.northwestern.edu::725c94ef-d051-42d7-9d33-8572765d592b" providerId="AD" clId="Web-{AC5E249F-4AD8-EC7C-FB2F-902F01AC2000}" dt="2023-10-26T22:17:19.116" v="276" actId="20577"/>
        <pc:sldMkLst>
          <pc:docMk/>
          <pc:sldMk cId="1141815353" sldId="562"/>
        </pc:sldMkLst>
        <pc:spChg chg="mod">
          <ac:chgData name="Eileen Fleming Suse" userId="S::efs3844@ads.northwestern.edu::725c94ef-d051-42d7-9d33-8572765d592b" providerId="AD" clId="Web-{AC5E249F-4AD8-EC7C-FB2F-902F01AC2000}" dt="2023-10-26T22:08:07.485" v="217" actId="20577"/>
          <ac:spMkLst>
            <pc:docMk/>
            <pc:sldMk cId="1141815353" sldId="562"/>
            <ac:spMk id="2" creationId="{05579FEB-3306-A04E-6516-F16994F3B0F9}"/>
          </ac:spMkLst>
        </pc:spChg>
        <pc:spChg chg="del mod">
          <ac:chgData name="Eileen Fleming Suse" userId="S::efs3844@ads.northwestern.edu::725c94ef-d051-42d7-9d33-8572765d592b" providerId="AD" clId="Web-{AC5E249F-4AD8-EC7C-FB2F-902F01AC2000}" dt="2023-10-26T22:12:46.574" v="249"/>
          <ac:spMkLst>
            <pc:docMk/>
            <pc:sldMk cId="1141815353" sldId="562"/>
            <ac:spMk id="3" creationId="{FAB96473-F45F-5893-CEB0-FAFF66B2B444}"/>
          </ac:spMkLst>
        </pc:spChg>
        <pc:spChg chg="add del mod">
          <ac:chgData name="Eileen Fleming Suse" userId="S::efs3844@ads.northwestern.edu::725c94ef-d051-42d7-9d33-8572765d592b" providerId="AD" clId="Web-{AC5E249F-4AD8-EC7C-FB2F-902F01AC2000}" dt="2023-10-26T22:13:35.529" v="256"/>
          <ac:spMkLst>
            <pc:docMk/>
            <pc:sldMk cId="1141815353" sldId="562"/>
            <ac:spMk id="299" creationId="{133B377F-EBFC-4D3A-E73F-A028F0C56783}"/>
          </ac:spMkLst>
        </pc:spChg>
        <pc:spChg chg="add mod">
          <ac:chgData name="Eileen Fleming Suse" userId="S::efs3844@ads.northwestern.edu::725c94ef-d051-42d7-9d33-8572765d592b" providerId="AD" clId="Web-{AC5E249F-4AD8-EC7C-FB2F-902F01AC2000}" dt="2023-10-26T22:17:19.116" v="276" actId="20577"/>
          <ac:spMkLst>
            <pc:docMk/>
            <pc:sldMk cId="1141815353" sldId="562"/>
            <ac:spMk id="360" creationId="{FE59A3A2-BFF2-9772-51D6-9CCB620AEB53}"/>
          </ac:spMkLst>
        </pc:spChg>
        <pc:graphicFrameChg chg="add del mod modGraphic">
          <ac:chgData name="Eileen Fleming Suse" userId="S::efs3844@ads.northwestern.edu::725c94ef-d051-42d7-9d33-8572765d592b" providerId="AD" clId="Web-{AC5E249F-4AD8-EC7C-FB2F-902F01AC2000}" dt="2023-10-26T22:10:00.037" v="231"/>
          <ac:graphicFrameMkLst>
            <pc:docMk/>
            <pc:sldMk cId="1141815353" sldId="562"/>
            <ac:graphicFrameMk id="4" creationId="{BE75C271-797A-15FE-F5A6-2846FCF41DA5}"/>
          </ac:graphicFrameMkLst>
        </pc:graphicFrameChg>
        <pc:graphicFrameChg chg="add mod modGraphic">
          <ac:chgData name="Eileen Fleming Suse" userId="S::efs3844@ads.northwestern.edu::725c94ef-d051-42d7-9d33-8572765d592b" providerId="AD" clId="Web-{AC5E249F-4AD8-EC7C-FB2F-902F01AC2000}" dt="2023-10-26T22:13:34.733" v="255" actId="1076"/>
          <ac:graphicFrameMkLst>
            <pc:docMk/>
            <pc:sldMk cId="1141815353" sldId="562"/>
            <ac:graphicFrameMk id="137" creationId="{61D68665-D38F-2DB1-AAFC-535C715B7F9F}"/>
          </ac:graphicFrameMkLst>
        </pc:graphicFrameChg>
      </pc:sldChg>
      <pc:sldChg chg="addSp delSp modSp ord">
        <pc:chgData name="Eileen Fleming Suse" userId="S::efs3844@ads.northwestern.edu::725c94ef-d051-42d7-9d33-8572765d592b" providerId="AD" clId="Web-{AC5E249F-4AD8-EC7C-FB2F-902F01AC2000}" dt="2023-10-27T16:06:46.831" v="342" actId="20577"/>
        <pc:sldMkLst>
          <pc:docMk/>
          <pc:sldMk cId="3845418986" sldId="563"/>
        </pc:sldMkLst>
        <pc:spChg chg="del mod">
          <ac:chgData name="Eileen Fleming Suse" userId="S::efs3844@ads.northwestern.edu::725c94ef-d051-42d7-9d33-8572765d592b" providerId="AD" clId="Web-{AC5E249F-4AD8-EC7C-FB2F-902F01AC2000}" dt="2023-10-27T16:05:33.188" v="312"/>
          <ac:spMkLst>
            <pc:docMk/>
            <pc:sldMk cId="3845418986" sldId="563"/>
            <ac:spMk id="2" creationId="{00000000-0000-0000-0000-000000000000}"/>
          </ac:spMkLst>
        </pc:spChg>
        <pc:spChg chg="mod">
          <ac:chgData name="Eileen Fleming Suse" userId="S::efs3844@ads.northwestern.edu::725c94ef-d051-42d7-9d33-8572765d592b" providerId="AD" clId="Web-{AC5E249F-4AD8-EC7C-FB2F-902F01AC2000}" dt="2023-10-27T16:05:40.469" v="313" actId="1076"/>
          <ac:spMkLst>
            <pc:docMk/>
            <pc:sldMk cId="3845418986" sldId="563"/>
            <ac:spMk id="3" creationId="{00000000-0000-0000-0000-000000000000}"/>
          </ac:spMkLst>
        </pc:spChg>
        <pc:spChg chg="del">
          <ac:chgData name="Eileen Fleming Suse" userId="S::efs3844@ads.northwestern.edu::725c94ef-d051-42d7-9d33-8572765d592b" providerId="AD" clId="Web-{AC5E249F-4AD8-EC7C-FB2F-902F01AC2000}" dt="2023-10-26T21:54:44.517" v="141"/>
          <ac:spMkLst>
            <pc:docMk/>
            <pc:sldMk cId="3845418986" sldId="563"/>
            <ac:spMk id="33" creationId="{00000000-0000-0000-0000-000000000000}"/>
          </ac:spMkLst>
        </pc:spChg>
        <pc:spChg chg="add mod">
          <ac:chgData name="Eileen Fleming Suse" userId="S::efs3844@ads.northwestern.edu::725c94ef-d051-42d7-9d33-8572765d592b" providerId="AD" clId="Web-{AC5E249F-4AD8-EC7C-FB2F-902F01AC2000}" dt="2023-10-27T16:06:46.831" v="342" actId="20577"/>
          <ac:spMkLst>
            <pc:docMk/>
            <pc:sldMk cId="3845418986" sldId="563"/>
            <ac:spMk id="33" creationId="{5C2A740E-7A02-31A5-EAAF-9CD8C0A41D47}"/>
          </ac:spMkLst>
        </pc:spChg>
        <pc:spChg chg="mod">
          <ac:chgData name="Eileen Fleming Suse" userId="S::efs3844@ads.northwestern.edu::725c94ef-d051-42d7-9d33-8572765d592b" providerId="AD" clId="Web-{AC5E249F-4AD8-EC7C-FB2F-902F01AC2000}" dt="2023-10-27T16:05:40.891" v="322" actId="1076"/>
          <ac:spMkLst>
            <pc:docMk/>
            <pc:sldMk cId="3845418986" sldId="563"/>
            <ac:spMk id="34" creationId="{00000000-0000-0000-0000-000000000000}"/>
          </ac:spMkLst>
        </pc:spChg>
        <pc:spChg chg="mod">
          <ac:chgData name="Eileen Fleming Suse" userId="S::efs3844@ads.northwestern.edu::725c94ef-d051-42d7-9d33-8572765d592b" providerId="AD" clId="Web-{AC5E249F-4AD8-EC7C-FB2F-902F01AC2000}" dt="2023-10-27T16:05:40.907" v="323" actId="1076"/>
          <ac:spMkLst>
            <pc:docMk/>
            <pc:sldMk cId="3845418986" sldId="563"/>
            <ac:spMk id="35" creationId="{00000000-0000-0000-0000-000000000000}"/>
          </ac:spMkLst>
        </pc:spChg>
        <pc:spChg chg="mod">
          <ac:chgData name="Eileen Fleming Suse" userId="S::efs3844@ads.northwestern.edu::725c94ef-d051-42d7-9d33-8572765d592b" providerId="AD" clId="Web-{AC5E249F-4AD8-EC7C-FB2F-902F01AC2000}" dt="2023-10-27T16:05:40.954" v="324" actId="1076"/>
          <ac:spMkLst>
            <pc:docMk/>
            <pc:sldMk cId="3845418986" sldId="563"/>
            <ac:spMk id="36" creationId="{00000000-0000-0000-0000-000000000000}"/>
          </ac:spMkLst>
        </pc:spChg>
        <pc:spChg chg="mod">
          <ac:chgData name="Eileen Fleming Suse" userId="S::efs3844@ads.northwestern.edu::725c94ef-d051-42d7-9d33-8572765d592b" providerId="AD" clId="Web-{AC5E249F-4AD8-EC7C-FB2F-902F01AC2000}" dt="2023-10-27T16:05:40.985" v="325" actId="1076"/>
          <ac:spMkLst>
            <pc:docMk/>
            <pc:sldMk cId="3845418986" sldId="563"/>
            <ac:spMk id="37" creationId="{00000000-0000-0000-0000-000000000000}"/>
          </ac:spMkLst>
        </pc:spChg>
        <pc:spChg chg="mod">
          <ac:chgData name="Eileen Fleming Suse" userId="S::efs3844@ads.northwestern.edu::725c94ef-d051-42d7-9d33-8572765d592b" providerId="AD" clId="Web-{AC5E249F-4AD8-EC7C-FB2F-902F01AC2000}" dt="2023-10-27T16:05:41.001" v="326" actId="1076"/>
          <ac:spMkLst>
            <pc:docMk/>
            <pc:sldMk cId="3845418986" sldId="563"/>
            <ac:spMk id="38" creationId="{00000000-0000-0000-0000-000000000000}"/>
          </ac:spMkLst>
        </pc:spChg>
        <pc:spChg chg="mod">
          <ac:chgData name="Eileen Fleming Suse" userId="S::efs3844@ads.northwestern.edu::725c94ef-d051-42d7-9d33-8572765d592b" providerId="AD" clId="Web-{AC5E249F-4AD8-EC7C-FB2F-902F01AC2000}" dt="2023-10-27T16:05:41.032" v="327" actId="1076"/>
          <ac:spMkLst>
            <pc:docMk/>
            <pc:sldMk cId="3845418986" sldId="563"/>
            <ac:spMk id="39" creationId="{00000000-0000-0000-0000-000000000000}"/>
          </ac:spMkLst>
        </pc:spChg>
        <pc:spChg chg="mod">
          <ac:chgData name="Eileen Fleming Suse" userId="S::efs3844@ads.northwestern.edu::725c94ef-d051-42d7-9d33-8572765d592b" providerId="AD" clId="Web-{AC5E249F-4AD8-EC7C-FB2F-902F01AC2000}" dt="2023-10-27T16:05:41.079" v="328" actId="1076"/>
          <ac:spMkLst>
            <pc:docMk/>
            <pc:sldMk cId="3845418986" sldId="563"/>
            <ac:spMk id="40" creationId="{00000000-0000-0000-0000-000000000000}"/>
          </ac:spMkLst>
        </pc:spChg>
        <pc:spChg chg="mod">
          <ac:chgData name="Eileen Fleming Suse" userId="S::efs3844@ads.northwestern.edu::725c94ef-d051-42d7-9d33-8572765d592b" providerId="AD" clId="Web-{AC5E249F-4AD8-EC7C-FB2F-902F01AC2000}" dt="2023-10-27T16:05:41.110" v="329" actId="1076"/>
          <ac:spMkLst>
            <pc:docMk/>
            <pc:sldMk cId="3845418986" sldId="563"/>
            <ac:spMk id="41" creationId="{00000000-0000-0000-0000-000000000000}"/>
          </ac:spMkLst>
        </pc:spChg>
        <pc:spChg chg="mod">
          <ac:chgData name="Eileen Fleming Suse" userId="S::efs3844@ads.northwestern.edu::725c94ef-d051-42d7-9d33-8572765d592b" providerId="AD" clId="Web-{AC5E249F-4AD8-EC7C-FB2F-902F01AC2000}" dt="2023-10-27T16:05:41.157" v="330" actId="1076"/>
          <ac:spMkLst>
            <pc:docMk/>
            <pc:sldMk cId="3845418986" sldId="563"/>
            <ac:spMk id="42" creationId="{00000000-0000-0000-0000-000000000000}"/>
          </ac:spMkLst>
        </pc:spChg>
        <pc:spChg chg="mod">
          <ac:chgData name="Eileen Fleming Suse" userId="S::efs3844@ads.northwestern.edu::725c94ef-d051-42d7-9d33-8572765d592b" providerId="AD" clId="Web-{AC5E249F-4AD8-EC7C-FB2F-902F01AC2000}" dt="2023-10-27T16:05:42.798" v="333" actId="1076"/>
          <ac:spMkLst>
            <pc:docMk/>
            <pc:sldMk cId="3845418986" sldId="563"/>
            <ac:spMk id="43" creationId="{00000000-0000-0000-0000-000000000000}"/>
          </ac:spMkLst>
        </pc:spChg>
        <pc:spChg chg="mod">
          <ac:chgData name="Eileen Fleming Suse" userId="S::efs3844@ads.northwestern.edu::725c94ef-d051-42d7-9d33-8572765d592b" providerId="AD" clId="Web-{AC5E249F-4AD8-EC7C-FB2F-902F01AC2000}" dt="2023-10-27T16:05:41.173" v="331" actId="1076"/>
          <ac:spMkLst>
            <pc:docMk/>
            <pc:sldMk cId="3845418986" sldId="563"/>
            <ac:spMk id="44" creationId="{00000000-0000-0000-0000-000000000000}"/>
          </ac:spMkLst>
        </pc:spChg>
        <pc:spChg chg="mod">
          <ac:chgData name="Eileen Fleming Suse" userId="S::efs3844@ads.northwestern.edu::725c94ef-d051-42d7-9d33-8572765d592b" providerId="AD" clId="Web-{AC5E249F-4AD8-EC7C-FB2F-902F01AC2000}" dt="2023-10-27T16:05:41.219" v="332" actId="1076"/>
          <ac:spMkLst>
            <pc:docMk/>
            <pc:sldMk cId="3845418986" sldId="563"/>
            <ac:spMk id="45" creationId="{00000000-0000-0000-0000-000000000000}"/>
          </ac:spMkLst>
        </pc:spChg>
        <pc:spChg chg="del">
          <ac:chgData name="Eileen Fleming Suse" userId="S::efs3844@ads.northwestern.edu::725c94ef-d051-42d7-9d33-8572765d592b" providerId="AD" clId="Web-{AC5E249F-4AD8-EC7C-FB2F-902F01AC2000}" dt="2023-10-26T21:54:44.454" v="140"/>
          <ac:spMkLst>
            <pc:docMk/>
            <pc:sldMk cId="3845418986" sldId="563"/>
            <ac:spMk id="48" creationId="{00000000-0000-0000-0000-000000000000}"/>
          </ac:spMkLst>
        </pc:spChg>
        <pc:spChg chg="add">
          <ac:chgData name="Eileen Fleming Suse" userId="S::efs3844@ads.northwestern.edu::725c94ef-d051-42d7-9d33-8572765d592b" providerId="AD" clId="Web-{AC5E249F-4AD8-EC7C-FB2F-902F01AC2000}" dt="2023-10-26T21:54:44.642" v="142"/>
          <ac:spMkLst>
            <pc:docMk/>
            <pc:sldMk cId="3845418986" sldId="563"/>
            <ac:spMk id="49" creationId="{4FD6BDF7-E6F5-6DC8-9332-E3E0DB7057F0}"/>
          </ac:spMkLst>
        </pc:spChg>
        <pc:spChg chg="add">
          <ac:chgData name="Eileen Fleming Suse" userId="S::efs3844@ads.northwestern.edu::725c94ef-d051-42d7-9d33-8572765d592b" providerId="AD" clId="Web-{AC5E249F-4AD8-EC7C-FB2F-902F01AC2000}" dt="2023-10-26T21:54:44.673" v="143"/>
          <ac:spMkLst>
            <pc:docMk/>
            <pc:sldMk cId="3845418986" sldId="563"/>
            <ac:spMk id="51" creationId="{233EFC40-2641-E728-F412-79899FC6D0D7}"/>
          </ac:spMkLst>
        </pc:spChg>
        <pc:spChg chg="add">
          <ac:chgData name="Eileen Fleming Suse" userId="S::efs3844@ads.northwestern.edu::725c94ef-d051-42d7-9d33-8572765d592b" providerId="AD" clId="Web-{AC5E249F-4AD8-EC7C-FB2F-902F01AC2000}" dt="2023-10-26T21:54:44.704" v="144"/>
          <ac:spMkLst>
            <pc:docMk/>
            <pc:sldMk cId="3845418986" sldId="563"/>
            <ac:spMk id="53" creationId="{66360ABF-1F2C-C63A-9187-17E2573B3DEB}"/>
          </ac:spMkLst>
        </pc:spChg>
        <pc:grpChg chg="mod">
          <ac:chgData name="Eileen Fleming Suse" userId="S::efs3844@ads.northwestern.edu::725c94ef-d051-42d7-9d33-8572765d592b" providerId="AD" clId="Web-{AC5E249F-4AD8-EC7C-FB2F-902F01AC2000}" dt="2023-10-27T16:05:40.548" v="314" actId="1076"/>
          <ac:grpSpMkLst>
            <pc:docMk/>
            <pc:sldMk cId="3845418986" sldId="563"/>
            <ac:grpSpMk id="6" creationId="{00000000-0000-0000-0000-000000000000}"/>
          </ac:grpSpMkLst>
        </pc:grpChg>
        <pc:grpChg chg="mod">
          <ac:chgData name="Eileen Fleming Suse" userId="S::efs3844@ads.northwestern.edu::725c94ef-d051-42d7-9d33-8572765d592b" providerId="AD" clId="Web-{AC5E249F-4AD8-EC7C-FB2F-902F01AC2000}" dt="2023-10-27T16:05:40.594" v="315" actId="1076"/>
          <ac:grpSpMkLst>
            <pc:docMk/>
            <pc:sldMk cId="3845418986" sldId="563"/>
            <ac:grpSpMk id="9" creationId="{00000000-0000-0000-0000-000000000000}"/>
          </ac:grpSpMkLst>
        </pc:grpChg>
        <pc:grpChg chg="mod">
          <ac:chgData name="Eileen Fleming Suse" userId="S::efs3844@ads.northwestern.edu::725c94ef-d051-42d7-9d33-8572765d592b" providerId="AD" clId="Web-{AC5E249F-4AD8-EC7C-FB2F-902F01AC2000}" dt="2023-10-27T16:05:40.641" v="316" actId="1076"/>
          <ac:grpSpMkLst>
            <pc:docMk/>
            <pc:sldMk cId="3845418986" sldId="563"/>
            <ac:grpSpMk id="12" creationId="{00000000-0000-0000-0000-000000000000}"/>
          </ac:grpSpMkLst>
        </pc:grpChg>
        <pc:grpChg chg="mod">
          <ac:chgData name="Eileen Fleming Suse" userId="S::efs3844@ads.northwestern.edu::725c94ef-d051-42d7-9d33-8572765d592b" providerId="AD" clId="Web-{AC5E249F-4AD8-EC7C-FB2F-902F01AC2000}" dt="2023-10-27T16:05:40.688" v="317" actId="1076"/>
          <ac:grpSpMkLst>
            <pc:docMk/>
            <pc:sldMk cId="3845418986" sldId="563"/>
            <ac:grpSpMk id="15" creationId="{00000000-0000-0000-0000-000000000000}"/>
          </ac:grpSpMkLst>
        </pc:grpChg>
        <pc:grpChg chg="mod">
          <ac:chgData name="Eileen Fleming Suse" userId="S::efs3844@ads.northwestern.edu::725c94ef-d051-42d7-9d33-8572765d592b" providerId="AD" clId="Web-{AC5E249F-4AD8-EC7C-FB2F-902F01AC2000}" dt="2023-10-27T16:05:40.719" v="318" actId="1076"/>
          <ac:grpSpMkLst>
            <pc:docMk/>
            <pc:sldMk cId="3845418986" sldId="563"/>
            <ac:grpSpMk id="18" creationId="{00000000-0000-0000-0000-000000000000}"/>
          </ac:grpSpMkLst>
        </pc:grpChg>
        <pc:grpChg chg="mod">
          <ac:chgData name="Eileen Fleming Suse" userId="S::efs3844@ads.northwestern.edu::725c94ef-d051-42d7-9d33-8572765d592b" providerId="AD" clId="Web-{AC5E249F-4AD8-EC7C-FB2F-902F01AC2000}" dt="2023-10-27T16:05:40.751" v="319" actId="1076"/>
          <ac:grpSpMkLst>
            <pc:docMk/>
            <pc:sldMk cId="3845418986" sldId="563"/>
            <ac:grpSpMk id="21" creationId="{00000000-0000-0000-0000-000000000000}"/>
          </ac:grpSpMkLst>
        </pc:grpChg>
        <pc:grpChg chg="mod">
          <ac:chgData name="Eileen Fleming Suse" userId="S::efs3844@ads.northwestern.edu::725c94ef-d051-42d7-9d33-8572765d592b" providerId="AD" clId="Web-{AC5E249F-4AD8-EC7C-FB2F-902F01AC2000}" dt="2023-10-27T16:05:40.797" v="320" actId="1076"/>
          <ac:grpSpMkLst>
            <pc:docMk/>
            <pc:sldMk cId="3845418986" sldId="563"/>
            <ac:grpSpMk id="24" creationId="{00000000-0000-0000-0000-000000000000}"/>
          </ac:grpSpMkLst>
        </pc:grpChg>
        <pc:grpChg chg="mod">
          <ac:chgData name="Eileen Fleming Suse" userId="S::efs3844@ads.northwestern.edu::725c94ef-d051-42d7-9d33-8572765d592b" providerId="AD" clId="Web-{AC5E249F-4AD8-EC7C-FB2F-902F01AC2000}" dt="2023-10-27T16:05:40.860" v="321" actId="1076"/>
          <ac:grpSpMkLst>
            <pc:docMk/>
            <pc:sldMk cId="3845418986" sldId="563"/>
            <ac:grpSpMk id="27" creationId="{00000000-0000-0000-0000-000000000000}"/>
          </ac:grpSpMkLst>
        </pc:grpChg>
      </pc:sldChg>
      <pc:sldChg chg="addSp delSp ord">
        <pc:chgData name="Eileen Fleming Suse" userId="S::efs3844@ads.northwestern.edu::725c94ef-d051-42d7-9d33-8572765d592b" providerId="AD" clId="Web-{AC5E249F-4AD8-EC7C-FB2F-902F01AC2000}" dt="2023-10-26T21:54:29.673" v="139"/>
        <pc:sldMkLst>
          <pc:docMk/>
          <pc:sldMk cId="1536434647" sldId="564"/>
        </pc:sldMkLst>
        <pc:spChg chg="del">
          <ac:chgData name="Eileen Fleming Suse" userId="S::efs3844@ads.northwestern.edu::725c94ef-d051-42d7-9d33-8572765d592b" providerId="AD" clId="Web-{AC5E249F-4AD8-EC7C-FB2F-902F01AC2000}" dt="2023-10-26T21:54:19.438" v="135"/>
          <ac:spMkLst>
            <pc:docMk/>
            <pc:sldMk cId="1536434647" sldId="564"/>
            <ac:spMk id="26" creationId="{00000000-0000-0000-0000-000000000000}"/>
          </ac:spMkLst>
        </pc:spChg>
        <pc:spChg chg="del">
          <ac:chgData name="Eileen Fleming Suse" userId="S::efs3844@ads.northwestern.edu::725c94ef-d051-42d7-9d33-8572765d592b" providerId="AD" clId="Web-{AC5E249F-4AD8-EC7C-FB2F-902F01AC2000}" dt="2023-10-26T21:54:28.954" v="136"/>
          <ac:spMkLst>
            <pc:docMk/>
            <pc:sldMk cId="1536434647" sldId="564"/>
            <ac:spMk id="48" creationId="{00000000-0000-0000-0000-000000000000}"/>
          </ac:spMkLst>
        </pc:spChg>
        <pc:spChg chg="add">
          <ac:chgData name="Eileen Fleming Suse" userId="S::efs3844@ads.northwestern.edu::725c94ef-d051-42d7-9d33-8572765d592b" providerId="AD" clId="Web-{AC5E249F-4AD8-EC7C-FB2F-902F01AC2000}" dt="2023-10-26T21:54:29.579" v="137"/>
          <ac:spMkLst>
            <pc:docMk/>
            <pc:sldMk cId="1536434647" sldId="564"/>
            <ac:spMk id="51" creationId="{DADB789B-D1D8-A439-C1FC-0121F131E706}"/>
          </ac:spMkLst>
        </pc:spChg>
        <pc:spChg chg="add">
          <ac:chgData name="Eileen Fleming Suse" userId="S::efs3844@ads.northwestern.edu::725c94ef-d051-42d7-9d33-8572765d592b" providerId="AD" clId="Web-{AC5E249F-4AD8-EC7C-FB2F-902F01AC2000}" dt="2023-10-26T21:54:29.626" v="138"/>
          <ac:spMkLst>
            <pc:docMk/>
            <pc:sldMk cId="1536434647" sldId="564"/>
            <ac:spMk id="53" creationId="{7AA1F7FA-AA52-FED3-1784-BE66C8A7FBFC}"/>
          </ac:spMkLst>
        </pc:spChg>
        <pc:spChg chg="add">
          <ac:chgData name="Eileen Fleming Suse" userId="S::efs3844@ads.northwestern.edu::725c94ef-d051-42d7-9d33-8572765d592b" providerId="AD" clId="Web-{AC5E249F-4AD8-EC7C-FB2F-902F01AC2000}" dt="2023-10-26T21:54:29.673" v="139"/>
          <ac:spMkLst>
            <pc:docMk/>
            <pc:sldMk cId="1536434647" sldId="564"/>
            <ac:spMk id="55" creationId="{20BABE46-A93F-751A-4C5F-3AC294D73230}"/>
          </ac:spMkLst>
        </pc:spChg>
      </pc:sldChg>
      <pc:sldChg chg="addSp ord">
        <pc:chgData name="Eileen Fleming Suse" userId="S::efs3844@ads.northwestern.edu::725c94ef-d051-42d7-9d33-8572765d592b" providerId="AD" clId="Web-{AC5E249F-4AD8-EC7C-FB2F-902F01AC2000}" dt="2023-10-26T21:54:54.814" v="145"/>
        <pc:sldMkLst>
          <pc:docMk/>
          <pc:sldMk cId="3004937174" sldId="565"/>
        </pc:sldMkLst>
        <pc:spChg chg="add">
          <ac:chgData name="Eileen Fleming Suse" userId="S::efs3844@ads.northwestern.edu::725c94ef-d051-42d7-9d33-8572765d592b" providerId="AD" clId="Web-{AC5E249F-4AD8-EC7C-FB2F-902F01AC2000}" dt="2023-10-26T21:54:54.814" v="145"/>
          <ac:spMkLst>
            <pc:docMk/>
            <pc:sldMk cId="3004937174" sldId="565"/>
            <ac:spMk id="43" creationId="{8306C3D8-831A-F712-3C29-BC96F5346A16}"/>
          </ac:spMkLst>
        </pc:spChg>
      </pc:sldChg>
      <pc:sldChg chg="del">
        <pc:chgData name="Eileen Fleming Suse" userId="S::efs3844@ads.northwestern.edu::725c94ef-d051-42d7-9d33-8572765d592b" providerId="AD" clId="Web-{AC5E249F-4AD8-EC7C-FB2F-902F01AC2000}" dt="2023-10-26T22:00:39.077" v="178"/>
        <pc:sldMkLst>
          <pc:docMk/>
          <pc:sldMk cId="3090389772" sldId="568"/>
        </pc:sldMkLst>
      </pc:sldChg>
      <pc:sldChg chg="del">
        <pc:chgData name="Eileen Fleming Suse" userId="S::efs3844@ads.northwestern.edu::725c94ef-d051-42d7-9d33-8572765d592b" providerId="AD" clId="Web-{AC5E249F-4AD8-EC7C-FB2F-902F01AC2000}" dt="2023-10-26T22:00:39.077" v="177"/>
        <pc:sldMkLst>
          <pc:docMk/>
          <pc:sldMk cId="1088329954" sldId="569"/>
        </pc:sldMkLst>
      </pc:sldChg>
      <pc:sldChg chg="del">
        <pc:chgData name="Eileen Fleming Suse" userId="S::efs3844@ads.northwestern.edu::725c94ef-d051-42d7-9d33-8572765d592b" providerId="AD" clId="Web-{AC5E249F-4AD8-EC7C-FB2F-902F01AC2000}" dt="2023-10-26T22:00:39.077" v="176"/>
        <pc:sldMkLst>
          <pc:docMk/>
          <pc:sldMk cId="2849312483" sldId="570"/>
        </pc:sldMkLst>
      </pc:sldChg>
      <pc:sldChg chg="del">
        <pc:chgData name="Eileen Fleming Suse" userId="S::efs3844@ads.northwestern.edu::725c94ef-d051-42d7-9d33-8572765d592b" providerId="AD" clId="Web-{AC5E249F-4AD8-EC7C-FB2F-902F01AC2000}" dt="2023-10-26T22:00:39.077" v="175"/>
        <pc:sldMkLst>
          <pc:docMk/>
          <pc:sldMk cId="1337825202" sldId="571"/>
        </pc:sldMkLst>
      </pc:sldChg>
      <pc:sldChg chg="del">
        <pc:chgData name="Eileen Fleming Suse" userId="S::efs3844@ads.northwestern.edu::725c94ef-d051-42d7-9d33-8572765d592b" providerId="AD" clId="Web-{AC5E249F-4AD8-EC7C-FB2F-902F01AC2000}" dt="2023-10-26T22:00:39.062" v="174"/>
        <pc:sldMkLst>
          <pc:docMk/>
          <pc:sldMk cId="1568500938" sldId="575"/>
        </pc:sldMkLst>
      </pc:sldChg>
      <pc:sldChg chg="del">
        <pc:chgData name="Eileen Fleming Suse" userId="S::efs3844@ads.northwestern.edu::725c94ef-d051-42d7-9d33-8572765d592b" providerId="AD" clId="Web-{AC5E249F-4AD8-EC7C-FB2F-902F01AC2000}" dt="2023-10-26T22:00:39.062" v="173"/>
        <pc:sldMkLst>
          <pc:docMk/>
          <pc:sldMk cId="1407824229" sldId="576"/>
        </pc:sldMkLst>
      </pc:sldChg>
      <pc:sldChg chg="addSp modSp">
        <pc:chgData name="Eileen Fleming Suse" userId="S::efs3844@ads.northwestern.edu::725c94ef-d051-42d7-9d33-8572765d592b" providerId="AD" clId="Web-{AC5E249F-4AD8-EC7C-FB2F-902F01AC2000}" dt="2023-10-27T16:25:23.018" v="443"/>
        <pc:sldMkLst>
          <pc:docMk/>
          <pc:sldMk cId="785115983" sldId="578"/>
        </pc:sldMkLst>
        <pc:cxnChg chg="add ord">
          <ac:chgData name="Eileen Fleming Suse" userId="S::efs3844@ads.northwestern.edu::725c94ef-d051-42d7-9d33-8572765d592b" providerId="AD" clId="Web-{AC5E249F-4AD8-EC7C-FB2F-902F01AC2000}" dt="2023-10-27T16:25:18.221" v="442"/>
          <ac:cxnSpMkLst>
            <pc:docMk/>
            <pc:sldMk cId="785115983" sldId="578"/>
            <ac:cxnSpMk id="53" creationId="{A7B5C048-F156-0D3C-D55F-4D731E35FA2E}"/>
          </ac:cxnSpMkLst>
        </pc:cxnChg>
        <pc:cxnChg chg="add mod ord">
          <ac:chgData name="Eileen Fleming Suse" userId="S::efs3844@ads.northwestern.edu::725c94ef-d051-42d7-9d33-8572765d592b" providerId="AD" clId="Web-{AC5E249F-4AD8-EC7C-FB2F-902F01AC2000}" dt="2023-10-27T16:25:13.221" v="441"/>
          <ac:cxnSpMkLst>
            <pc:docMk/>
            <pc:sldMk cId="785115983" sldId="578"/>
            <ac:cxnSpMk id="55" creationId="{6352D6FE-962F-E499-92FF-86F2420A2EA5}"/>
          </ac:cxnSpMkLst>
        </pc:cxnChg>
        <pc:cxnChg chg="add mod ord">
          <ac:chgData name="Eileen Fleming Suse" userId="S::efs3844@ads.northwestern.edu::725c94ef-d051-42d7-9d33-8572765d592b" providerId="AD" clId="Web-{AC5E249F-4AD8-EC7C-FB2F-902F01AC2000}" dt="2023-10-27T16:25:23.018" v="443"/>
          <ac:cxnSpMkLst>
            <pc:docMk/>
            <pc:sldMk cId="785115983" sldId="578"/>
            <ac:cxnSpMk id="57" creationId="{20BA68FA-6BDE-2EDB-723C-CD601AB032C2}"/>
          </ac:cxnSpMkLst>
        </pc:cxnChg>
      </pc:sldChg>
      <pc:sldChg chg="addSp modSp">
        <pc:chgData name="Eileen Fleming Suse" userId="S::efs3844@ads.northwestern.edu::725c94ef-d051-42d7-9d33-8572765d592b" providerId="AD" clId="Web-{AC5E249F-4AD8-EC7C-FB2F-902F01AC2000}" dt="2023-10-27T16:24:55.080" v="435"/>
        <pc:sldMkLst>
          <pc:docMk/>
          <pc:sldMk cId="3030449316" sldId="579"/>
        </pc:sldMkLst>
        <pc:spChg chg="mod">
          <ac:chgData name="Eileen Fleming Suse" userId="S::efs3844@ads.northwestern.edu::725c94ef-d051-42d7-9d33-8572765d592b" providerId="AD" clId="Web-{AC5E249F-4AD8-EC7C-FB2F-902F01AC2000}" dt="2023-10-26T22:18:25.994" v="281" actId="14100"/>
          <ac:spMkLst>
            <pc:docMk/>
            <pc:sldMk cId="3030449316" sldId="579"/>
            <ac:spMk id="33" creationId="{00000000-0000-0000-0000-000000000000}"/>
          </ac:spMkLst>
        </pc:spChg>
        <pc:spChg chg="mod">
          <ac:chgData name="Eileen Fleming Suse" userId="S::efs3844@ads.northwestern.edu::725c94ef-d051-42d7-9d33-8572765d592b" providerId="AD" clId="Web-{AC5E249F-4AD8-EC7C-FB2F-902F01AC2000}" dt="2023-10-26T21:53:50.015" v="134" actId="1076"/>
          <ac:spMkLst>
            <pc:docMk/>
            <pc:sldMk cId="3030449316" sldId="579"/>
            <ac:spMk id="44" creationId="{00000000-0000-0000-0000-000000000000}"/>
          </ac:spMkLst>
        </pc:spChg>
        <pc:cxnChg chg="add mod ord">
          <ac:chgData name="Eileen Fleming Suse" userId="S::efs3844@ads.northwestern.edu::725c94ef-d051-42d7-9d33-8572765d592b" providerId="AD" clId="Web-{AC5E249F-4AD8-EC7C-FB2F-902F01AC2000}" dt="2023-10-27T16:24:51.033" v="434"/>
          <ac:cxnSpMkLst>
            <pc:docMk/>
            <pc:sldMk cId="3030449316" sldId="579"/>
            <ac:cxnSpMk id="53" creationId="{A3366110-511F-BCB4-653F-4CCE780C10E1}"/>
          </ac:cxnSpMkLst>
        </pc:cxnChg>
        <pc:cxnChg chg="add mod ord">
          <ac:chgData name="Eileen Fleming Suse" userId="S::efs3844@ads.northwestern.edu::725c94ef-d051-42d7-9d33-8572765d592b" providerId="AD" clId="Web-{AC5E249F-4AD8-EC7C-FB2F-902F01AC2000}" dt="2023-10-27T16:24:46.126" v="433"/>
          <ac:cxnSpMkLst>
            <pc:docMk/>
            <pc:sldMk cId="3030449316" sldId="579"/>
            <ac:cxnSpMk id="54" creationId="{52D6BD58-A1C0-4097-567A-36996C8B9E0B}"/>
          </ac:cxnSpMkLst>
        </pc:cxnChg>
        <pc:cxnChg chg="add mod ord">
          <ac:chgData name="Eileen Fleming Suse" userId="S::efs3844@ads.northwestern.edu::725c94ef-d051-42d7-9d33-8572765d592b" providerId="AD" clId="Web-{AC5E249F-4AD8-EC7C-FB2F-902F01AC2000}" dt="2023-10-27T16:24:55.080" v="435"/>
          <ac:cxnSpMkLst>
            <pc:docMk/>
            <pc:sldMk cId="3030449316" sldId="579"/>
            <ac:cxnSpMk id="55" creationId="{8F46A2E8-EDC0-45C5-E8E6-4A5E6F1F4FA0}"/>
          </ac:cxnSpMkLst>
        </pc:cxnChg>
      </pc:sldChg>
      <pc:sldChg chg="addSp modSp">
        <pc:chgData name="Eileen Fleming Suse" userId="S::efs3844@ads.northwestern.edu::725c94ef-d051-42d7-9d33-8572765d592b" providerId="AD" clId="Web-{AC5E249F-4AD8-EC7C-FB2F-902F01AC2000}" dt="2023-10-27T16:24:18.438" v="425" actId="20577"/>
        <pc:sldMkLst>
          <pc:docMk/>
          <pc:sldMk cId="4283907660" sldId="580"/>
        </pc:sldMkLst>
        <pc:spChg chg="mod">
          <ac:chgData name="Eileen Fleming Suse" userId="S::efs3844@ads.northwestern.edu::725c94ef-d051-42d7-9d33-8572765d592b" providerId="AD" clId="Web-{AC5E249F-4AD8-EC7C-FB2F-902F01AC2000}" dt="2023-10-27T16:23:25.530" v="410" actId="1076"/>
          <ac:spMkLst>
            <pc:docMk/>
            <pc:sldMk cId="4283907660" sldId="580"/>
            <ac:spMk id="20" creationId="{00000000-0000-0000-0000-000000000000}"/>
          </ac:spMkLst>
        </pc:spChg>
        <pc:spChg chg="mod">
          <ac:chgData name="Eileen Fleming Suse" userId="S::efs3844@ads.northwestern.edu::725c94ef-d051-42d7-9d33-8572765d592b" providerId="AD" clId="Web-{AC5E249F-4AD8-EC7C-FB2F-902F01AC2000}" dt="2023-10-27T16:23:06.342" v="405" actId="1076"/>
          <ac:spMkLst>
            <pc:docMk/>
            <pc:sldMk cId="4283907660" sldId="580"/>
            <ac:spMk id="65" creationId="{00000000-0000-0000-0000-000000000000}"/>
          </ac:spMkLst>
        </pc:spChg>
        <pc:spChg chg="mod">
          <ac:chgData name="Eileen Fleming Suse" userId="S::efs3844@ads.northwestern.edu::725c94ef-d051-42d7-9d33-8572765d592b" providerId="AD" clId="Web-{AC5E249F-4AD8-EC7C-FB2F-902F01AC2000}" dt="2023-10-27T16:24:18.438" v="425" actId="20577"/>
          <ac:spMkLst>
            <pc:docMk/>
            <pc:sldMk cId="4283907660" sldId="580"/>
            <ac:spMk id="66" creationId="{00000000-0000-0000-0000-000000000000}"/>
          </ac:spMkLst>
        </pc:spChg>
        <pc:grpChg chg="mod">
          <ac:chgData name="Eileen Fleming Suse" userId="S::efs3844@ads.northwestern.edu::725c94ef-d051-42d7-9d33-8572765d592b" providerId="AD" clId="Web-{AC5E249F-4AD8-EC7C-FB2F-902F01AC2000}" dt="2023-10-27T16:23:06.311" v="404" actId="1076"/>
          <ac:grpSpMkLst>
            <pc:docMk/>
            <pc:sldMk cId="4283907660" sldId="580"/>
            <ac:grpSpMk id="41" creationId="{00000000-0000-0000-0000-000000000000}"/>
          </ac:grpSpMkLst>
        </pc:grpChg>
        <pc:grpChg chg="mod">
          <ac:chgData name="Eileen Fleming Suse" userId="S::efs3844@ads.northwestern.edu::725c94ef-d051-42d7-9d33-8572765d592b" providerId="AD" clId="Web-{AC5E249F-4AD8-EC7C-FB2F-902F01AC2000}" dt="2023-10-27T16:23:25.562" v="411" actId="1076"/>
          <ac:grpSpMkLst>
            <pc:docMk/>
            <pc:sldMk cId="4283907660" sldId="580"/>
            <ac:grpSpMk id="44" creationId="{00000000-0000-0000-0000-000000000000}"/>
          </ac:grpSpMkLst>
        </pc:grpChg>
        <pc:cxnChg chg="add mod ord">
          <ac:chgData name="Eileen Fleming Suse" userId="S::efs3844@ads.northwestern.edu::725c94ef-d051-42d7-9d33-8572765d592b" providerId="AD" clId="Web-{AC5E249F-4AD8-EC7C-FB2F-902F01AC2000}" dt="2023-10-27T16:22:36.779" v="396"/>
          <ac:cxnSpMkLst>
            <pc:docMk/>
            <pc:sldMk cId="4283907660" sldId="580"/>
            <ac:cxnSpMk id="70" creationId="{FAB1A723-05C8-C0B8-46CD-6CEC5D6BBD04}"/>
          </ac:cxnSpMkLst>
        </pc:cxnChg>
        <pc:cxnChg chg="add mod ord">
          <ac:chgData name="Eileen Fleming Suse" userId="S::efs3844@ads.northwestern.edu::725c94ef-d051-42d7-9d33-8572765d592b" providerId="AD" clId="Web-{AC5E249F-4AD8-EC7C-FB2F-902F01AC2000}" dt="2023-10-27T16:22:30.654" v="395"/>
          <ac:cxnSpMkLst>
            <pc:docMk/>
            <pc:sldMk cId="4283907660" sldId="580"/>
            <ac:cxnSpMk id="72" creationId="{707187BC-B253-F405-832D-75199CFA7D3B}"/>
          </ac:cxnSpMkLst>
        </pc:cxnChg>
        <pc:cxnChg chg="add mod">
          <ac:chgData name="Eileen Fleming Suse" userId="S::efs3844@ads.northwestern.edu::725c94ef-d051-42d7-9d33-8572765d592b" providerId="AD" clId="Web-{AC5E249F-4AD8-EC7C-FB2F-902F01AC2000}" dt="2023-10-27T16:23:09.358" v="406" actId="14100"/>
          <ac:cxnSpMkLst>
            <pc:docMk/>
            <pc:sldMk cId="4283907660" sldId="580"/>
            <ac:cxnSpMk id="74" creationId="{34699683-48B1-C584-C969-0FC12DE6D30A}"/>
          </ac:cxnSpMkLst>
        </pc:cxnChg>
        <pc:cxnChg chg="add mod">
          <ac:chgData name="Eileen Fleming Suse" userId="S::efs3844@ads.northwestern.edu::725c94ef-d051-42d7-9d33-8572765d592b" providerId="AD" clId="Web-{AC5E249F-4AD8-EC7C-FB2F-902F01AC2000}" dt="2023-10-27T16:23:30.609" v="414" actId="14100"/>
          <ac:cxnSpMkLst>
            <pc:docMk/>
            <pc:sldMk cId="4283907660" sldId="580"/>
            <ac:cxnSpMk id="76" creationId="{5FBD65C4-D121-6BFF-7A20-CC716D7037AD}"/>
          </ac:cxnSpMkLst>
        </pc:cxnChg>
        <pc:cxnChg chg="add mod">
          <ac:chgData name="Eileen Fleming Suse" userId="S::efs3844@ads.northwestern.edu::725c94ef-d051-42d7-9d33-8572765d592b" providerId="AD" clId="Web-{AC5E249F-4AD8-EC7C-FB2F-902F01AC2000}" dt="2023-10-27T16:23:13.718" v="408" actId="14100"/>
          <ac:cxnSpMkLst>
            <pc:docMk/>
            <pc:sldMk cId="4283907660" sldId="580"/>
            <ac:cxnSpMk id="78" creationId="{DFA24459-913C-819C-1FB9-882C0D69503C}"/>
          </ac:cxnSpMkLst>
        </pc:cxnChg>
        <pc:cxnChg chg="add mod">
          <ac:chgData name="Eileen Fleming Suse" userId="S::efs3844@ads.northwestern.edu::725c94ef-d051-42d7-9d33-8572765d592b" providerId="AD" clId="Web-{AC5E249F-4AD8-EC7C-FB2F-902F01AC2000}" dt="2023-10-27T16:23:52.859" v="419" actId="14100"/>
          <ac:cxnSpMkLst>
            <pc:docMk/>
            <pc:sldMk cId="4283907660" sldId="580"/>
            <ac:cxnSpMk id="80" creationId="{D146EC0A-53E9-15A6-4F6B-C7F1AE321A03}"/>
          </ac:cxnSpMkLst>
        </pc:cxnChg>
      </pc:sldChg>
      <pc:sldChg chg="addSp modSp">
        <pc:chgData name="Eileen Fleming Suse" userId="S::efs3844@ads.northwestern.edu::725c94ef-d051-42d7-9d33-8572765d592b" providerId="AD" clId="Web-{AC5E249F-4AD8-EC7C-FB2F-902F01AC2000}" dt="2023-10-27T16:21:31.137" v="386"/>
        <pc:sldMkLst>
          <pc:docMk/>
          <pc:sldMk cId="3429940818" sldId="581"/>
        </pc:sldMkLst>
        <pc:spChg chg="mod">
          <ac:chgData name="Eileen Fleming Suse" userId="S::efs3844@ads.northwestern.edu::725c94ef-d051-42d7-9d33-8572765d592b" providerId="AD" clId="Web-{AC5E249F-4AD8-EC7C-FB2F-902F01AC2000}" dt="2023-10-26T22:18:16.087" v="279" actId="1076"/>
          <ac:spMkLst>
            <pc:docMk/>
            <pc:sldMk cId="3429940818" sldId="581"/>
            <ac:spMk id="41" creationId="{00000000-0000-0000-0000-000000000000}"/>
          </ac:spMkLst>
        </pc:spChg>
        <pc:spChg chg="mod">
          <ac:chgData name="Eileen Fleming Suse" userId="S::efs3844@ads.northwestern.edu::725c94ef-d051-42d7-9d33-8572765d592b" providerId="AD" clId="Web-{AC5E249F-4AD8-EC7C-FB2F-902F01AC2000}" dt="2023-10-26T22:18:05.962" v="278" actId="14100"/>
          <ac:spMkLst>
            <pc:docMk/>
            <pc:sldMk cId="3429940818" sldId="581"/>
            <ac:spMk id="62" creationId="{00000000-0000-0000-0000-000000000000}"/>
          </ac:spMkLst>
        </pc:spChg>
        <pc:cxnChg chg="add mod">
          <ac:chgData name="Eileen Fleming Suse" userId="S::efs3844@ads.northwestern.edu::725c94ef-d051-42d7-9d33-8572765d592b" providerId="AD" clId="Web-{AC5E249F-4AD8-EC7C-FB2F-902F01AC2000}" dt="2023-10-27T16:19:43.727" v="367" actId="14100"/>
          <ac:cxnSpMkLst>
            <pc:docMk/>
            <pc:sldMk cId="3429940818" sldId="581"/>
            <ac:cxnSpMk id="72" creationId="{9DABEE7E-8BD3-4674-2C98-8E4DD5FD2BA4}"/>
          </ac:cxnSpMkLst>
        </pc:cxnChg>
        <pc:cxnChg chg="add mod">
          <ac:chgData name="Eileen Fleming Suse" userId="S::efs3844@ads.northwestern.edu::725c94ef-d051-42d7-9d33-8572765d592b" providerId="AD" clId="Web-{AC5E249F-4AD8-EC7C-FB2F-902F01AC2000}" dt="2023-10-27T16:19:49.212" v="369" actId="1076"/>
          <ac:cxnSpMkLst>
            <pc:docMk/>
            <pc:sldMk cId="3429940818" sldId="581"/>
            <ac:cxnSpMk id="74" creationId="{BEC4BABB-43C9-9000-ED55-9524836704C3}"/>
          </ac:cxnSpMkLst>
        </pc:cxnChg>
        <pc:cxnChg chg="add mod">
          <ac:chgData name="Eileen Fleming Suse" userId="S::efs3844@ads.northwestern.edu::725c94ef-d051-42d7-9d33-8572765d592b" providerId="AD" clId="Web-{AC5E249F-4AD8-EC7C-FB2F-902F01AC2000}" dt="2023-10-27T16:19:57.868" v="372" actId="14100"/>
          <ac:cxnSpMkLst>
            <pc:docMk/>
            <pc:sldMk cId="3429940818" sldId="581"/>
            <ac:cxnSpMk id="76" creationId="{144ECC94-4093-ABB7-73BA-06FC54548E83}"/>
          </ac:cxnSpMkLst>
        </pc:cxnChg>
        <pc:cxnChg chg="add mod">
          <ac:chgData name="Eileen Fleming Suse" userId="S::efs3844@ads.northwestern.edu::725c94ef-d051-42d7-9d33-8572765d592b" providerId="AD" clId="Web-{AC5E249F-4AD8-EC7C-FB2F-902F01AC2000}" dt="2023-10-27T16:20:22.697" v="379" actId="14100"/>
          <ac:cxnSpMkLst>
            <pc:docMk/>
            <pc:sldMk cId="3429940818" sldId="581"/>
            <ac:cxnSpMk id="78" creationId="{8982FD92-CD8A-7CA9-6F98-CE88B54846B1}"/>
          </ac:cxnSpMkLst>
        </pc:cxnChg>
        <pc:cxnChg chg="add mod ord">
          <ac:chgData name="Eileen Fleming Suse" userId="S::efs3844@ads.northwestern.edu::725c94ef-d051-42d7-9d33-8572765d592b" providerId="AD" clId="Web-{AC5E249F-4AD8-EC7C-FB2F-902F01AC2000}" dt="2023-10-27T16:21:31.137" v="386"/>
          <ac:cxnSpMkLst>
            <pc:docMk/>
            <pc:sldMk cId="3429940818" sldId="581"/>
            <ac:cxnSpMk id="80" creationId="{CAF7AEDC-38D6-4104-8736-1AFA4E6298B5}"/>
          </ac:cxnSpMkLst>
        </pc:cxnChg>
        <pc:cxnChg chg="add mod ord">
          <ac:chgData name="Eileen Fleming Suse" userId="S::efs3844@ads.northwestern.edu::725c94ef-d051-42d7-9d33-8572765d592b" providerId="AD" clId="Web-{AC5E249F-4AD8-EC7C-FB2F-902F01AC2000}" dt="2023-10-27T16:20:51.464" v="385"/>
          <ac:cxnSpMkLst>
            <pc:docMk/>
            <pc:sldMk cId="3429940818" sldId="581"/>
            <ac:cxnSpMk id="82" creationId="{EB8EE064-ABA2-EBF9-9A28-B95446D8989F}"/>
          </ac:cxnSpMkLst>
        </pc:cxnChg>
      </pc:sldChg>
      <pc:sldChg chg="modSp del">
        <pc:chgData name="Eileen Fleming Suse" userId="S::efs3844@ads.northwestern.edu::725c94ef-d051-42d7-9d33-8572765d592b" providerId="AD" clId="Web-{AC5E249F-4AD8-EC7C-FB2F-902F01AC2000}" dt="2023-10-27T16:07:11.566" v="344"/>
        <pc:sldMkLst>
          <pc:docMk/>
          <pc:sldMk cId="4156128006" sldId="582"/>
        </pc:sldMkLst>
        <pc:spChg chg="mod">
          <ac:chgData name="Eileen Fleming Suse" userId="S::efs3844@ads.northwestern.edu::725c94ef-d051-42d7-9d33-8572765d592b" providerId="AD" clId="Web-{AC5E249F-4AD8-EC7C-FB2F-902F01AC2000}" dt="2023-10-27T16:06:53.925" v="343" actId="1076"/>
          <ac:spMkLst>
            <pc:docMk/>
            <pc:sldMk cId="4156128006" sldId="582"/>
            <ac:spMk id="33" creationId="{00000000-0000-0000-0000-000000000000}"/>
          </ac:spMkLst>
        </pc:spChg>
      </pc:sldChg>
      <pc:sldChg chg="addSp modSp add ord">
        <pc:chgData name="Eileen Fleming Suse" userId="S::efs3844@ads.northwestern.edu::725c94ef-d051-42d7-9d33-8572765d592b" providerId="AD" clId="Web-{AC5E249F-4AD8-EC7C-FB2F-902F01AC2000}" dt="2023-10-27T16:15:16.423" v="349" actId="20577"/>
        <pc:sldMkLst>
          <pc:docMk/>
          <pc:sldMk cId="3561966490" sldId="585"/>
        </pc:sldMkLst>
        <pc:spChg chg="mod">
          <ac:chgData name="Eileen Fleming Suse" userId="S::efs3844@ads.northwestern.edu::725c94ef-d051-42d7-9d33-8572765d592b" providerId="AD" clId="Web-{AC5E249F-4AD8-EC7C-FB2F-902F01AC2000}" dt="2023-10-26T21:47:17.828" v="29" actId="1076"/>
          <ac:spMkLst>
            <pc:docMk/>
            <pc:sldMk cId="3561966490" sldId="585"/>
            <ac:spMk id="4" creationId="{00000000-0000-0000-0000-000000000000}"/>
          </ac:spMkLst>
        </pc:spChg>
        <pc:spChg chg="mod">
          <ac:chgData name="Eileen Fleming Suse" userId="S::efs3844@ads.northwestern.edu::725c94ef-d051-42d7-9d33-8572765d592b" providerId="AD" clId="Web-{AC5E249F-4AD8-EC7C-FB2F-902F01AC2000}" dt="2023-10-26T21:47:17.281" v="28" actId="1076"/>
          <ac:spMkLst>
            <pc:docMk/>
            <pc:sldMk cId="3561966490" sldId="585"/>
            <ac:spMk id="19" creationId="{00000000-0000-0000-0000-000000000000}"/>
          </ac:spMkLst>
        </pc:spChg>
        <pc:spChg chg="mod">
          <ac:chgData name="Eileen Fleming Suse" userId="S::efs3844@ads.northwestern.edu::725c94ef-d051-42d7-9d33-8572765d592b" providerId="AD" clId="Web-{AC5E249F-4AD8-EC7C-FB2F-902F01AC2000}" dt="2023-10-27T16:15:16.423" v="349" actId="20577"/>
          <ac:spMkLst>
            <pc:docMk/>
            <pc:sldMk cId="3561966490" sldId="585"/>
            <ac:spMk id="21" creationId="{00000000-0000-0000-0000-000000000000}"/>
          </ac:spMkLst>
        </pc:spChg>
        <pc:spChg chg="add mod">
          <ac:chgData name="Eileen Fleming Suse" userId="S::efs3844@ads.northwestern.edu::725c94ef-d051-42d7-9d33-8572765d592b" providerId="AD" clId="Web-{AC5E249F-4AD8-EC7C-FB2F-902F01AC2000}" dt="2023-10-26T21:47:17.938" v="30" actId="1076"/>
          <ac:spMkLst>
            <pc:docMk/>
            <pc:sldMk cId="3561966490" sldId="585"/>
            <ac:spMk id="24" creationId="{A8E8476A-44CA-2C4D-B3E7-31C44865373F}"/>
          </ac:spMkLst>
        </pc:spChg>
      </pc:sldChg>
      <pc:sldChg chg="addSp delSp modSp add ord">
        <pc:chgData name="Eileen Fleming Suse" userId="S::efs3844@ads.northwestern.edu::725c94ef-d051-42d7-9d33-8572765d592b" providerId="AD" clId="Web-{AC5E249F-4AD8-EC7C-FB2F-902F01AC2000}" dt="2023-10-27T16:15:54.174" v="364" actId="14100"/>
        <pc:sldMkLst>
          <pc:docMk/>
          <pc:sldMk cId="3809547791" sldId="586"/>
        </pc:sldMkLst>
        <pc:spChg chg="del">
          <ac:chgData name="Eileen Fleming Suse" userId="S::efs3844@ads.northwestern.edu::725c94ef-d051-42d7-9d33-8572765d592b" providerId="AD" clId="Web-{AC5E249F-4AD8-EC7C-FB2F-902F01AC2000}" dt="2023-10-26T21:47:33.578" v="33"/>
          <ac:spMkLst>
            <pc:docMk/>
            <pc:sldMk cId="3809547791" sldId="586"/>
            <ac:spMk id="4" creationId="{00000000-0000-0000-0000-000000000000}"/>
          </ac:spMkLst>
        </pc:spChg>
        <pc:spChg chg="del mod">
          <ac:chgData name="Eileen Fleming Suse" userId="S::efs3844@ads.northwestern.edu::725c94ef-d051-42d7-9d33-8572765d592b" providerId="AD" clId="Web-{AC5E249F-4AD8-EC7C-FB2F-902F01AC2000}" dt="2023-10-26T21:47:33.516" v="32"/>
          <ac:spMkLst>
            <pc:docMk/>
            <pc:sldMk cId="3809547791" sldId="586"/>
            <ac:spMk id="37" creationId="{00000000-0000-0000-0000-000000000000}"/>
          </ac:spMkLst>
        </pc:spChg>
        <pc:spChg chg="mod">
          <ac:chgData name="Eileen Fleming Suse" userId="S::efs3844@ads.northwestern.edu::725c94ef-d051-42d7-9d33-8572765d592b" providerId="AD" clId="Web-{AC5E249F-4AD8-EC7C-FB2F-902F01AC2000}" dt="2023-10-27T16:15:54.174" v="364" actId="14100"/>
          <ac:spMkLst>
            <pc:docMk/>
            <pc:sldMk cId="3809547791" sldId="586"/>
            <ac:spMk id="41" creationId="{00000000-0000-0000-0000-000000000000}"/>
          </ac:spMkLst>
        </pc:spChg>
        <pc:spChg chg="mod">
          <ac:chgData name="Eileen Fleming Suse" userId="S::efs3844@ads.northwestern.edu::725c94ef-d051-42d7-9d33-8572765d592b" providerId="AD" clId="Web-{AC5E249F-4AD8-EC7C-FB2F-902F01AC2000}" dt="2023-10-26T21:46:19.794" v="20" actId="20577"/>
          <ac:spMkLst>
            <pc:docMk/>
            <pc:sldMk cId="3809547791" sldId="586"/>
            <ac:spMk id="42" creationId="{00000000-0000-0000-0000-000000000000}"/>
          </ac:spMkLst>
        </pc:spChg>
        <pc:spChg chg="add">
          <ac:chgData name="Eileen Fleming Suse" userId="S::efs3844@ads.northwestern.edu::725c94ef-d051-42d7-9d33-8572765d592b" providerId="AD" clId="Web-{AC5E249F-4AD8-EC7C-FB2F-902F01AC2000}" dt="2023-10-26T21:47:33.735" v="34"/>
          <ac:spMkLst>
            <pc:docMk/>
            <pc:sldMk cId="3809547791" sldId="586"/>
            <ac:spMk id="45" creationId="{C77E478B-4FF6-99F3-8EF6-9EC4CBF20CDC}"/>
          </ac:spMkLst>
        </pc:spChg>
        <pc:spChg chg="add">
          <ac:chgData name="Eileen Fleming Suse" userId="S::efs3844@ads.northwestern.edu::725c94ef-d051-42d7-9d33-8572765d592b" providerId="AD" clId="Web-{AC5E249F-4AD8-EC7C-FB2F-902F01AC2000}" dt="2023-10-26T21:47:33.750" v="35"/>
          <ac:spMkLst>
            <pc:docMk/>
            <pc:sldMk cId="3809547791" sldId="586"/>
            <ac:spMk id="47" creationId="{B8E0B5F5-B6A2-711D-2F6F-422E5E01B221}"/>
          </ac:spMkLst>
        </pc:spChg>
        <pc:spChg chg="add">
          <ac:chgData name="Eileen Fleming Suse" userId="S::efs3844@ads.northwestern.edu::725c94ef-d051-42d7-9d33-8572765d592b" providerId="AD" clId="Web-{AC5E249F-4AD8-EC7C-FB2F-902F01AC2000}" dt="2023-10-26T21:47:33.781" v="36"/>
          <ac:spMkLst>
            <pc:docMk/>
            <pc:sldMk cId="3809547791" sldId="586"/>
            <ac:spMk id="49" creationId="{725D5EF5-B77D-B401-7AC5-22CFBF1AA913}"/>
          </ac:spMkLst>
        </pc:spChg>
      </pc:sldChg>
      <pc:sldChg chg="addSp delSp modSp add ord">
        <pc:chgData name="Eileen Fleming Suse" userId="S::efs3844@ads.northwestern.edu::725c94ef-d051-42d7-9d33-8572765d592b" providerId="AD" clId="Web-{AC5E249F-4AD8-EC7C-FB2F-902F01AC2000}" dt="2023-10-27T16:13:30.342" v="345" actId="1076"/>
        <pc:sldMkLst>
          <pc:docMk/>
          <pc:sldMk cId="1598854783" sldId="587"/>
        </pc:sldMkLst>
        <pc:spChg chg="del">
          <ac:chgData name="Eileen Fleming Suse" userId="S::efs3844@ads.northwestern.edu::725c94ef-d051-42d7-9d33-8572765d592b" providerId="AD" clId="Web-{AC5E249F-4AD8-EC7C-FB2F-902F01AC2000}" dt="2023-10-26T21:48:54.894" v="58"/>
          <ac:spMkLst>
            <pc:docMk/>
            <pc:sldMk cId="1598854783" sldId="587"/>
            <ac:spMk id="31" creationId="{00000000-0000-0000-0000-000000000000}"/>
          </ac:spMkLst>
        </pc:spChg>
        <pc:spChg chg="mod">
          <ac:chgData name="Eileen Fleming Suse" userId="S::efs3844@ads.northwestern.edu::725c94ef-d051-42d7-9d33-8572765d592b" providerId="AD" clId="Web-{AC5E249F-4AD8-EC7C-FB2F-902F01AC2000}" dt="2023-10-26T21:52:40.637" v="124" actId="20577"/>
          <ac:spMkLst>
            <pc:docMk/>
            <pc:sldMk cId="1598854783" sldId="587"/>
            <ac:spMk id="36" creationId="{00000000-0000-0000-0000-000000000000}"/>
          </ac:spMkLst>
        </pc:spChg>
        <pc:spChg chg="mod">
          <ac:chgData name="Eileen Fleming Suse" userId="S::efs3844@ads.northwestern.edu::725c94ef-d051-42d7-9d33-8572765d592b" providerId="AD" clId="Web-{AC5E249F-4AD8-EC7C-FB2F-902F01AC2000}" dt="2023-10-26T21:51:27.275" v="105" actId="20577"/>
          <ac:spMkLst>
            <pc:docMk/>
            <pc:sldMk cId="1598854783" sldId="587"/>
            <ac:spMk id="37" creationId="{00000000-0000-0000-0000-000000000000}"/>
          </ac:spMkLst>
        </pc:spChg>
        <pc:spChg chg="mod">
          <ac:chgData name="Eileen Fleming Suse" userId="S::efs3844@ads.northwestern.edu::725c94ef-d051-42d7-9d33-8572765d592b" providerId="AD" clId="Web-{AC5E249F-4AD8-EC7C-FB2F-902F01AC2000}" dt="2023-10-26T21:52:40.387" v="123" actId="20577"/>
          <ac:spMkLst>
            <pc:docMk/>
            <pc:sldMk cId="1598854783" sldId="587"/>
            <ac:spMk id="38" creationId="{00000000-0000-0000-0000-000000000000}"/>
          </ac:spMkLst>
        </pc:spChg>
        <pc:spChg chg="mod">
          <ac:chgData name="Eileen Fleming Suse" userId="S::efs3844@ads.northwestern.edu::725c94ef-d051-42d7-9d33-8572765d592b" providerId="AD" clId="Web-{AC5E249F-4AD8-EC7C-FB2F-902F01AC2000}" dt="2023-10-26T21:51:27.619" v="108" actId="20577"/>
          <ac:spMkLst>
            <pc:docMk/>
            <pc:sldMk cId="1598854783" sldId="587"/>
            <ac:spMk id="39" creationId="{00000000-0000-0000-0000-000000000000}"/>
          </ac:spMkLst>
        </pc:spChg>
        <pc:spChg chg="mod">
          <ac:chgData name="Eileen Fleming Suse" userId="S::efs3844@ads.northwestern.edu::725c94ef-d051-42d7-9d33-8572765d592b" providerId="AD" clId="Web-{AC5E249F-4AD8-EC7C-FB2F-902F01AC2000}" dt="2023-10-26T21:53:11.091" v="133" actId="1076"/>
          <ac:spMkLst>
            <pc:docMk/>
            <pc:sldMk cId="1598854783" sldId="587"/>
            <ac:spMk id="40" creationId="{00000000-0000-0000-0000-000000000000}"/>
          </ac:spMkLst>
        </pc:spChg>
        <pc:spChg chg="mod">
          <ac:chgData name="Eileen Fleming Suse" userId="S::efs3844@ads.northwestern.edu::725c94ef-d051-42d7-9d33-8572765d592b" providerId="AD" clId="Web-{AC5E249F-4AD8-EC7C-FB2F-902F01AC2000}" dt="2023-10-26T21:52:55.356" v="128" actId="20577"/>
          <ac:spMkLst>
            <pc:docMk/>
            <pc:sldMk cId="1598854783" sldId="587"/>
            <ac:spMk id="42" creationId="{00000000-0000-0000-0000-000000000000}"/>
          </ac:spMkLst>
        </pc:spChg>
        <pc:spChg chg="mod">
          <ac:chgData name="Eileen Fleming Suse" userId="S::efs3844@ads.northwestern.edu::725c94ef-d051-42d7-9d33-8572765d592b" providerId="AD" clId="Web-{AC5E249F-4AD8-EC7C-FB2F-902F01AC2000}" dt="2023-10-26T21:51:31.041" v="110" actId="20577"/>
          <ac:spMkLst>
            <pc:docMk/>
            <pc:sldMk cId="1598854783" sldId="587"/>
            <ac:spMk id="43" creationId="{00000000-0000-0000-0000-000000000000}"/>
          </ac:spMkLst>
        </pc:spChg>
        <pc:spChg chg="mod">
          <ac:chgData name="Eileen Fleming Suse" userId="S::efs3844@ads.northwestern.edu::725c94ef-d051-42d7-9d33-8572765d592b" providerId="AD" clId="Web-{AC5E249F-4AD8-EC7C-FB2F-902F01AC2000}" dt="2023-10-26T21:48:56.488" v="65" actId="1076"/>
          <ac:spMkLst>
            <pc:docMk/>
            <pc:sldMk cId="1598854783" sldId="587"/>
            <ac:spMk id="45" creationId="{00000000-0000-0000-0000-000000000000}"/>
          </ac:spMkLst>
        </pc:spChg>
        <pc:spChg chg="del mod">
          <ac:chgData name="Eileen Fleming Suse" userId="S::efs3844@ads.northwestern.edu::725c94ef-d051-42d7-9d33-8572765d592b" providerId="AD" clId="Web-{AC5E249F-4AD8-EC7C-FB2F-902F01AC2000}" dt="2023-10-26T21:48:55.363" v="61"/>
          <ac:spMkLst>
            <pc:docMk/>
            <pc:sldMk cId="1598854783" sldId="587"/>
            <ac:spMk id="46" creationId="{00000000-0000-0000-0000-000000000000}"/>
          </ac:spMkLst>
        </pc:spChg>
        <pc:spChg chg="mod">
          <ac:chgData name="Eileen Fleming Suse" userId="S::efs3844@ads.northwestern.edu::725c94ef-d051-42d7-9d33-8572765d592b" providerId="AD" clId="Web-{AC5E249F-4AD8-EC7C-FB2F-902F01AC2000}" dt="2023-10-27T16:13:30.342" v="345" actId="1076"/>
          <ac:spMkLst>
            <pc:docMk/>
            <pc:sldMk cId="1598854783" sldId="587"/>
            <ac:spMk id="47" creationId="{00000000-0000-0000-0000-000000000000}"/>
          </ac:spMkLst>
        </pc:spChg>
        <pc:spChg chg="add">
          <ac:chgData name="Eileen Fleming Suse" userId="S::efs3844@ads.northwestern.edu::725c94ef-d051-42d7-9d33-8572765d592b" providerId="AD" clId="Web-{AC5E249F-4AD8-EC7C-FB2F-902F01AC2000}" dt="2023-10-26T21:48:55.675" v="62"/>
          <ac:spMkLst>
            <pc:docMk/>
            <pc:sldMk cId="1598854783" sldId="587"/>
            <ac:spMk id="49" creationId="{E2210AC7-88E9-3DF2-B6FD-284390179A81}"/>
          </ac:spMkLst>
        </pc:spChg>
        <pc:spChg chg="add">
          <ac:chgData name="Eileen Fleming Suse" userId="S::efs3844@ads.northwestern.edu::725c94ef-d051-42d7-9d33-8572765d592b" providerId="AD" clId="Web-{AC5E249F-4AD8-EC7C-FB2F-902F01AC2000}" dt="2023-10-26T21:48:55.707" v="63"/>
          <ac:spMkLst>
            <pc:docMk/>
            <pc:sldMk cId="1598854783" sldId="587"/>
            <ac:spMk id="51" creationId="{24A2DEC9-4CC0-CBF0-5D9A-524D9EFAEE1C}"/>
          </ac:spMkLst>
        </pc:spChg>
        <pc:spChg chg="add">
          <ac:chgData name="Eileen Fleming Suse" userId="S::efs3844@ads.northwestern.edu::725c94ef-d051-42d7-9d33-8572765d592b" providerId="AD" clId="Web-{AC5E249F-4AD8-EC7C-FB2F-902F01AC2000}" dt="2023-10-26T21:48:55.738" v="64"/>
          <ac:spMkLst>
            <pc:docMk/>
            <pc:sldMk cId="1598854783" sldId="587"/>
            <ac:spMk id="53" creationId="{0E0706BB-4123-83DA-E93A-66A50F4484A3}"/>
          </ac:spMkLst>
        </pc:spChg>
      </pc:sldChg>
      <pc:sldChg chg="addSp delSp modSp add ord">
        <pc:chgData name="Eileen Fleming Suse" userId="S::efs3844@ads.northwestern.edu::725c94ef-d051-42d7-9d33-8572765d592b" providerId="AD" clId="Web-{AC5E249F-4AD8-EC7C-FB2F-902F01AC2000}" dt="2023-10-26T21:51:10.837" v="103" actId="1076"/>
        <pc:sldMkLst>
          <pc:docMk/>
          <pc:sldMk cId="3832963388" sldId="588"/>
        </pc:sldMkLst>
        <pc:spChg chg="del">
          <ac:chgData name="Eileen Fleming Suse" userId="S::efs3844@ads.northwestern.edu::725c94ef-d051-42d7-9d33-8572765d592b" providerId="AD" clId="Web-{AC5E249F-4AD8-EC7C-FB2F-902F01AC2000}" dt="2023-10-26T21:49:27.208" v="68"/>
          <ac:spMkLst>
            <pc:docMk/>
            <pc:sldMk cId="3832963388" sldId="588"/>
            <ac:spMk id="4" creationId="{00000000-0000-0000-0000-000000000000}"/>
          </ac:spMkLst>
        </pc:spChg>
        <pc:spChg chg="mod">
          <ac:chgData name="Eileen Fleming Suse" userId="S::efs3844@ads.northwestern.edu::725c94ef-d051-42d7-9d33-8572765d592b" providerId="AD" clId="Web-{AC5E249F-4AD8-EC7C-FB2F-902F01AC2000}" dt="2023-10-26T21:51:10.602" v="98" actId="1076"/>
          <ac:spMkLst>
            <pc:docMk/>
            <pc:sldMk cId="3832963388" sldId="588"/>
            <ac:spMk id="15" creationId="{00000000-0000-0000-0000-000000000000}"/>
          </ac:spMkLst>
        </pc:spChg>
        <pc:spChg chg="mod">
          <ac:chgData name="Eileen Fleming Suse" userId="S::efs3844@ads.northwestern.edu::725c94ef-d051-42d7-9d33-8572765d592b" providerId="AD" clId="Web-{AC5E249F-4AD8-EC7C-FB2F-902F01AC2000}" dt="2023-10-26T21:51:10.634" v="99" actId="1076"/>
          <ac:spMkLst>
            <pc:docMk/>
            <pc:sldMk cId="3832963388" sldId="588"/>
            <ac:spMk id="16" creationId="{00000000-0000-0000-0000-000000000000}"/>
          </ac:spMkLst>
        </pc:spChg>
        <pc:spChg chg="mod">
          <ac:chgData name="Eileen Fleming Suse" userId="S::efs3844@ads.northwestern.edu::725c94ef-d051-42d7-9d33-8572765d592b" providerId="AD" clId="Web-{AC5E249F-4AD8-EC7C-FB2F-902F01AC2000}" dt="2023-10-26T21:51:10.680" v="100" actId="1076"/>
          <ac:spMkLst>
            <pc:docMk/>
            <pc:sldMk cId="3832963388" sldId="588"/>
            <ac:spMk id="17" creationId="{00000000-0000-0000-0000-000000000000}"/>
          </ac:spMkLst>
        </pc:spChg>
        <pc:spChg chg="mod">
          <ac:chgData name="Eileen Fleming Suse" userId="S::efs3844@ads.northwestern.edu::725c94ef-d051-42d7-9d33-8572765d592b" providerId="AD" clId="Web-{AC5E249F-4AD8-EC7C-FB2F-902F01AC2000}" dt="2023-10-26T21:51:10.743" v="101" actId="1076"/>
          <ac:spMkLst>
            <pc:docMk/>
            <pc:sldMk cId="3832963388" sldId="588"/>
            <ac:spMk id="18" creationId="{00000000-0000-0000-0000-000000000000}"/>
          </ac:spMkLst>
        </pc:spChg>
        <pc:spChg chg="mod">
          <ac:chgData name="Eileen Fleming Suse" userId="S::efs3844@ads.northwestern.edu::725c94ef-d051-42d7-9d33-8572765d592b" providerId="AD" clId="Web-{AC5E249F-4AD8-EC7C-FB2F-902F01AC2000}" dt="2023-10-26T21:51:10.790" v="102" actId="1076"/>
          <ac:spMkLst>
            <pc:docMk/>
            <pc:sldMk cId="3832963388" sldId="588"/>
            <ac:spMk id="19" creationId="{00000000-0000-0000-0000-000000000000}"/>
          </ac:spMkLst>
        </pc:spChg>
        <pc:spChg chg="mod">
          <ac:chgData name="Eileen Fleming Suse" userId="S::efs3844@ads.northwestern.edu::725c94ef-d051-42d7-9d33-8572765d592b" providerId="AD" clId="Web-{AC5E249F-4AD8-EC7C-FB2F-902F01AC2000}" dt="2023-10-26T21:51:10.837" v="103" actId="1076"/>
          <ac:spMkLst>
            <pc:docMk/>
            <pc:sldMk cId="3832963388" sldId="588"/>
            <ac:spMk id="20" creationId="{00000000-0000-0000-0000-000000000000}"/>
          </ac:spMkLst>
        </pc:spChg>
        <pc:spChg chg="mod">
          <ac:chgData name="Eileen Fleming Suse" userId="S::efs3844@ads.northwestern.edu::725c94ef-d051-42d7-9d33-8572765d592b" providerId="AD" clId="Web-{AC5E249F-4AD8-EC7C-FB2F-902F01AC2000}" dt="2023-10-26T21:49:27.723" v="72" actId="1076"/>
          <ac:spMkLst>
            <pc:docMk/>
            <pc:sldMk cId="3832963388" sldId="588"/>
            <ac:spMk id="22" creationId="{00000000-0000-0000-0000-000000000000}"/>
          </ac:spMkLst>
        </pc:spChg>
        <pc:spChg chg="del">
          <ac:chgData name="Eileen Fleming Suse" userId="S::efs3844@ads.northwestern.edu::725c94ef-d051-42d7-9d33-8572765d592b" providerId="AD" clId="Web-{AC5E249F-4AD8-EC7C-FB2F-902F01AC2000}" dt="2023-10-26T21:49:26.473" v="67"/>
          <ac:spMkLst>
            <pc:docMk/>
            <pc:sldMk cId="3832963388" sldId="588"/>
            <ac:spMk id="23" creationId="{00000000-0000-0000-0000-000000000000}"/>
          </ac:spMkLst>
        </pc:spChg>
        <pc:spChg chg="mod">
          <ac:chgData name="Eileen Fleming Suse" userId="S::efs3844@ads.northwestern.edu::725c94ef-d051-42d7-9d33-8572765d592b" providerId="AD" clId="Web-{AC5E249F-4AD8-EC7C-FB2F-902F01AC2000}" dt="2023-10-26T21:50:41.961" v="91" actId="1076"/>
          <ac:spMkLst>
            <pc:docMk/>
            <pc:sldMk cId="3832963388" sldId="588"/>
            <ac:spMk id="24" creationId="{00000000-0000-0000-0000-000000000000}"/>
          </ac:spMkLst>
        </pc:spChg>
        <pc:spChg chg="mod">
          <ac:chgData name="Eileen Fleming Suse" userId="S::efs3844@ads.northwestern.edu::725c94ef-d051-42d7-9d33-8572765d592b" providerId="AD" clId="Web-{AC5E249F-4AD8-EC7C-FB2F-902F01AC2000}" dt="2023-10-26T21:50:27.913" v="88" actId="1076"/>
          <ac:spMkLst>
            <pc:docMk/>
            <pc:sldMk cId="3832963388" sldId="588"/>
            <ac:spMk id="25" creationId="{00000000-0000-0000-0000-000000000000}"/>
          </ac:spMkLst>
        </pc:spChg>
        <pc:spChg chg="mod">
          <ac:chgData name="Eileen Fleming Suse" userId="S::efs3844@ads.northwestern.edu::725c94ef-d051-42d7-9d33-8572765d592b" providerId="AD" clId="Web-{AC5E249F-4AD8-EC7C-FB2F-902F01AC2000}" dt="2023-10-26T21:50:27.038" v="85" actId="1076"/>
          <ac:spMkLst>
            <pc:docMk/>
            <pc:sldMk cId="3832963388" sldId="588"/>
            <ac:spMk id="26" creationId="{00000000-0000-0000-0000-000000000000}"/>
          </ac:spMkLst>
        </pc:spChg>
        <pc:spChg chg="mod">
          <ac:chgData name="Eileen Fleming Suse" userId="S::efs3844@ads.northwestern.edu::725c94ef-d051-42d7-9d33-8572765d592b" providerId="AD" clId="Web-{AC5E249F-4AD8-EC7C-FB2F-902F01AC2000}" dt="2023-10-26T21:50:56.242" v="94" actId="1076"/>
          <ac:spMkLst>
            <pc:docMk/>
            <pc:sldMk cId="3832963388" sldId="588"/>
            <ac:spMk id="27" creationId="{00000000-0000-0000-0000-000000000000}"/>
          </ac:spMkLst>
        </pc:spChg>
        <pc:spChg chg="mod">
          <ac:chgData name="Eileen Fleming Suse" userId="S::efs3844@ads.northwestern.edu::725c94ef-d051-42d7-9d33-8572765d592b" providerId="AD" clId="Web-{AC5E249F-4AD8-EC7C-FB2F-902F01AC2000}" dt="2023-10-26T21:50:56.274" v="95" actId="1076"/>
          <ac:spMkLst>
            <pc:docMk/>
            <pc:sldMk cId="3832963388" sldId="588"/>
            <ac:spMk id="28" creationId="{00000000-0000-0000-0000-000000000000}"/>
          </ac:spMkLst>
        </pc:spChg>
        <pc:spChg chg="mod">
          <ac:chgData name="Eileen Fleming Suse" userId="S::efs3844@ads.northwestern.edu::725c94ef-d051-42d7-9d33-8572765d592b" providerId="AD" clId="Web-{AC5E249F-4AD8-EC7C-FB2F-902F01AC2000}" dt="2023-10-26T21:50:41.336" v="89" actId="1076"/>
          <ac:spMkLst>
            <pc:docMk/>
            <pc:sldMk cId="3832963388" sldId="588"/>
            <ac:spMk id="29" creationId="{00000000-0000-0000-0000-000000000000}"/>
          </ac:spMkLst>
        </pc:spChg>
        <pc:spChg chg="mod">
          <ac:chgData name="Eileen Fleming Suse" userId="S::efs3844@ads.northwestern.edu::725c94ef-d051-42d7-9d33-8572765d592b" providerId="AD" clId="Web-{AC5E249F-4AD8-EC7C-FB2F-902F01AC2000}" dt="2023-10-26T21:50:27.101" v="86" actId="1076"/>
          <ac:spMkLst>
            <pc:docMk/>
            <pc:sldMk cId="3832963388" sldId="588"/>
            <ac:spMk id="30" creationId="{00000000-0000-0000-0000-000000000000}"/>
          </ac:spMkLst>
        </pc:spChg>
        <pc:spChg chg="mod">
          <ac:chgData name="Eileen Fleming Suse" userId="S::efs3844@ads.northwestern.edu::725c94ef-d051-42d7-9d33-8572765d592b" providerId="AD" clId="Web-{AC5E249F-4AD8-EC7C-FB2F-902F01AC2000}" dt="2023-10-26T21:50:27.163" v="87" actId="1076"/>
          <ac:spMkLst>
            <pc:docMk/>
            <pc:sldMk cId="3832963388" sldId="588"/>
            <ac:spMk id="31" creationId="{00000000-0000-0000-0000-000000000000}"/>
          </ac:spMkLst>
        </pc:spChg>
        <pc:spChg chg="mod">
          <ac:chgData name="Eileen Fleming Suse" userId="S::efs3844@ads.northwestern.edu::725c94ef-d051-42d7-9d33-8572765d592b" providerId="AD" clId="Web-{AC5E249F-4AD8-EC7C-FB2F-902F01AC2000}" dt="2023-10-26T21:50:56.321" v="96" actId="1076"/>
          <ac:spMkLst>
            <pc:docMk/>
            <pc:sldMk cId="3832963388" sldId="588"/>
            <ac:spMk id="32" creationId="{00000000-0000-0000-0000-000000000000}"/>
          </ac:spMkLst>
        </pc:spChg>
        <pc:spChg chg="mod">
          <ac:chgData name="Eileen Fleming Suse" userId="S::efs3844@ads.northwestern.edu::725c94ef-d051-42d7-9d33-8572765d592b" providerId="AD" clId="Web-{AC5E249F-4AD8-EC7C-FB2F-902F01AC2000}" dt="2023-10-26T21:50:56.367" v="97" actId="1076"/>
          <ac:spMkLst>
            <pc:docMk/>
            <pc:sldMk cId="3832963388" sldId="588"/>
            <ac:spMk id="33" creationId="{00000000-0000-0000-0000-000000000000}"/>
          </ac:spMkLst>
        </pc:spChg>
        <pc:spChg chg="mod">
          <ac:chgData name="Eileen Fleming Suse" userId="S::efs3844@ads.northwestern.edu::725c94ef-d051-42d7-9d33-8572765d592b" providerId="AD" clId="Web-{AC5E249F-4AD8-EC7C-FB2F-902F01AC2000}" dt="2023-10-26T21:45:55.043" v="18" actId="20577"/>
          <ac:spMkLst>
            <pc:docMk/>
            <pc:sldMk cId="3832963388" sldId="588"/>
            <ac:spMk id="34" creationId="{00000000-0000-0000-0000-000000000000}"/>
          </ac:spMkLst>
        </pc:spChg>
        <pc:spChg chg="add">
          <ac:chgData name="Eileen Fleming Suse" userId="S::efs3844@ads.northwestern.edu::725c94ef-d051-42d7-9d33-8572765d592b" providerId="AD" clId="Web-{AC5E249F-4AD8-EC7C-FB2F-902F01AC2000}" dt="2023-10-26T21:49:27.426" v="69"/>
          <ac:spMkLst>
            <pc:docMk/>
            <pc:sldMk cId="3832963388" sldId="588"/>
            <ac:spMk id="36" creationId="{3EFC5C80-E693-6C51-4DEF-583812BEAB54}"/>
          </ac:spMkLst>
        </pc:spChg>
        <pc:spChg chg="add">
          <ac:chgData name="Eileen Fleming Suse" userId="S::efs3844@ads.northwestern.edu::725c94ef-d051-42d7-9d33-8572765d592b" providerId="AD" clId="Web-{AC5E249F-4AD8-EC7C-FB2F-902F01AC2000}" dt="2023-10-26T21:49:27.489" v="70"/>
          <ac:spMkLst>
            <pc:docMk/>
            <pc:sldMk cId="3832963388" sldId="588"/>
            <ac:spMk id="38" creationId="{9B32A794-89CE-3CF7-CCFB-FB03BB567C6D}"/>
          </ac:spMkLst>
        </pc:spChg>
        <pc:spChg chg="add">
          <ac:chgData name="Eileen Fleming Suse" userId="S::efs3844@ads.northwestern.edu::725c94ef-d051-42d7-9d33-8572765d592b" providerId="AD" clId="Web-{AC5E249F-4AD8-EC7C-FB2F-902F01AC2000}" dt="2023-10-26T21:49:27.551" v="71"/>
          <ac:spMkLst>
            <pc:docMk/>
            <pc:sldMk cId="3832963388" sldId="588"/>
            <ac:spMk id="40" creationId="{75C1E2E3-7399-8294-DAEC-AEBB0FCAC9D7}"/>
          </ac:spMkLst>
        </pc:spChg>
        <pc:grpChg chg="mod">
          <ac:chgData name="Eileen Fleming Suse" userId="S::efs3844@ads.northwestern.edu::725c94ef-d051-42d7-9d33-8572765d592b" providerId="AD" clId="Web-{AC5E249F-4AD8-EC7C-FB2F-902F01AC2000}" dt="2023-10-26T21:50:56.149" v="92" actId="1076"/>
          <ac:grpSpMkLst>
            <pc:docMk/>
            <pc:sldMk cId="3832963388" sldId="588"/>
            <ac:grpSpMk id="5" creationId="{00000000-0000-0000-0000-000000000000}"/>
          </ac:grpSpMkLst>
        </pc:grpChg>
        <pc:grpChg chg="mod">
          <ac:chgData name="Eileen Fleming Suse" userId="S::efs3844@ads.northwestern.edu::725c94ef-d051-42d7-9d33-8572765d592b" providerId="AD" clId="Web-{AC5E249F-4AD8-EC7C-FB2F-902F01AC2000}" dt="2023-10-26T21:50:26.944" v="83" actId="1076"/>
          <ac:grpSpMkLst>
            <pc:docMk/>
            <pc:sldMk cId="3832963388" sldId="588"/>
            <ac:grpSpMk id="7" creationId="{00000000-0000-0000-0000-000000000000}"/>
          </ac:grpSpMkLst>
        </pc:grpChg>
        <pc:grpChg chg="mod">
          <ac:chgData name="Eileen Fleming Suse" userId="S::efs3844@ads.northwestern.edu::725c94ef-d051-42d7-9d33-8572765d592b" providerId="AD" clId="Web-{AC5E249F-4AD8-EC7C-FB2F-902F01AC2000}" dt="2023-10-26T21:50:26.991" v="84" actId="1076"/>
          <ac:grpSpMkLst>
            <pc:docMk/>
            <pc:sldMk cId="3832963388" sldId="588"/>
            <ac:grpSpMk id="9" creationId="{00000000-0000-0000-0000-000000000000}"/>
          </ac:grpSpMkLst>
        </pc:grpChg>
        <pc:grpChg chg="mod">
          <ac:chgData name="Eileen Fleming Suse" userId="S::efs3844@ads.northwestern.edu::725c94ef-d051-42d7-9d33-8572765d592b" providerId="AD" clId="Web-{AC5E249F-4AD8-EC7C-FB2F-902F01AC2000}" dt="2023-10-26T21:50:41.836" v="90" actId="1076"/>
          <ac:grpSpMkLst>
            <pc:docMk/>
            <pc:sldMk cId="3832963388" sldId="588"/>
            <ac:grpSpMk id="11" creationId="{00000000-0000-0000-0000-000000000000}"/>
          </ac:grpSpMkLst>
        </pc:grpChg>
        <pc:grpChg chg="mod">
          <ac:chgData name="Eileen Fleming Suse" userId="S::efs3844@ads.northwestern.edu::725c94ef-d051-42d7-9d33-8572765d592b" providerId="AD" clId="Web-{AC5E249F-4AD8-EC7C-FB2F-902F01AC2000}" dt="2023-10-26T21:50:56.196" v="93" actId="1076"/>
          <ac:grpSpMkLst>
            <pc:docMk/>
            <pc:sldMk cId="3832963388" sldId="588"/>
            <ac:grpSpMk id="13" creationId="{00000000-0000-0000-0000-000000000000}"/>
          </ac:grpSpMkLst>
        </pc:grpChg>
      </pc:sldChg>
      <pc:sldChg chg="addSp delSp modSp add ord">
        <pc:chgData name="Eileen Fleming Suse" userId="S::efs3844@ads.northwestern.edu::725c94ef-d051-42d7-9d33-8572765d592b" providerId="AD" clId="Web-{AC5E249F-4AD8-EC7C-FB2F-902F01AC2000}" dt="2023-10-27T16:13:42.624" v="346"/>
        <pc:sldMkLst>
          <pc:docMk/>
          <pc:sldMk cId="435998680" sldId="589"/>
        </pc:sldMkLst>
        <pc:spChg chg="del">
          <ac:chgData name="Eileen Fleming Suse" userId="S::efs3844@ads.northwestern.edu::725c94ef-d051-42d7-9d33-8572765d592b" providerId="AD" clId="Web-{AC5E249F-4AD8-EC7C-FB2F-902F01AC2000}" dt="2023-10-26T21:47:48.595" v="38"/>
          <ac:spMkLst>
            <pc:docMk/>
            <pc:sldMk cId="435998680" sldId="589"/>
            <ac:spMk id="4" creationId="{00000000-0000-0000-0000-000000000000}"/>
          </ac:spMkLst>
        </pc:spChg>
        <pc:spChg chg="del mod">
          <ac:chgData name="Eileen Fleming Suse" userId="S::efs3844@ads.northwestern.edu::725c94ef-d051-42d7-9d33-8572765d592b" providerId="AD" clId="Web-{AC5E249F-4AD8-EC7C-FB2F-902F01AC2000}" dt="2023-10-26T21:47:50.360" v="40"/>
          <ac:spMkLst>
            <pc:docMk/>
            <pc:sldMk cId="435998680" sldId="589"/>
            <ac:spMk id="12" creationId="{00000000-0000-0000-0000-000000000000}"/>
          </ac:spMkLst>
        </pc:spChg>
        <pc:spChg chg="mod">
          <ac:chgData name="Eileen Fleming Suse" userId="S::efs3844@ads.northwestern.edu::725c94ef-d051-42d7-9d33-8572765d592b" providerId="AD" clId="Web-{AC5E249F-4AD8-EC7C-FB2F-902F01AC2000}" dt="2023-10-26T21:45:51.981" v="16" actId="20577"/>
          <ac:spMkLst>
            <pc:docMk/>
            <pc:sldMk cId="435998680" sldId="589"/>
            <ac:spMk id="17" creationId="{00000000-0000-0000-0000-000000000000}"/>
          </ac:spMkLst>
        </pc:spChg>
        <pc:spChg chg="add">
          <ac:chgData name="Eileen Fleming Suse" userId="S::efs3844@ads.northwestern.edu::725c94ef-d051-42d7-9d33-8572765d592b" providerId="AD" clId="Web-{AC5E249F-4AD8-EC7C-FB2F-902F01AC2000}" dt="2023-10-26T21:47:51.751" v="41"/>
          <ac:spMkLst>
            <pc:docMk/>
            <pc:sldMk cId="435998680" sldId="589"/>
            <ac:spMk id="19" creationId="{4F38B046-5CD5-F005-45E3-2034830DFD34}"/>
          </ac:spMkLst>
        </pc:spChg>
        <pc:spChg chg="add">
          <ac:chgData name="Eileen Fleming Suse" userId="S::efs3844@ads.northwestern.edu::725c94ef-d051-42d7-9d33-8572765d592b" providerId="AD" clId="Web-{AC5E249F-4AD8-EC7C-FB2F-902F01AC2000}" dt="2023-10-26T21:47:51.798" v="42"/>
          <ac:spMkLst>
            <pc:docMk/>
            <pc:sldMk cId="435998680" sldId="589"/>
            <ac:spMk id="21" creationId="{A35E0C3C-CC22-A1A0-8E94-9EEE65798BD1}"/>
          </ac:spMkLst>
        </pc:spChg>
        <pc:spChg chg="add">
          <ac:chgData name="Eileen Fleming Suse" userId="S::efs3844@ads.northwestern.edu::725c94ef-d051-42d7-9d33-8572765d592b" providerId="AD" clId="Web-{AC5E249F-4AD8-EC7C-FB2F-902F01AC2000}" dt="2023-10-26T21:47:51.813" v="43"/>
          <ac:spMkLst>
            <pc:docMk/>
            <pc:sldMk cId="435998680" sldId="589"/>
            <ac:spMk id="23" creationId="{4187CCE4-601B-24DB-941F-235B18EDE475}"/>
          </ac:spMkLst>
        </pc:spChg>
      </pc:sldChg>
      <pc:sldChg chg="addSp delSp add ord">
        <pc:chgData name="Eileen Fleming Suse" userId="S::efs3844@ads.northwestern.edu::725c94ef-d051-42d7-9d33-8572765d592b" providerId="AD" clId="Web-{AC5E249F-4AD8-EC7C-FB2F-902F01AC2000}" dt="2023-10-26T21:48:38.488" v="55"/>
        <pc:sldMkLst>
          <pc:docMk/>
          <pc:sldMk cId="595546358" sldId="590"/>
        </pc:sldMkLst>
        <pc:spChg chg="del">
          <ac:chgData name="Eileen Fleming Suse" userId="S::efs3844@ads.northwestern.edu::725c94ef-d051-42d7-9d33-8572765d592b" providerId="AD" clId="Web-{AC5E249F-4AD8-EC7C-FB2F-902F01AC2000}" dt="2023-10-26T21:48:24.174" v="49"/>
          <ac:spMkLst>
            <pc:docMk/>
            <pc:sldMk cId="595546358" sldId="590"/>
            <ac:spMk id="4" creationId="{00000000-0000-0000-0000-000000000000}"/>
          </ac:spMkLst>
        </pc:spChg>
        <pc:spChg chg="del">
          <ac:chgData name="Eileen Fleming Suse" userId="S::efs3844@ads.northwestern.edu::725c94ef-d051-42d7-9d33-8572765d592b" providerId="AD" clId="Web-{AC5E249F-4AD8-EC7C-FB2F-902F01AC2000}" dt="2023-10-26T21:48:24.283" v="50"/>
          <ac:spMkLst>
            <pc:docMk/>
            <pc:sldMk cId="595546358" sldId="590"/>
            <ac:spMk id="23" creationId="{00000000-0000-0000-0000-000000000000}"/>
          </ac:spMkLst>
        </pc:spChg>
        <pc:spChg chg="add">
          <ac:chgData name="Eileen Fleming Suse" userId="S::efs3844@ads.northwestern.edu::725c94ef-d051-42d7-9d33-8572765d592b" providerId="AD" clId="Web-{AC5E249F-4AD8-EC7C-FB2F-902F01AC2000}" dt="2023-10-26T21:48:24.393" v="51"/>
          <ac:spMkLst>
            <pc:docMk/>
            <pc:sldMk cId="595546358" sldId="590"/>
            <ac:spMk id="30" creationId="{53721EF8-C35D-834E-9339-D65FFE7AFF9A}"/>
          </ac:spMkLst>
        </pc:spChg>
        <pc:spChg chg="add">
          <ac:chgData name="Eileen Fleming Suse" userId="S::efs3844@ads.northwestern.edu::725c94ef-d051-42d7-9d33-8572765d592b" providerId="AD" clId="Web-{AC5E249F-4AD8-EC7C-FB2F-902F01AC2000}" dt="2023-10-26T21:48:24.408" v="52"/>
          <ac:spMkLst>
            <pc:docMk/>
            <pc:sldMk cId="595546358" sldId="590"/>
            <ac:spMk id="32" creationId="{F1AED984-C21E-AA63-E34E-DA61BCE8401F}"/>
          </ac:spMkLst>
        </pc:spChg>
        <pc:spChg chg="add">
          <ac:chgData name="Eileen Fleming Suse" userId="S::efs3844@ads.northwestern.edu::725c94ef-d051-42d7-9d33-8572765d592b" providerId="AD" clId="Web-{AC5E249F-4AD8-EC7C-FB2F-902F01AC2000}" dt="2023-10-26T21:48:24.424" v="53"/>
          <ac:spMkLst>
            <pc:docMk/>
            <pc:sldMk cId="595546358" sldId="590"/>
            <ac:spMk id="34" creationId="{6A9EBE99-61D6-2DC0-EB79-B633C9D91DD8}"/>
          </ac:spMkLst>
        </pc:spChg>
      </pc:sldChg>
      <pc:sldChg chg="addSp delSp add">
        <pc:chgData name="Eileen Fleming Suse" userId="S::efs3844@ads.northwestern.edu::725c94ef-d051-42d7-9d33-8572765d592b" providerId="AD" clId="Web-{AC5E249F-4AD8-EC7C-FB2F-902F01AC2000}" dt="2023-10-26T21:48:09.330" v="48"/>
        <pc:sldMkLst>
          <pc:docMk/>
          <pc:sldMk cId="629433230" sldId="591"/>
        </pc:sldMkLst>
        <pc:spChg chg="del">
          <ac:chgData name="Eileen Fleming Suse" userId="S::efs3844@ads.northwestern.edu::725c94ef-d051-42d7-9d33-8572765d592b" providerId="AD" clId="Web-{AC5E249F-4AD8-EC7C-FB2F-902F01AC2000}" dt="2023-10-26T21:48:05.861" v="44"/>
          <ac:spMkLst>
            <pc:docMk/>
            <pc:sldMk cId="629433230" sldId="591"/>
            <ac:spMk id="4" creationId="{00000000-0000-0000-0000-000000000000}"/>
          </ac:spMkLst>
        </pc:spChg>
        <pc:spChg chg="del">
          <ac:chgData name="Eileen Fleming Suse" userId="S::efs3844@ads.northwestern.edu::725c94ef-d051-42d7-9d33-8572765d592b" providerId="AD" clId="Web-{AC5E249F-4AD8-EC7C-FB2F-902F01AC2000}" dt="2023-10-26T21:48:08.158" v="45"/>
          <ac:spMkLst>
            <pc:docMk/>
            <pc:sldMk cId="629433230" sldId="591"/>
            <ac:spMk id="16" creationId="{00000000-0000-0000-0000-000000000000}"/>
          </ac:spMkLst>
        </pc:spChg>
        <pc:spChg chg="add">
          <ac:chgData name="Eileen Fleming Suse" userId="S::efs3844@ads.northwestern.edu::725c94ef-d051-42d7-9d33-8572765d592b" providerId="AD" clId="Web-{AC5E249F-4AD8-EC7C-FB2F-902F01AC2000}" dt="2023-10-26T21:48:09.252" v="46"/>
          <ac:spMkLst>
            <pc:docMk/>
            <pc:sldMk cId="629433230" sldId="591"/>
            <ac:spMk id="24" creationId="{82DED22A-2957-2107-97D2-7694FF88F0A5}"/>
          </ac:spMkLst>
        </pc:spChg>
        <pc:spChg chg="add">
          <ac:chgData name="Eileen Fleming Suse" userId="S::efs3844@ads.northwestern.edu::725c94ef-d051-42d7-9d33-8572765d592b" providerId="AD" clId="Web-{AC5E249F-4AD8-EC7C-FB2F-902F01AC2000}" dt="2023-10-26T21:48:09.298" v="47"/>
          <ac:spMkLst>
            <pc:docMk/>
            <pc:sldMk cId="629433230" sldId="591"/>
            <ac:spMk id="26" creationId="{7ADA2A22-B85F-E8A9-52B3-7FA1A111EB25}"/>
          </ac:spMkLst>
        </pc:spChg>
        <pc:spChg chg="add">
          <ac:chgData name="Eileen Fleming Suse" userId="S::efs3844@ads.northwestern.edu::725c94ef-d051-42d7-9d33-8572765d592b" providerId="AD" clId="Web-{AC5E249F-4AD8-EC7C-FB2F-902F01AC2000}" dt="2023-10-26T21:48:09.330" v="48"/>
          <ac:spMkLst>
            <pc:docMk/>
            <pc:sldMk cId="629433230" sldId="591"/>
            <ac:spMk id="28" creationId="{D3AD1992-E406-9041-27DE-F66F0C777757}"/>
          </ac:spMkLst>
        </pc:spChg>
      </pc:sldChg>
      <pc:sldChg chg="add del addCm">
        <pc:chgData name="Eileen Fleming Suse" userId="S::efs3844@ads.northwestern.edu::725c94ef-d051-42d7-9d33-8572765d592b" providerId="AD" clId="Web-{AC5E249F-4AD8-EC7C-FB2F-902F01AC2000}" dt="2023-10-26T22:01:28.298" v="179"/>
        <pc:sldMkLst>
          <pc:docMk/>
          <pc:sldMk cId="4102962722" sldId="592"/>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AC5E249F-4AD8-EC7C-FB2F-902F01AC2000}" dt="2023-10-26T22:01:28.298" v="179"/>
              <pc2:cmMkLst xmlns:pc2="http://schemas.microsoft.com/office/powerpoint/2019/9/main/command">
                <pc:docMk/>
                <pc:sldMk cId="4102962722" sldId="592"/>
                <pc2:cmMk id="{ED77AB97-E80B-44F4-80E6-44E381970832}"/>
              </pc2:cmMkLst>
            </pc226:cmChg>
          </p:ext>
        </pc:extLst>
      </pc:sldChg>
      <pc:sldChg chg="add del">
        <pc:chgData name="Eileen Fleming Suse" userId="S::efs3844@ads.northwestern.edu::725c94ef-d051-42d7-9d33-8572765d592b" providerId="AD" clId="Web-{AC5E249F-4AD8-EC7C-FB2F-902F01AC2000}" dt="2023-10-26T21:59:49.607" v="171"/>
        <pc:sldMkLst>
          <pc:docMk/>
          <pc:sldMk cId="3969440120" sldId="593"/>
        </pc:sldMkLst>
      </pc:sldChg>
      <pc:sldChg chg="add del">
        <pc:chgData name="Eileen Fleming Suse" userId="S::efs3844@ads.northwestern.edu::725c94ef-d051-42d7-9d33-8572765d592b" providerId="AD" clId="Web-{AC5E249F-4AD8-EC7C-FB2F-902F01AC2000}" dt="2023-10-26T21:59:49.497" v="170"/>
        <pc:sldMkLst>
          <pc:docMk/>
          <pc:sldMk cId="2412661198" sldId="594"/>
        </pc:sldMkLst>
      </pc:sldChg>
      <pc:sldChg chg="add del">
        <pc:chgData name="Eileen Fleming Suse" userId="S::efs3844@ads.northwestern.edu::725c94ef-d051-42d7-9d33-8572765d592b" providerId="AD" clId="Web-{AC5E249F-4AD8-EC7C-FB2F-902F01AC2000}" dt="2023-10-26T21:59:49.404" v="169"/>
        <pc:sldMkLst>
          <pc:docMk/>
          <pc:sldMk cId="3516145000" sldId="595"/>
        </pc:sldMkLst>
      </pc:sldChg>
      <pc:sldChg chg="add del">
        <pc:chgData name="Eileen Fleming Suse" userId="S::efs3844@ads.northwestern.edu::725c94ef-d051-42d7-9d33-8572765d592b" providerId="AD" clId="Web-{AC5E249F-4AD8-EC7C-FB2F-902F01AC2000}" dt="2023-10-26T21:59:49.341" v="168"/>
        <pc:sldMkLst>
          <pc:docMk/>
          <pc:sldMk cId="2417460478" sldId="596"/>
        </pc:sldMkLst>
      </pc:sldChg>
      <pc:sldChg chg="add del">
        <pc:chgData name="Eileen Fleming Suse" userId="S::efs3844@ads.northwestern.edu::725c94ef-d051-42d7-9d33-8572765d592b" providerId="AD" clId="Web-{AC5E249F-4AD8-EC7C-FB2F-902F01AC2000}" dt="2023-10-26T21:59:49.279" v="167"/>
        <pc:sldMkLst>
          <pc:docMk/>
          <pc:sldMk cId="81318788" sldId="597"/>
        </pc:sldMkLst>
      </pc:sldChg>
      <pc:sldChg chg="add del addCm delCm">
        <pc:chgData name="Eileen Fleming Suse" userId="S::efs3844@ads.northwestern.edu::725c94ef-d051-42d7-9d33-8572765d592b" providerId="AD" clId="Web-{AC5E249F-4AD8-EC7C-FB2F-902F01AC2000}" dt="2023-10-26T22:03:03.911" v="181"/>
        <pc:sldMkLst>
          <pc:docMk/>
          <pc:sldMk cId="1569232529" sldId="598"/>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AC5E249F-4AD8-EC7C-FB2F-902F01AC2000}" dt="2023-10-26T22:01:39.986" v="180"/>
              <pc2:cmMkLst xmlns:pc2="http://schemas.microsoft.com/office/powerpoint/2019/9/main/command">
                <pc:docMk/>
                <pc:sldMk cId="1569232529" sldId="598"/>
                <pc2:cmMk id="{137A254D-2737-4985-B0AB-6839DDC46AE0}"/>
              </pc2:cmMkLst>
            </pc226:cmChg>
            <pc226:cmChg xmlns:pc226="http://schemas.microsoft.com/office/powerpoint/2022/06/main/command" chg="add">
              <pc226:chgData name="Eileen Fleming Suse" userId="S::efs3844@ads.northwestern.edu::725c94ef-d051-42d7-9d33-8572765d592b" providerId="AD" clId="Web-{AC5E249F-4AD8-EC7C-FB2F-902F01AC2000}" dt="2023-10-26T22:03:03.911" v="181"/>
              <pc2:cmMkLst xmlns:pc2="http://schemas.microsoft.com/office/powerpoint/2019/9/main/command">
                <pc:docMk/>
                <pc:sldMk cId="1569232529" sldId="598"/>
                <pc2:cmMk id="{6C353279-3DE6-48C1-99BD-BBA70C8082BC}"/>
              </pc2:cmMkLst>
            </pc226:cmChg>
          </p:ext>
        </pc:extLst>
      </pc:sldChg>
      <pc:sldChg chg="add del">
        <pc:chgData name="Eileen Fleming Suse" userId="S::efs3844@ads.northwestern.edu::725c94ef-d051-42d7-9d33-8572765d592b" providerId="AD" clId="Web-{AC5E249F-4AD8-EC7C-FB2F-902F01AC2000}" dt="2023-10-27T16:04:51.687" v="308"/>
        <pc:sldMkLst>
          <pc:docMk/>
          <pc:sldMk cId="2439308623" sldId="599"/>
        </pc:sldMkLst>
      </pc:sldChg>
    </pc:docChg>
  </pc:docChgLst>
  <pc:docChgLst>
    <pc:chgData name="Alana Rivera" userId="S::arg3669@ads.northwestern.edu::fc8b707a-b7e9-4f2a-8d71-2d76819b7881" providerId="AD" clId="Web-{8E54177A-FEA1-170D-0EA8-ABD6FF4ACD90}"/>
    <pc:docChg chg="addSld modSld modMainMaster">
      <pc:chgData name="Alana Rivera" userId="S::arg3669@ads.northwestern.edu::fc8b707a-b7e9-4f2a-8d71-2d76819b7881" providerId="AD" clId="Web-{8E54177A-FEA1-170D-0EA8-ABD6FF4ACD90}" dt="2023-10-30T19:44:29.502" v="28" actId="1076"/>
      <pc:docMkLst>
        <pc:docMk/>
      </pc:docMkLst>
      <pc:sldChg chg="addCm">
        <pc:chgData name="Alana Rivera" userId="S::arg3669@ads.northwestern.edu::fc8b707a-b7e9-4f2a-8d71-2d76819b7881" providerId="AD" clId="Web-{8E54177A-FEA1-170D-0EA8-ABD6FF4ACD90}" dt="2023-10-30T19:07:35.597" v="0"/>
        <pc:sldMkLst>
          <pc:docMk/>
          <pc:sldMk cId="3127921386" sldId="280"/>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8E54177A-FEA1-170D-0EA8-ABD6FF4ACD90}" dt="2023-10-30T19:07:35.597" v="0"/>
              <pc2:cmMkLst xmlns:pc2="http://schemas.microsoft.com/office/powerpoint/2019/9/main/command">
                <pc:docMk/>
                <pc:sldMk cId="3127921386" sldId="280"/>
                <pc2:cmMk id="{78C9B980-2656-432B-BA11-07ACE79B211F}"/>
              </pc2:cmMkLst>
            </pc226:cmChg>
          </p:ext>
        </pc:extLst>
      </pc:sldChg>
      <pc:sldChg chg="addSp modSp">
        <pc:chgData name="Alana Rivera" userId="S::arg3669@ads.northwestern.edu::fc8b707a-b7e9-4f2a-8d71-2d76819b7881" providerId="AD" clId="Web-{8E54177A-FEA1-170D-0EA8-ABD6FF4ACD90}" dt="2023-10-30T19:42:37.202" v="17" actId="20577"/>
        <pc:sldMkLst>
          <pc:docMk/>
          <pc:sldMk cId="3419957415" sldId="577"/>
        </pc:sldMkLst>
        <pc:spChg chg="add mod">
          <ac:chgData name="Alana Rivera" userId="S::arg3669@ads.northwestern.edu::fc8b707a-b7e9-4f2a-8d71-2d76819b7881" providerId="AD" clId="Web-{8E54177A-FEA1-170D-0EA8-ABD6FF4ACD90}" dt="2023-10-30T19:42:37.202" v="17" actId="20577"/>
          <ac:spMkLst>
            <pc:docMk/>
            <pc:sldMk cId="3419957415" sldId="577"/>
            <ac:spMk id="64" creationId="{CE06DA76-2516-7530-74D6-38D1B1FC6BFE}"/>
          </ac:spMkLst>
        </pc:spChg>
      </pc:sldChg>
      <pc:sldChg chg="addSp modSp">
        <pc:chgData name="Alana Rivera" userId="S::arg3669@ads.northwestern.edu::fc8b707a-b7e9-4f2a-8d71-2d76819b7881" providerId="AD" clId="Web-{8E54177A-FEA1-170D-0EA8-ABD6FF4ACD90}" dt="2023-10-30T19:44:29.502" v="28" actId="1076"/>
        <pc:sldMkLst>
          <pc:docMk/>
          <pc:sldMk cId="785115983" sldId="578"/>
        </pc:sldMkLst>
        <pc:spChg chg="add mod">
          <ac:chgData name="Alana Rivera" userId="S::arg3669@ads.northwestern.edu::fc8b707a-b7e9-4f2a-8d71-2d76819b7881" providerId="AD" clId="Web-{8E54177A-FEA1-170D-0EA8-ABD6FF4ACD90}" dt="2023-10-30T19:44:29.502" v="28" actId="1076"/>
          <ac:spMkLst>
            <pc:docMk/>
            <pc:sldMk cId="785115983" sldId="578"/>
            <ac:spMk id="54" creationId="{3719DC3C-330E-96DC-F3E0-D6B8EE5E5A3C}"/>
          </ac:spMkLst>
        </pc:spChg>
      </pc:sldChg>
      <pc:sldChg chg="addSp modSp">
        <pc:chgData name="Alana Rivera" userId="S::arg3669@ads.northwestern.edu::fc8b707a-b7e9-4f2a-8d71-2d76819b7881" providerId="AD" clId="Web-{8E54177A-FEA1-170D-0EA8-ABD6FF4ACD90}" dt="2023-10-30T19:44:18.002" v="26" actId="1076"/>
        <pc:sldMkLst>
          <pc:docMk/>
          <pc:sldMk cId="3030449316" sldId="579"/>
        </pc:sldMkLst>
        <pc:spChg chg="add mod">
          <ac:chgData name="Alana Rivera" userId="S::arg3669@ads.northwestern.edu::fc8b707a-b7e9-4f2a-8d71-2d76819b7881" providerId="AD" clId="Web-{8E54177A-FEA1-170D-0EA8-ABD6FF4ACD90}" dt="2023-10-30T19:44:18.002" v="26" actId="1076"/>
          <ac:spMkLst>
            <pc:docMk/>
            <pc:sldMk cId="3030449316" sldId="579"/>
            <ac:spMk id="56" creationId="{AB0F7BDF-C613-8BB0-BFCB-8F26B40EC06E}"/>
          </ac:spMkLst>
        </pc:spChg>
      </pc:sldChg>
      <pc:sldChg chg="addSp modSp">
        <pc:chgData name="Alana Rivera" userId="S::arg3669@ads.northwestern.edu::fc8b707a-b7e9-4f2a-8d71-2d76819b7881" providerId="AD" clId="Web-{8E54177A-FEA1-170D-0EA8-ABD6FF4ACD90}" dt="2023-10-30T19:44:05.314" v="24" actId="1076"/>
        <pc:sldMkLst>
          <pc:docMk/>
          <pc:sldMk cId="4283907660" sldId="580"/>
        </pc:sldMkLst>
        <pc:spChg chg="add mod">
          <ac:chgData name="Alana Rivera" userId="S::arg3669@ads.northwestern.edu::fc8b707a-b7e9-4f2a-8d71-2d76819b7881" providerId="AD" clId="Web-{8E54177A-FEA1-170D-0EA8-ABD6FF4ACD90}" dt="2023-10-30T19:44:05.314" v="24" actId="1076"/>
          <ac:spMkLst>
            <pc:docMk/>
            <pc:sldMk cId="4283907660" sldId="580"/>
            <ac:spMk id="71" creationId="{755536B4-F5C2-3697-61E6-0681DE0C12BD}"/>
          </ac:spMkLst>
        </pc:spChg>
      </pc:sldChg>
      <pc:sldChg chg="addSp modSp">
        <pc:chgData name="Alana Rivera" userId="S::arg3669@ads.northwestern.edu::fc8b707a-b7e9-4f2a-8d71-2d76819b7881" providerId="AD" clId="Web-{8E54177A-FEA1-170D-0EA8-ABD6FF4ACD90}" dt="2023-10-30T19:42:59.765" v="19" actId="1076"/>
        <pc:sldMkLst>
          <pc:docMk/>
          <pc:sldMk cId="3429940818" sldId="581"/>
        </pc:sldMkLst>
        <pc:spChg chg="add mod">
          <ac:chgData name="Alana Rivera" userId="S::arg3669@ads.northwestern.edu::fc8b707a-b7e9-4f2a-8d71-2d76819b7881" providerId="AD" clId="Web-{8E54177A-FEA1-170D-0EA8-ABD6FF4ACD90}" dt="2023-10-30T19:42:59.765" v="19" actId="1076"/>
          <ac:spMkLst>
            <pc:docMk/>
            <pc:sldMk cId="3429940818" sldId="581"/>
            <ac:spMk id="73" creationId="{1A989E17-799A-6415-ED4B-A44CCA00B657}"/>
          </ac:spMkLst>
        </pc:spChg>
      </pc:sldChg>
      <pc:sldChg chg="add">
        <pc:chgData name="Alana Rivera" userId="S::arg3669@ads.northwestern.edu::fc8b707a-b7e9-4f2a-8d71-2d76819b7881" providerId="AD" clId="Web-{8E54177A-FEA1-170D-0EA8-ABD6FF4ACD90}" dt="2023-10-30T19:11:07.401" v="1"/>
        <pc:sldMkLst>
          <pc:docMk/>
          <pc:sldMk cId="1271905251" sldId="637"/>
        </pc:sldMkLst>
      </pc:sldChg>
      <pc:sldChg chg="add">
        <pc:chgData name="Alana Rivera" userId="S::arg3669@ads.northwestern.edu::fc8b707a-b7e9-4f2a-8d71-2d76819b7881" providerId="AD" clId="Web-{8E54177A-FEA1-170D-0EA8-ABD6FF4ACD90}" dt="2023-10-30T19:11:07.526" v="2"/>
        <pc:sldMkLst>
          <pc:docMk/>
          <pc:sldMk cId="2890705621" sldId="638"/>
        </pc:sldMkLst>
      </pc:sldChg>
      <pc:sldChg chg="add">
        <pc:chgData name="Alana Rivera" userId="S::arg3669@ads.northwestern.edu::fc8b707a-b7e9-4f2a-8d71-2d76819b7881" providerId="AD" clId="Web-{8E54177A-FEA1-170D-0EA8-ABD6FF4ACD90}" dt="2023-10-30T19:11:25.277" v="3"/>
        <pc:sldMkLst>
          <pc:docMk/>
          <pc:sldMk cId="3557549611" sldId="639"/>
        </pc:sldMkLst>
      </pc:sldChg>
      <pc:sldMasterChg chg="addSldLayout">
        <pc:chgData name="Alana Rivera" userId="S::arg3669@ads.northwestern.edu::fc8b707a-b7e9-4f2a-8d71-2d76819b7881" providerId="AD" clId="Web-{8E54177A-FEA1-170D-0EA8-ABD6FF4ACD90}" dt="2023-10-30T19:11:07.401" v="1"/>
        <pc:sldMasterMkLst>
          <pc:docMk/>
          <pc:sldMasterMk cId="3378073280" sldId="2147483756"/>
        </pc:sldMasterMkLst>
        <pc:sldLayoutChg chg="add">
          <pc:chgData name="Alana Rivera" userId="S::arg3669@ads.northwestern.edu::fc8b707a-b7e9-4f2a-8d71-2d76819b7881" providerId="AD" clId="Web-{8E54177A-FEA1-170D-0EA8-ABD6FF4ACD90}" dt="2023-10-30T19:11:07.401" v="1"/>
          <pc:sldLayoutMkLst>
            <pc:docMk/>
            <pc:sldMasterMk cId="3378073280" sldId="2147483756"/>
            <pc:sldLayoutMk cId="2441756453" sldId="2147483680"/>
          </pc:sldLayoutMkLst>
        </pc:sldLayoutChg>
        <pc:sldLayoutChg chg="add">
          <pc:chgData name="Alana Rivera" userId="S::arg3669@ads.northwestern.edu::fc8b707a-b7e9-4f2a-8d71-2d76819b7881" providerId="AD" clId="Web-{8E54177A-FEA1-170D-0EA8-ABD6FF4ACD90}" dt="2023-10-30T19:11:07.401" v="1"/>
          <pc:sldLayoutMkLst>
            <pc:docMk/>
            <pc:sldMasterMk cId="3378073280" sldId="2147483756"/>
            <pc:sldLayoutMk cId="4224424939" sldId="2147483681"/>
          </pc:sldLayoutMkLst>
        </pc:sldLayoutChg>
      </pc:sldMasterChg>
      <pc:sldMasterChg chg="modSldLayout">
        <pc:chgData name="Alana Rivera" userId="S::arg3669@ads.northwestern.edu::fc8b707a-b7e9-4f2a-8d71-2d76819b7881" providerId="AD" clId="Web-{8E54177A-FEA1-170D-0EA8-ABD6FF4ACD90}" dt="2023-10-30T19:11:07.401" v="1"/>
        <pc:sldMasterMkLst>
          <pc:docMk/>
          <pc:sldMasterMk cId="0" sldId="2147484595"/>
        </pc:sldMasterMkLst>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0"/>
          </pc:sldLayoutMkLst>
        </pc:sldLayoutChg>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2F9B0802-2085-E0B0-3887-F6AEBA41C785}"/>
    <pc:docChg chg="addSld delSld modSld">
      <pc:chgData name="Isabel Rose Gippo" userId="S::irg9370@ads.northwestern.edu::b10bfe7e-55b9-46dd-9add-2eb52cb66d3b" providerId="AD" clId="Web-{2F9B0802-2085-E0B0-3887-F6AEBA41C785}" dt="2023-10-27T20:01:53.166" v="22" actId="1076"/>
      <pc:docMkLst>
        <pc:docMk/>
      </pc:docMkLst>
      <pc:sldChg chg="del">
        <pc:chgData name="Isabel Rose Gippo" userId="S::irg9370@ads.northwestern.edu::b10bfe7e-55b9-46dd-9add-2eb52cb66d3b" providerId="AD" clId="Web-{2F9B0802-2085-E0B0-3887-F6AEBA41C785}" dt="2023-10-27T19:58:33.365" v="0"/>
        <pc:sldMkLst>
          <pc:docMk/>
          <pc:sldMk cId="4102962722" sldId="592"/>
        </pc:sldMkLst>
      </pc:sldChg>
      <pc:sldChg chg="del">
        <pc:chgData name="Isabel Rose Gippo" userId="S::irg9370@ads.northwestern.edu::b10bfe7e-55b9-46dd-9add-2eb52cb66d3b" providerId="AD" clId="Web-{2F9B0802-2085-E0B0-3887-F6AEBA41C785}" dt="2023-10-27T20:00:46.790" v="13"/>
        <pc:sldMkLst>
          <pc:docMk/>
          <pc:sldMk cId="761656701" sldId="610"/>
        </pc:sldMkLst>
      </pc:sldChg>
      <pc:sldChg chg="del">
        <pc:chgData name="Isabel Rose Gippo" userId="S::irg9370@ads.northwestern.edu::b10bfe7e-55b9-46dd-9add-2eb52cb66d3b" providerId="AD" clId="Web-{2F9B0802-2085-E0B0-3887-F6AEBA41C785}" dt="2023-10-27T20:00:36.336" v="12"/>
        <pc:sldMkLst>
          <pc:docMk/>
          <pc:sldMk cId="2881039477" sldId="611"/>
        </pc:sldMkLst>
      </pc:sldChg>
      <pc:sldChg chg="del">
        <pc:chgData name="Isabel Rose Gippo" userId="S::irg9370@ads.northwestern.edu::b10bfe7e-55b9-46dd-9add-2eb52cb66d3b" providerId="AD" clId="Web-{2F9B0802-2085-E0B0-3887-F6AEBA41C785}" dt="2023-10-27T20:00:36.321" v="11"/>
        <pc:sldMkLst>
          <pc:docMk/>
          <pc:sldMk cId="2453854057" sldId="612"/>
        </pc:sldMkLst>
      </pc:sldChg>
      <pc:sldChg chg="del">
        <pc:chgData name="Isabel Rose Gippo" userId="S::irg9370@ads.northwestern.edu::b10bfe7e-55b9-46dd-9add-2eb52cb66d3b" providerId="AD" clId="Web-{2F9B0802-2085-E0B0-3887-F6AEBA41C785}" dt="2023-10-27T20:00:36.258" v="10"/>
        <pc:sldMkLst>
          <pc:docMk/>
          <pc:sldMk cId="2100949110" sldId="613"/>
        </pc:sldMkLst>
      </pc:sldChg>
      <pc:sldChg chg="del">
        <pc:chgData name="Isabel Rose Gippo" userId="S::irg9370@ads.northwestern.edu::b10bfe7e-55b9-46dd-9add-2eb52cb66d3b" providerId="AD" clId="Web-{2F9B0802-2085-E0B0-3887-F6AEBA41C785}" dt="2023-10-27T20:00:36.133" v="9"/>
        <pc:sldMkLst>
          <pc:docMk/>
          <pc:sldMk cId="2272124241" sldId="614"/>
        </pc:sldMkLst>
      </pc:sldChg>
      <pc:sldChg chg="add">
        <pc:chgData name="Isabel Rose Gippo" userId="S::irg9370@ads.northwestern.edu::b10bfe7e-55b9-46dd-9add-2eb52cb66d3b" providerId="AD" clId="Web-{2F9B0802-2085-E0B0-3887-F6AEBA41C785}" dt="2023-10-27T19:59:03.818" v="1"/>
        <pc:sldMkLst>
          <pc:docMk/>
          <pc:sldMk cId="1987746666" sldId="623"/>
        </pc:sldMkLst>
      </pc:sldChg>
      <pc:sldChg chg="add addCm">
        <pc:chgData name="Isabel Rose Gippo" userId="S::irg9370@ads.northwestern.edu::b10bfe7e-55b9-46dd-9add-2eb52cb66d3b" providerId="AD" clId="Web-{2F9B0802-2085-E0B0-3887-F6AEBA41C785}" dt="2023-10-27T19:59:45.241" v="4"/>
        <pc:sldMkLst>
          <pc:docMk/>
          <pc:sldMk cId="2500564114" sldId="62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19:59:45.241" v="4"/>
              <pc2:cmMkLst xmlns:pc2="http://schemas.microsoft.com/office/powerpoint/2019/9/main/command">
                <pc:docMk/>
                <pc:sldMk cId="2500564114" sldId="624"/>
                <pc2:cmMk id="{0491C656-E5F5-41C8-B311-8559AF33E6F6}"/>
              </pc2:cmMkLst>
            </pc226:cmChg>
          </p:ext>
        </pc:extLst>
      </pc:sldChg>
      <pc:sldChg chg="add">
        <pc:chgData name="Isabel Rose Gippo" userId="S::irg9370@ads.northwestern.edu::b10bfe7e-55b9-46dd-9add-2eb52cb66d3b" providerId="AD" clId="Web-{2F9B0802-2085-E0B0-3887-F6AEBA41C785}" dt="2023-10-27T19:59:05.678" v="3"/>
        <pc:sldMkLst>
          <pc:docMk/>
          <pc:sldMk cId="924990962" sldId="625"/>
        </pc:sldMkLst>
      </pc:sldChg>
      <pc:sldChg chg="add">
        <pc:chgData name="Isabel Rose Gippo" userId="S::irg9370@ads.northwestern.edu::b10bfe7e-55b9-46dd-9add-2eb52cb66d3b" providerId="AD" clId="Web-{2F9B0802-2085-E0B0-3887-F6AEBA41C785}" dt="2023-10-27T20:00:14.758" v="5"/>
        <pc:sldMkLst>
          <pc:docMk/>
          <pc:sldMk cId="3004443360" sldId="626"/>
        </pc:sldMkLst>
      </pc:sldChg>
      <pc:sldChg chg="add addCm modNotes">
        <pc:chgData name="Isabel Rose Gippo" userId="S::irg9370@ads.northwestern.edu::b10bfe7e-55b9-46dd-9add-2eb52cb66d3b" providerId="AD" clId="Web-{2F9B0802-2085-E0B0-3887-F6AEBA41C785}" dt="2023-10-27T20:01:37.572" v="21"/>
        <pc:sldMkLst>
          <pc:docMk/>
          <pc:sldMk cId="53107998" sldId="627"/>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26.853" v="20"/>
              <pc2:cmMkLst xmlns:pc2="http://schemas.microsoft.com/office/powerpoint/2019/9/main/command">
                <pc:docMk/>
                <pc:sldMk cId="53107998" sldId="627"/>
                <pc2:cmMk id="{C48A6C56-B343-467E-9FD1-86B163B01706}"/>
              </pc2:cmMkLst>
            </pc226:cmChg>
            <pc226:cmChg xmlns:pc226="http://schemas.microsoft.com/office/powerpoint/2022/06/main/command" chg="add">
              <pc226:chgData name="Isabel Rose Gippo" userId="S::irg9370@ads.northwestern.edu::b10bfe7e-55b9-46dd-9add-2eb52cb66d3b" providerId="AD" clId="Web-{2F9B0802-2085-E0B0-3887-F6AEBA41C785}" dt="2023-10-27T20:01:37.572" v="21"/>
              <pc2:cmMkLst xmlns:pc2="http://schemas.microsoft.com/office/powerpoint/2019/9/main/command">
                <pc:docMk/>
                <pc:sldMk cId="53107998" sldId="627"/>
                <pc2:cmMk id="{46D04177-1E1A-4590-B3B8-03DE51A18B3C}"/>
              </pc2:cmMkLst>
            </pc226:cmChg>
          </p:ext>
        </pc:extLst>
      </pc:sldChg>
      <pc:sldChg chg="add addCm">
        <pc:chgData name="Isabel Rose Gippo" userId="S::irg9370@ads.northwestern.edu::b10bfe7e-55b9-46dd-9add-2eb52cb66d3b" providerId="AD" clId="Web-{2F9B0802-2085-E0B0-3887-F6AEBA41C785}" dt="2023-10-27T20:01:16.493" v="18"/>
        <pc:sldMkLst>
          <pc:docMk/>
          <pc:sldMk cId="534784336" sldId="62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16.493" v="18"/>
              <pc2:cmMkLst xmlns:pc2="http://schemas.microsoft.com/office/powerpoint/2019/9/main/command">
                <pc:docMk/>
                <pc:sldMk cId="534784336" sldId="628"/>
                <pc2:cmMk id="{D2FD4193-EF38-49C6-9875-8E415492E71E}"/>
              </pc2:cmMkLst>
            </pc226:cmChg>
          </p:ext>
        </pc:extLst>
      </pc:sldChg>
      <pc:sldChg chg="modSp add modNotes">
        <pc:chgData name="Isabel Rose Gippo" userId="S::irg9370@ads.northwestern.edu::b10bfe7e-55b9-46dd-9add-2eb52cb66d3b" providerId="AD" clId="Web-{2F9B0802-2085-E0B0-3887-F6AEBA41C785}" dt="2023-10-27T20:01:53.166" v="22" actId="1076"/>
        <pc:sldMkLst>
          <pc:docMk/>
          <pc:sldMk cId="2981412015" sldId="629"/>
        </pc:sldMkLst>
        <pc:spChg chg="mod">
          <ac:chgData name="Isabel Rose Gippo" userId="S::irg9370@ads.northwestern.edu::b10bfe7e-55b9-46dd-9add-2eb52cb66d3b" providerId="AD" clId="Web-{2F9B0802-2085-E0B0-3887-F6AEBA41C785}" dt="2023-10-27T20:01:53.166" v="22" actId="1076"/>
          <ac:spMkLst>
            <pc:docMk/>
            <pc:sldMk cId="2981412015" sldId="629"/>
            <ac:spMk id="17" creationId="{9F30C5B8-4454-3B8D-2126-4A9866DF704E}"/>
          </ac:spMkLst>
        </pc:spChg>
      </pc:sldChg>
    </pc:docChg>
  </pc:docChgLst>
  <pc:docChgLst>
    <pc:chgData name="Eileen Fleming Suse" userId="S::efs3844@ads.northwestern.edu::725c94ef-d051-42d7-9d33-8572765d592b" providerId="AD" clId="Web-{305AC9D0-E55A-2A1E-F2E7-EBEA3644D9AC}"/>
    <pc:docChg chg="addSld modSld sldOrd">
      <pc:chgData name="Eileen Fleming Suse" userId="S::efs3844@ads.northwestern.edu::725c94ef-d051-42d7-9d33-8572765d592b" providerId="AD" clId="Web-{305AC9D0-E55A-2A1E-F2E7-EBEA3644D9AC}" dt="2023-10-24T16:00:52.345" v="55" actId="20577"/>
      <pc:docMkLst>
        <pc:docMk/>
      </pc:docMkLst>
      <pc:sldChg chg="modSp">
        <pc:chgData name="Eileen Fleming Suse" userId="S::efs3844@ads.northwestern.edu::725c94ef-d051-42d7-9d33-8572765d592b" providerId="AD" clId="Web-{305AC9D0-E55A-2A1E-F2E7-EBEA3644D9AC}" dt="2023-10-24T14:55:17.582" v="21" actId="20577"/>
        <pc:sldMkLst>
          <pc:docMk/>
          <pc:sldMk cId="1522616096" sldId="555"/>
        </pc:sldMkLst>
        <pc:spChg chg="mod">
          <ac:chgData name="Eileen Fleming Suse" userId="S::efs3844@ads.northwestern.edu::725c94ef-d051-42d7-9d33-8572765d592b" providerId="AD" clId="Web-{305AC9D0-E55A-2A1E-F2E7-EBEA3644D9AC}" dt="2023-10-24T14:55:17.582" v="21" actId="20577"/>
          <ac:spMkLst>
            <pc:docMk/>
            <pc:sldMk cId="1522616096" sldId="555"/>
            <ac:spMk id="4" creationId="{3D49CA6C-78ED-3124-7EE3-BBDDC9988910}"/>
          </ac:spMkLst>
        </pc:spChg>
      </pc:sldChg>
      <pc:sldChg chg="ord">
        <pc:chgData name="Eileen Fleming Suse" userId="S::efs3844@ads.northwestern.edu::725c94ef-d051-42d7-9d33-8572765d592b" providerId="AD" clId="Web-{305AC9D0-E55A-2A1E-F2E7-EBEA3644D9AC}" dt="2023-10-24T14:49:32.836" v="11"/>
        <pc:sldMkLst>
          <pc:docMk/>
          <pc:sldMk cId="773696652" sldId="558"/>
        </pc:sldMkLst>
      </pc:sldChg>
      <pc:sldChg chg="delSp modSp">
        <pc:chgData name="Eileen Fleming Suse" userId="S::efs3844@ads.northwestern.edu::725c94ef-d051-42d7-9d33-8572765d592b" providerId="AD" clId="Web-{305AC9D0-E55A-2A1E-F2E7-EBEA3644D9AC}" dt="2023-10-24T14:58:02.213" v="32" actId="14100"/>
        <pc:sldMkLst>
          <pc:docMk/>
          <pc:sldMk cId="3845418986" sldId="563"/>
        </pc:sldMkLst>
        <pc:spChg chg="del">
          <ac:chgData name="Eileen Fleming Suse" userId="S::efs3844@ads.northwestern.edu::725c94ef-d051-42d7-9d33-8572765d592b" providerId="AD" clId="Web-{305AC9D0-E55A-2A1E-F2E7-EBEA3644D9AC}" dt="2023-10-24T14:42:11.618" v="5"/>
          <ac:spMkLst>
            <pc:docMk/>
            <pc:sldMk cId="3845418986" sldId="563"/>
            <ac:spMk id="30" creationId="{00000000-0000-0000-0000-000000000000}"/>
          </ac:spMkLst>
        </pc:spChg>
        <pc:spChg chg="mod">
          <ac:chgData name="Eileen Fleming Suse" userId="S::efs3844@ads.northwestern.edu::725c94ef-d051-42d7-9d33-8572765d592b" providerId="AD" clId="Web-{305AC9D0-E55A-2A1E-F2E7-EBEA3644D9AC}" dt="2023-10-24T14:58:02.213" v="32" actId="14100"/>
          <ac:spMkLst>
            <pc:docMk/>
            <pc:sldMk cId="3845418986" sldId="563"/>
            <ac:spMk id="31" creationId="{00000000-0000-0000-0000-000000000000}"/>
          </ac:spMkLst>
        </pc:spChg>
        <pc:spChg chg="mod">
          <ac:chgData name="Eileen Fleming Suse" userId="S::efs3844@ads.northwestern.edu::725c94ef-d051-42d7-9d33-8572765d592b" providerId="AD" clId="Web-{305AC9D0-E55A-2A1E-F2E7-EBEA3644D9AC}" dt="2023-10-24T14:57:07.008" v="23"/>
          <ac:spMkLst>
            <pc:docMk/>
            <pc:sldMk cId="3845418986" sldId="563"/>
            <ac:spMk id="39" creationId="{00000000-0000-0000-0000-000000000000}"/>
          </ac:spMkLst>
        </pc:spChg>
        <pc:spChg chg="mod">
          <ac:chgData name="Eileen Fleming Suse" userId="S::efs3844@ads.northwestern.edu::725c94ef-d051-42d7-9d33-8572765d592b" providerId="AD" clId="Web-{305AC9D0-E55A-2A1E-F2E7-EBEA3644D9AC}" dt="2023-10-24T14:11:52.821" v="1" actId="20577"/>
          <ac:spMkLst>
            <pc:docMk/>
            <pc:sldMk cId="3845418986" sldId="563"/>
            <ac:spMk id="45" creationId="{00000000-0000-0000-0000-000000000000}"/>
          </ac:spMkLst>
        </pc:spChg>
        <pc:spChg chg="mod">
          <ac:chgData name="Eileen Fleming Suse" userId="S::efs3844@ads.northwestern.edu::725c94ef-d051-42d7-9d33-8572765d592b" providerId="AD" clId="Web-{305AC9D0-E55A-2A1E-F2E7-EBEA3644D9AC}" dt="2023-10-24T14:46:06.860" v="9" actId="1076"/>
          <ac:spMkLst>
            <pc:docMk/>
            <pc:sldMk cId="3845418986" sldId="563"/>
            <ac:spMk id="46" creationId="{00000000-0000-0000-0000-000000000000}"/>
          </ac:spMkLst>
        </pc:spChg>
      </pc:sldChg>
      <pc:sldChg chg="modSp">
        <pc:chgData name="Eileen Fleming Suse" userId="S::efs3844@ads.northwestern.edu::725c94ef-d051-42d7-9d33-8572765d592b" providerId="AD" clId="Web-{305AC9D0-E55A-2A1E-F2E7-EBEA3644D9AC}" dt="2023-10-24T14:58:28.479" v="33" actId="1076"/>
        <pc:sldMkLst>
          <pc:docMk/>
          <pc:sldMk cId="1536434647" sldId="564"/>
        </pc:sldMkLst>
        <pc:spChg chg="mod">
          <ac:chgData name="Eileen Fleming Suse" userId="S::efs3844@ads.northwestern.edu::725c94ef-d051-42d7-9d33-8572765d592b" providerId="AD" clId="Web-{305AC9D0-E55A-2A1E-F2E7-EBEA3644D9AC}" dt="2023-10-24T14:57:57.791" v="31" actId="14100"/>
          <ac:spMkLst>
            <pc:docMk/>
            <pc:sldMk cId="1536434647" sldId="564"/>
            <ac:spMk id="24" creationId="{00000000-0000-0000-0000-000000000000}"/>
          </ac:spMkLst>
        </pc:spChg>
        <pc:spChg chg="mod">
          <ac:chgData name="Eileen Fleming Suse" userId="S::efs3844@ads.northwestern.edu::725c94ef-d051-42d7-9d33-8572765d592b" providerId="AD" clId="Web-{305AC9D0-E55A-2A1E-F2E7-EBEA3644D9AC}" dt="2023-10-24T14:47:22.066" v="10" actId="1076"/>
          <ac:spMkLst>
            <pc:docMk/>
            <pc:sldMk cId="1536434647" sldId="564"/>
            <ac:spMk id="27" creationId="{00000000-0000-0000-0000-000000000000}"/>
          </ac:spMkLst>
        </pc:spChg>
        <pc:spChg chg="mod">
          <ac:chgData name="Eileen Fleming Suse" userId="S::efs3844@ads.northwestern.edu::725c94ef-d051-42d7-9d33-8572765d592b" providerId="AD" clId="Web-{305AC9D0-E55A-2A1E-F2E7-EBEA3644D9AC}" dt="2023-10-24T14:46:03.360" v="8" actId="1076"/>
          <ac:spMkLst>
            <pc:docMk/>
            <pc:sldMk cId="1536434647" sldId="564"/>
            <ac:spMk id="44" creationId="{00000000-0000-0000-0000-000000000000}"/>
          </ac:spMkLst>
        </pc:spChg>
        <pc:grpChg chg="mod">
          <ac:chgData name="Eileen Fleming Suse" userId="S::efs3844@ads.northwestern.edu::725c94ef-d051-42d7-9d33-8572765d592b" providerId="AD" clId="Web-{305AC9D0-E55A-2A1E-F2E7-EBEA3644D9AC}" dt="2023-10-24T14:58:28.479" v="33" actId="1076"/>
          <ac:grpSpMkLst>
            <pc:docMk/>
            <pc:sldMk cId="1536434647" sldId="564"/>
            <ac:grpSpMk id="2" creationId="{00000000-0000-0000-0000-000000000000}"/>
          </ac:grpSpMkLst>
        </pc:grpChg>
      </pc:sldChg>
      <pc:sldChg chg="modSp">
        <pc:chgData name="Eileen Fleming Suse" userId="S::efs3844@ads.northwestern.edu::725c94ef-d051-42d7-9d33-8572765d592b" providerId="AD" clId="Web-{305AC9D0-E55A-2A1E-F2E7-EBEA3644D9AC}" dt="2023-10-24T14:12:18.463" v="4" actId="20577"/>
        <pc:sldMkLst>
          <pc:docMk/>
          <pc:sldMk cId="3004937174" sldId="565"/>
        </pc:sldMkLst>
        <pc:spChg chg="mod">
          <ac:chgData name="Eileen Fleming Suse" userId="S::efs3844@ads.northwestern.edu::725c94ef-d051-42d7-9d33-8572765d592b" providerId="AD" clId="Web-{305AC9D0-E55A-2A1E-F2E7-EBEA3644D9AC}" dt="2023-10-24T14:12:03.322" v="2" actId="1076"/>
          <ac:spMkLst>
            <pc:docMk/>
            <pc:sldMk cId="3004937174" sldId="565"/>
            <ac:spMk id="38" creationId="{00000000-0000-0000-0000-000000000000}"/>
          </ac:spMkLst>
        </pc:spChg>
        <pc:spChg chg="mod">
          <ac:chgData name="Eileen Fleming Suse" userId="S::efs3844@ads.northwestern.edu::725c94ef-d051-42d7-9d33-8572765d592b" providerId="AD" clId="Web-{305AC9D0-E55A-2A1E-F2E7-EBEA3644D9AC}" dt="2023-10-24T14:12:18.463" v="4" actId="20577"/>
          <ac:spMkLst>
            <pc:docMk/>
            <pc:sldMk cId="3004937174" sldId="565"/>
            <ac:spMk id="41" creationId="{00000000-0000-0000-0000-000000000000}"/>
          </ac:spMkLst>
        </pc:spChg>
      </pc:sldChg>
      <pc:sldChg chg="modSp">
        <pc:chgData name="Eileen Fleming Suse" userId="S::efs3844@ads.northwestern.edu::725c94ef-d051-42d7-9d33-8572765d592b" providerId="AD" clId="Web-{305AC9D0-E55A-2A1E-F2E7-EBEA3644D9AC}" dt="2023-10-24T15:20:09.868" v="39" actId="14100"/>
        <pc:sldMkLst>
          <pc:docMk/>
          <pc:sldMk cId="2564870475" sldId="566"/>
        </pc:sldMkLst>
        <pc:spChg chg="mod">
          <ac:chgData name="Eileen Fleming Suse" userId="S::efs3844@ads.northwestern.edu::725c94ef-d051-42d7-9d33-8572765d592b" providerId="AD" clId="Web-{305AC9D0-E55A-2A1E-F2E7-EBEA3644D9AC}" dt="2023-10-24T15:20:07.305" v="38" actId="14100"/>
          <ac:spMkLst>
            <pc:docMk/>
            <pc:sldMk cId="2564870475" sldId="566"/>
            <ac:spMk id="23" creationId="{78B5A3B7-0107-74A6-42BE-EFADF14BEC3D}"/>
          </ac:spMkLst>
        </pc:spChg>
        <pc:picChg chg="mod">
          <ac:chgData name="Eileen Fleming Suse" userId="S::efs3844@ads.northwestern.edu::725c94ef-d051-42d7-9d33-8572765d592b" providerId="AD" clId="Web-{305AC9D0-E55A-2A1E-F2E7-EBEA3644D9AC}" dt="2023-10-24T15:20:09.868" v="39" actId="14100"/>
          <ac:picMkLst>
            <pc:docMk/>
            <pc:sldMk cId="2564870475" sldId="566"/>
            <ac:picMk id="24" creationId="{BB2CB55F-0790-7175-FF6E-777FF2A900CC}"/>
          </ac:picMkLst>
        </pc:picChg>
      </pc:sldChg>
      <pc:sldChg chg="addSp modSp new ord">
        <pc:chgData name="Eileen Fleming Suse" userId="S::efs3844@ads.northwestern.edu::725c94ef-d051-42d7-9d33-8572765d592b" providerId="AD" clId="Web-{305AC9D0-E55A-2A1E-F2E7-EBEA3644D9AC}" dt="2023-10-24T16:00:52.345" v="55" actId="20577"/>
        <pc:sldMkLst>
          <pc:docMk/>
          <pc:sldMk cId="1415571005" sldId="572"/>
        </pc:sldMkLst>
        <pc:spChg chg="add mod">
          <ac:chgData name="Eileen Fleming Suse" userId="S::efs3844@ads.northwestern.edu::725c94ef-d051-42d7-9d33-8572765d592b" providerId="AD" clId="Web-{305AC9D0-E55A-2A1E-F2E7-EBEA3644D9AC}" dt="2023-10-24T14:57:43.493" v="30" actId="14100"/>
          <ac:spMkLst>
            <pc:docMk/>
            <pc:sldMk cId="1415571005" sldId="572"/>
            <ac:spMk id="3" creationId="{E8766EA8-8D1C-74B1-60F2-6EE8D7D1A899}"/>
          </ac:spMkLst>
        </pc:spChg>
        <pc:spChg chg="add">
          <ac:chgData name="Eileen Fleming Suse" userId="S::efs3844@ads.northwestern.edu::725c94ef-d051-42d7-9d33-8572765d592b" providerId="AD" clId="Web-{305AC9D0-E55A-2A1E-F2E7-EBEA3644D9AC}" dt="2023-10-24T14:57:27.180" v="25"/>
          <ac:spMkLst>
            <pc:docMk/>
            <pc:sldMk cId="1415571005" sldId="572"/>
            <ac:spMk id="5" creationId="{5240BE87-4D13-BF3F-4932-9D8B2973FA85}"/>
          </ac:spMkLst>
        </pc:spChg>
        <pc:spChg chg="add">
          <ac:chgData name="Eileen Fleming Suse" userId="S::efs3844@ads.northwestern.edu::725c94ef-d051-42d7-9d33-8572765d592b" providerId="AD" clId="Web-{305AC9D0-E55A-2A1E-F2E7-EBEA3644D9AC}" dt="2023-10-24T14:57:27.196" v="26"/>
          <ac:spMkLst>
            <pc:docMk/>
            <pc:sldMk cId="1415571005" sldId="572"/>
            <ac:spMk id="7" creationId="{7F9321C2-D073-586B-B5DF-9C86117F7744}"/>
          </ac:spMkLst>
        </pc:spChg>
        <pc:spChg chg="add">
          <ac:chgData name="Eileen Fleming Suse" userId="S::efs3844@ads.northwestern.edu::725c94ef-d051-42d7-9d33-8572765d592b" providerId="AD" clId="Web-{305AC9D0-E55A-2A1E-F2E7-EBEA3644D9AC}" dt="2023-10-24T14:57:27.196" v="27"/>
          <ac:spMkLst>
            <pc:docMk/>
            <pc:sldMk cId="1415571005" sldId="572"/>
            <ac:spMk id="9" creationId="{E7EFA955-A8BB-A26D-68E1-96464B4A257F}"/>
          </ac:spMkLst>
        </pc:spChg>
        <pc:spChg chg="add">
          <ac:chgData name="Eileen Fleming Suse" userId="S::efs3844@ads.northwestern.edu::725c94ef-d051-42d7-9d33-8572765d592b" providerId="AD" clId="Web-{305AC9D0-E55A-2A1E-F2E7-EBEA3644D9AC}" dt="2023-10-24T14:57:27.212" v="28"/>
          <ac:spMkLst>
            <pc:docMk/>
            <pc:sldMk cId="1415571005" sldId="572"/>
            <ac:spMk id="11" creationId="{B192D65E-14E1-EAD3-E7D3-2EE53AA7B5BD}"/>
          </ac:spMkLst>
        </pc:spChg>
        <pc:spChg chg="add">
          <ac:chgData name="Eileen Fleming Suse" userId="S::efs3844@ads.northwestern.edu::725c94ef-d051-42d7-9d33-8572765d592b" providerId="AD" clId="Web-{305AC9D0-E55A-2A1E-F2E7-EBEA3644D9AC}" dt="2023-10-24T14:57:39.181" v="29"/>
          <ac:spMkLst>
            <pc:docMk/>
            <pc:sldMk cId="1415571005" sldId="572"/>
            <ac:spMk id="13" creationId="{6052322E-FB3E-BFB4-5E31-14610EA9827E}"/>
          </ac:spMkLst>
        </pc:spChg>
        <pc:spChg chg="add mod">
          <ac:chgData name="Eileen Fleming Suse" userId="S::efs3844@ads.northwestern.edu::725c94ef-d051-42d7-9d33-8572765d592b" providerId="AD" clId="Web-{305AC9D0-E55A-2A1E-F2E7-EBEA3644D9AC}" dt="2023-10-24T16:00:52.345" v="55" actId="20577"/>
          <ac:spMkLst>
            <pc:docMk/>
            <pc:sldMk cId="1415571005" sldId="572"/>
            <ac:spMk id="14" creationId="{C16CF44D-7798-4583-BFDB-87260C98EA94}"/>
          </ac:spMkLst>
        </pc:spChg>
      </pc:sldChg>
      <pc:sldChg chg="modSp add replId">
        <pc:chgData name="Eileen Fleming Suse" userId="S::efs3844@ads.northwestern.edu::725c94ef-d051-42d7-9d33-8572765d592b" providerId="AD" clId="Web-{305AC9D0-E55A-2A1E-F2E7-EBEA3644D9AC}" dt="2023-10-24T15:14:54.982" v="35" actId="1076"/>
        <pc:sldMkLst>
          <pc:docMk/>
          <pc:sldMk cId="2901982042" sldId="573"/>
        </pc:sldMkLst>
        <pc:spChg chg="mod">
          <ac:chgData name="Eileen Fleming Suse" userId="S::efs3844@ads.northwestern.edu::725c94ef-d051-42d7-9d33-8572765d592b" providerId="AD" clId="Web-{305AC9D0-E55A-2A1E-F2E7-EBEA3644D9AC}" dt="2023-10-24T15:14:54.982" v="35" actId="1076"/>
          <ac:spMkLst>
            <pc:docMk/>
            <pc:sldMk cId="2901982042" sldId="573"/>
            <ac:spMk id="28" creationId="{00000000-0000-0000-0000-000000000000}"/>
          </ac:spMkLst>
        </pc:spChg>
      </pc:sldChg>
    </pc:docChg>
  </pc:docChgLst>
  <pc:docChgLst>
    <pc:chgData name="Eileen Fleming Suse" userId="S::efs3844@ads.northwestern.edu::725c94ef-d051-42d7-9d33-8572765d592b" providerId="AD" clId="Web-{C766F19B-0830-AB8B-3618-23EF0AC64A24}"/>
    <pc:docChg chg="modSld">
      <pc:chgData name="Eileen Fleming Suse" userId="S::efs3844@ads.northwestern.edu::725c94ef-d051-42d7-9d33-8572765d592b" providerId="AD" clId="Web-{C766F19B-0830-AB8B-3618-23EF0AC64A24}" dt="2023-10-30T15:49:33.394" v="37"/>
      <pc:docMkLst>
        <pc:docMk/>
      </pc:docMkLst>
      <pc:sldChg chg="addSp delSp modSp">
        <pc:chgData name="Eileen Fleming Suse" userId="S::efs3844@ads.northwestern.edu::725c94ef-d051-42d7-9d33-8572765d592b" providerId="AD" clId="Web-{C766F19B-0830-AB8B-3618-23EF0AC64A24}" dt="2023-10-30T15:49:33.394" v="37"/>
        <pc:sldMkLst>
          <pc:docMk/>
          <pc:sldMk cId="3472964082" sldId="550"/>
        </pc:sldMkLst>
        <pc:spChg chg="mod">
          <ac:chgData name="Eileen Fleming Suse" userId="S::efs3844@ads.northwestern.edu::725c94ef-d051-42d7-9d33-8572765d592b" providerId="AD" clId="Web-{C766F19B-0830-AB8B-3618-23EF0AC64A24}" dt="2023-10-30T15:48:12.563" v="25" actId="20577"/>
          <ac:spMkLst>
            <pc:docMk/>
            <pc:sldMk cId="3472964082" sldId="550"/>
            <ac:spMk id="20" creationId="{00000000-0000-0000-0000-000000000000}"/>
          </ac:spMkLst>
        </pc:spChg>
        <pc:spChg chg="del">
          <ac:chgData name="Eileen Fleming Suse" userId="S::efs3844@ads.northwestern.edu::725c94ef-d051-42d7-9d33-8572765d592b" providerId="AD" clId="Web-{C766F19B-0830-AB8B-3618-23EF0AC64A24}" dt="2023-10-30T15:48:44.971" v="28"/>
          <ac:spMkLst>
            <pc:docMk/>
            <pc:sldMk cId="3472964082" sldId="550"/>
            <ac:spMk id="21" creationId="{00000000-0000-0000-0000-000000000000}"/>
          </ac:spMkLst>
        </pc:spChg>
        <pc:spChg chg="mod">
          <ac:chgData name="Eileen Fleming Suse" userId="S::efs3844@ads.northwestern.edu::725c94ef-d051-42d7-9d33-8572765d592b" providerId="AD" clId="Web-{C766F19B-0830-AB8B-3618-23EF0AC64A24}" dt="2023-10-30T15:48:45.111" v="30" actId="20577"/>
          <ac:spMkLst>
            <pc:docMk/>
            <pc:sldMk cId="3472964082" sldId="550"/>
            <ac:spMk id="23" creationId="{00000000-0000-0000-0000-000000000000}"/>
          </ac:spMkLst>
        </pc:spChg>
        <pc:spChg chg="del">
          <ac:chgData name="Eileen Fleming Suse" userId="S::efs3844@ads.northwestern.edu::725c94ef-d051-42d7-9d33-8572765d592b" providerId="AD" clId="Web-{C766F19B-0830-AB8B-3618-23EF0AC64A24}" dt="2023-10-30T15:48:45.330" v="31"/>
          <ac:spMkLst>
            <pc:docMk/>
            <pc:sldMk cId="3472964082" sldId="550"/>
            <ac:spMk id="24" creationId="{00000000-0000-0000-0000-000000000000}"/>
          </ac:spMkLst>
        </pc:spChg>
        <pc:spChg chg="add del">
          <ac:chgData name="Eileen Fleming Suse" userId="S::efs3844@ads.northwestern.edu::725c94ef-d051-42d7-9d33-8572765d592b" providerId="AD" clId="Web-{C766F19B-0830-AB8B-3618-23EF0AC64A24}" dt="2023-10-30T15:49:33.394" v="37"/>
          <ac:spMkLst>
            <pc:docMk/>
            <pc:sldMk cId="3472964082" sldId="550"/>
            <ac:spMk id="31" creationId="{00000000-0000-0000-0000-000000000000}"/>
          </ac:spMkLst>
        </pc:spChg>
        <pc:spChg chg="mod">
          <ac:chgData name="Eileen Fleming Suse" userId="S::efs3844@ads.northwestern.edu::725c94ef-d051-42d7-9d33-8572765d592b" providerId="AD" clId="Web-{C766F19B-0830-AB8B-3618-23EF0AC64A24}" dt="2023-10-30T15:48:22.704" v="26" actId="20577"/>
          <ac:spMkLst>
            <pc:docMk/>
            <pc:sldMk cId="3472964082" sldId="550"/>
            <ac:spMk id="51" creationId="{00000000-0000-0000-0000-000000000000}"/>
          </ac:spMkLst>
        </pc:spChg>
        <pc:spChg chg="del">
          <ac:chgData name="Eileen Fleming Suse" userId="S::efs3844@ads.northwestern.edu::725c94ef-d051-42d7-9d33-8572765d592b" providerId="AD" clId="Web-{C766F19B-0830-AB8B-3618-23EF0AC64A24}" dt="2023-10-30T15:48:34.767" v="27"/>
          <ac:spMkLst>
            <pc:docMk/>
            <pc:sldMk cId="3472964082" sldId="550"/>
            <ac:spMk id="52" creationId="{00000000-0000-0000-0000-000000000000}"/>
          </ac:spMkLst>
        </pc:spChg>
        <pc:spChg chg="mod">
          <ac:chgData name="Eileen Fleming Suse" userId="S::efs3844@ads.northwestern.edu::725c94ef-d051-42d7-9d33-8572765d592b" providerId="AD" clId="Web-{C766F19B-0830-AB8B-3618-23EF0AC64A24}" dt="2023-10-30T15:49:04.456" v="33" actId="20577"/>
          <ac:spMkLst>
            <pc:docMk/>
            <pc:sldMk cId="3472964082" sldId="550"/>
            <ac:spMk id="53" creationId="{00000000-0000-0000-0000-000000000000}"/>
          </ac:spMkLst>
        </pc:spChg>
        <pc:spChg chg="del mod">
          <ac:chgData name="Eileen Fleming Suse" userId="S::efs3844@ads.northwestern.edu::725c94ef-d051-42d7-9d33-8572765d592b" providerId="AD" clId="Web-{C766F19B-0830-AB8B-3618-23EF0AC64A24}" dt="2023-10-30T15:49:33.300" v="35"/>
          <ac:spMkLst>
            <pc:docMk/>
            <pc:sldMk cId="3472964082" sldId="550"/>
            <ac:spMk id="54" creationId="{00000000-0000-0000-0000-000000000000}"/>
          </ac:spMkLst>
        </pc:spChg>
      </pc:sldChg>
      <pc:sldChg chg="addSp delSp modSp">
        <pc:chgData name="Eileen Fleming Suse" userId="S::efs3844@ads.northwestern.edu::725c94ef-d051-42d7-9d33-8572765d592b" providerId="AD" clId="Web-{C766F19B-0830-AB8B-3618-23EF0AC64A24}" dt="2023-10-30T15:48:02.782" v="23"/>
        <pc:sldMkLst>
          <pc:docMk/>
          <pc:sldMk cId="2562283095" sldId="551"/>
        </pc:sldMkLst>
        <pc:spChg chg="mod">
          <ac:chgData name="Eileen Fleming Suse" userId="S::efs3844@ads.northwestern.edu::725c94ef-d051-42d7-9d33-8572765d592b" providerId="AD" clId="Web-{C766F19B-0830-AB8B-3618-23EF0AC64A24}" dt="2023-10-30T15:46:33.904" v="3" actId="20577"/>
          <ac:spMkLst>
            <pc:docMk/>
            <pc:sldMk cId="2562283095" sldId="551"/>
            <ac:spMk id="20" creationId="{00000000-0000-0000-0000-000000000000}"/>
          </ac:spMkLst>
        </pc:spChg>
        <pc:spChg chg="del">
          <ac:chgData name="Eileen Fleming Suse" userId="S::efs3844@ads.northwestern.edu::725c94ef-d051-42d7-9d33-8572765d592b" providerId="AD" clId="Web-{C766F19B-0830-AB8B-3618-23EF0AC64A24}" dt="2023-10-30T15:46:34.139" v="4"/>
          <ac:spMkLst>
            <pc:docMk/>
            <pc:sldMk cId="2562283095" sldId="551"/>
            <ac:spMk id="21" creationId="{00000000-0000-0000-0000-000000000000}"/>
          </ac:spMkLst>
        </pc:spChg>
        <pc:spChg chg="mod">
          <ac:chgData name="Eileen Fleming Suse" userId="S::efs3844@ads.northwestern.edu::725c94ef-d051-42d7-9d33-8572765d592b" providerId="AD" clId="Web-{C766F19B-0830-AB8B-3618-23EF0AC64A24}" dt="2023-10-30T15:46:45.264" v="13" actId="20577"/>
          <ac:spMkLst>
            <pc:docMk/>
            <pc:sldMk cId="2562283095" sldId="551"/>
            <ac:spMk id="23" creationId="{00000000-0000-0000-0000-000000000000}"/>
          </ac:spMkLst>
        </pc:spChg>
        <pc:spChg chg="add del mod">
          <ac:chgData name="Eileen Fleming Suse" userId="S::efs3844@ads.northwestern.edu::725c94ef-d051-42d7-9d33-8572765d592b" providerId="AD" clId="Web-{C766F19B-0830-AB8B-3618-23EF0AC64A24}" dt="2023-10-30T15:47:13.812" v="15"/>
          <ac:spMkLst>
            <pc:docMk/>
            <pc:sldMk cId="2562283095" sldId="551"/>
            <ac:spMk id="24" creationId="{00000000-0000-0000-0000-000000000000}"/>
          </ac:spMkLst>
        </pc:spChg>
        <pc:spChg chg="mod">
          <ac:chgData name="Eileen Fleming Suse" userId="S::efs3844@ads.northwestern.edu::725c94ef-d051-42d7-9d33-8572765d592b" providerId="AD" clId="Web-{C766F19B-0830-AB8B-3618-23EF0AC64A24}" dt="2023-10-30T15:47:42.781" v="22" actId="20577"/>
          <ac:spMkLst>
            <pc:docMk/>
            <pc:sldMk cId="2562283095" sldId="551"/>
            <ac:spMk id="31" creationId="{00000000-0000-0000-0000-000000000000}"/>
          </ac:spMkLst>
        </pc:spChg>
        <pc:spChg chg="del">
          <ac:chgData name="Eileen Fleming Suse" userId="S::efs3844@ads.northwestern.edu::725c94ef-d051-42d7-9d33-8572765d592b" providerId="AD" clId="Web-{C766F19B-0830-AB8B-3618-23EF0AC64A24}" dt="2023-10-30T15:48:02.782" v="23"/>
          <ac:spMkLst>
            <pc:docMk/>
            <pc:sldMk cId="2562283095" sldId="551"/>
            <ac:spMk id="32" creationId="{00000000-0000-0000-0000-000000000000}"/>
          </ac:spMkLst>
        </pc:spChg>
        <pc:spChg chg="mod">
          <ac:chgData name="Eileen Fleming Suse" userId="S::efs3844@ads.northwestern.edu::725c94ef-d051-42d7-9d33-8572765d592b" providerId="AD" clId="Web-{C766F19B-0830-AB8B-3618-23EF0AC64A24}" dt="2023-10-30T15:46:34.373" v="6" actId="20577"/>
          <ac:spMkLst>
            <pc:docMk/>
            <pc:sldMk cId="2562283095" sldId="551"/>
            <ac:spMk id="51" creationId="{00000000-0000-0000-0000-000000000000}"/>
          </ac:spMkLst>
        </pc:spChg>
        <pc:spChg chg="del">
          <ac:chgData name="Eileen Fleming Suse" userId="S::efs3844@ads.northwestern.edu::725c94ef-d051-42d7-9d33-8572765d592b" providerId="AD" clId="Web-{C766F19B-0830-AB8B-3618-23EF0AC64A24}" dt="2023-10-30T15:46:34.482" v="7"/>
          <ac:spMkLst>
            <pc:docMk/>
            <pc:sldMk cId="2562283095" sldId="551"/>
            <ac:spMk id="52" creationId="{00000000-0000-0000-0000-000000000000}"/>
          </ac:spMkLst>
        </pc:spChg>
        <pc:spChg chg="mod">
          <ac:chgData name="Eileen Fleming Suse" userId="S::efs3844@ads.northwestern.edu::725c94ef-d051-42d7-9d33-8572765d592b" providerId="AD" clId="Web-{C766F19B-0830-AB8B-3618-23EF0AC64A24}" dt="2023-10-30T15:47:14.015" v="18" actId="20577"/>
          <ac:spMkLst>
            <pc:docMk/>
            <pc:sldMk cId="2562283095" sldId="551"/>
            <ac:spMk id="53" creationId="{00000000-0000-0000-0000-000000000000}"/>
          </ac:spMkLst>
        </pc:spChg>
        <pc:spChg chg="del">
          <ac:chgData name="Eileen Fleming Suse" userId="S::efs3844@ads.northwestern.edu::725c94ef-d051-42d7-9d33-8572765d592b" providerId="AD" clId="Web-{C766F19B-0830-AB8B-3618-23EF0AC64A24}" dt="2023-10-30T15:47:33.031" v="19"/>
          <ac:spMkLst>
            <pc:docMk/>
            <pc:sldMk cId="2562283095" sldId="551"/>
            <ac:spMk id="54" creationId="{00000000-0000-0000-0000-000000000000}"/>
          </ac:spMkLst>
        </pc:spChg>
      </pc:sldChg>
    </pc:docChg>
  </pc:docChgLst>
  <pc:docChgLst>
    <pc:chgData name="Alana Rivera" userId="S::arg3669@ads.northwestern.edu::fc8b707a-b7e9-4f2a-8d71-2d76819b7881" providerId="AD" clId="Web-{B4964270-B086-4309-6459-65EA28D1CB38}"/>
    <pc:docChg chg="delSld modSld">
      <pc:chgData name="Alana Rivera" userId="S::arg3669@ads.northwestern.edu::fc8b707a-b7e9-4f2a-8d71-2d76819b7881" providerId="AD" clId="Web-{B4964270-B086-4309-6459-65EA28D1CB38}" dt="2023-10-26T06:44:01.652" v="2"/>
      <pc:docMkLst>
        <pc:docMk/>
      </pc:docMkLst>
      <pc:sldChg chg="modSp">
        <pc:chgData name="Alana Rivera" userId="S::arg3669@ads.northwestern.edu::fc8b707a-b7e9-4f2a-8d71-2d76819b7881" providerId="AD" clId="Web-{B4964270-B086-4309-6459-65EA28D1CB38}" dt="2023-10-26T05:22:48.823" v="1" actId="14100"/>
        <pc:sldMkLst>
          <pc:docMk/>
          <pc:sldMk cId="2564870475" sldId="566"/>
        </pc:sldMkLst>
        <pc:spChg chg="mod">
          <ac:chgData name="Alana Rivera" userId="S::arg3669@ads.northwestern.edu::fc8b707a-b7e9-4f2a-8d71-2d76819b7881" providerId="AD" clId="Web-{B4964270-B086-4309-6459-65EA28D1CB38}" dt="2023-10-26T05:22:48.823" v="1" actId="14100"/>
          <ac:spMkLst>
            <pc:docMk/>
            <pc:sldMk cId="2564870475" sldId="566"/>
            <ac:spMk id="11" creationId="{00000000-0000-0000-0000-000000000000}"/>
          </ac:spMkLst>
        </pc:spChg>
      </pc:sldChg>
      <pc:sldChg chg="del">
        <pc:chgData name="Alana Rivera" userId="S::arg3669@ads.northwestern.edu::fc8b707a-b7e9-4f2a-8d71-2d76819b7881" providerId="AD" clId="Web-{B4964270-B086-4309-6459-65EA28D1CB38}" dt="2023-10-26T06:44:01.652" v="2"/>
        <pc:sldMkLst>
          <pc:docMk/>
          <pc:sldMk cId="4290994232" sldId="578"/>
        </pc:sldMkLst>
      </pc:sldChg>
    </pc:docChg>
  </pc:docChgLst>
  <pc:docChgLst>
    <pc:chgData name="Eileen Fleming Suse" userId="S::efs3844@ads.northwestern.edu::725c94ef-d051-42d7-9d33-8572765d592b" providerId="AD" clId="Web-{524F6783-CF9C-A7C1-D142-27E8864BC3CB}"/>
    <pc:docChg chg="modSld">
      <pc:chgData name="Eileen Fleming Suse" userId="S::efs3844@ads.northwestern.edu::725c94ef-d051-42d7-9d33-8572765d592b" providerId="AD" clId="Web-{524F6783-CF9C-A7C1-D142-27E8864BC3CB}" dt="2023-10-24T02:49:43.199" v="27" actId="20577"/>
      <pc:docMkLst>
        <pc:docMk/>
      </pc:docMkLst>
      <pc:sldChg chg="modSp">
        <pc:chgData name="Eileen Fleming Suse" userId="S::efs3844@ads.northwestern.edu::725c94ef-d051-42d7-9d33-8572765d592b" providerId="AD" clId="Web-{524F6783-CF9C-A7C1-D142-27E8864BC3CB}" dt="2023-10-24T02:49:43.199" v="27" actId="20577"/>
        <pc:sldMkLst>
          <pc:docMk/>
          <pc:sldMk cId="3845418986" sldId="563"/>
        </pc:sldMkLst>
        <pc:spChg chg="mod">
          <ac:chgData name="Eileen Fleming Suse" userId="S::efs3844@ads.northwestern.edu::725c94ef-d051-42d7-9d33-8572765d592b" providerId="AD" clId="Web-{524F6783-CF9C-A7C1-D142-27E8864BC3CB}" dt="2023-10-24T02:48:50.792" v="5" actId="20577"/>
          <ac:spMkLst>
            <pc:docMk/>
            <pc:sldMk cId="3845418986" sldId="563"/>
            <ac:spMk id="41" creationId="{00000000-0000-0000-0000-000000000000}"/>
          </ac:spMkLst>
        </pc:spChg>
        <pc:spChg chg="mod">
          <ac:chgData name="Eileen Fleming Suse" userId="S::efs3844@ads.northwestern.edu::725c94ef-d051-42d7-9d33-8572765d592b" providerId="AD" clId="Web-{524F6783-CF9C-A7C1-D142-27E8864BC3CB}" dt="2023-10-24T02:49:18.886" v="17" actId="14100"/>
          <ac:spMkLst>
            <pc:docMk/>
            <pc:sldMk cId="3845418986" sldId="563"/>
            <ac:spMk id="43" creationId="{00000000-0000-0000-0000-000000000000}"/>
          </ac:spMkLst>
        </pc:spChg>
        <pc:spChg chg="mod">
          <ac:chgData name="Eileen Fleming Suse" userId="S::efs3844@ads.northwestern.edu::725c94ef-d051-42d7-9d33-8572765d592b" providerId="AD" clId="Web-{524F6783-CF9C-A7C1-D142-27E8864BC3CB}" dt="2023-10-24T02:49:43.199" v="27" actId="20577"/>
          <ac:spMkLst>
            <pc:docMk/>
            <pc:sldMk cId="3845418986" sldId="563"/>
            <ac:spMk id="45" creationId="{00000000-0000-0000-0000-000000000000}"/>
          </ac:spMkLst>
        </pc:spChg>
      </pc:sldChg>
      <pc:sldChg chg="modSp">
        <pc:chgData name="Eileen Fleming Suse" userId="S::efs3844@ads.northwestern.edu::725c94ef-d051-42d7-9d33-8572765d592b" providerId="AD" clId="Web-{524F6783-CF9C-A7C1-D142-27E8864BC3CB}" dt="2023-10-24T02:48:43.932" v="2" actId="1076"/>
        <pc:sldMkLst>
          <pc:docMk/>
          <pc:sldMk cId="3004937174" sldId="565"/>
        </pc:sldMkLst>
        <pc:spChg chg="mod">
          <ac:chgData name="Eileen Fleming Suse" userId="S::efs3844@ads.northwestern.edu::725c94ef-d051-42d7-9d33-8572765d592b" providerId="AD" clId="Web-{524F6783-CF9C-A7C1-D142-27E8864BC3CB}" dt="2023-10-24T02:48:35.166" v="1" actId="1076"/>
          <ac:spMkLst>
            <pc:docMk/>
            <pc:sldMk cId="3004937174" sldId="565"/>
            <ac:spMk id="32" creationId="{00000000-0000-0000-0000-000000000000}"/>
          </ac:spMkLst>
        </pc:spChg>
        <pc:spChg chg="mod">
          <ac:chgData name="Eileen Fleming Suse" userId="S::efs3844@ads.northwestern.edu::725c94ef-d051-42d7-9d33-8572765d592b" providerId="AD" clId="Web-{524F6783-CF9C-A7C1-D142-27E8864BC3CB}" dt="2023-10-24T02:48:43.932" v="2" actId="1076"/>
          <ac:spMkLst>
            <pc:docMk/>
            <pc:sldMk cId="3004937174" sldId="565"/>
            <ac:spMk id="38" creationId="{00000000-0000-0000-0000-000000000000}"/>
          </ac:spMkLst>
        </pc:spChg>
      </pc:sldChg>
    </pc:docChg>
  </pc:docChgLst>
  <pc:docChgLst>
    <pc:chgData name="Alana Rivera" userId="S::arg3669@ads.northwestern.edu::fc8b707a-b7e9-4f2a-8d71-2d76819b7881" providerId="AD" clId="Web-{316D5976-A92B-4DA1-B7A8-34F7AEF9B15D}"/>
    <pc:docChg chg="modSld">
      <pc:chgData name="Alana Rivera" userId="S::arg3669@ads.northwestern.edu::fc8b707a-b7e9-4f2a-8d71-2d76819b7881" providerId="AD" clId="Web-{316D5976-A92B-4DA1-B7A8-34F7AEF9B15D}" dt="2023-10-25T16:12:34.060" v="3"/>
      <pc:docMkLst>
        <pc:docMk/>
      </pc:docMkLst>
      <pc:sldChg chg="modSp">
        <pc:chgData name="Alana Rivera" userId="S::arg3669@ads.northwestern.edu::fc8b707a-b7e9-4f2a-8d71-2d76819b7881" providerId="AD" clId="Web-{316D5976-A92B-4DA1-B7A8-34F7AEF9B15D}" dt="2023-10-25T16:12:34.060" v="3"/>
        <pc:sldMkLst>
          <pc:docMk/>
          <pc:sldMk cId="4044691067" sldId="283"/>
        </pc:sldMkLst>
        <pc:spChg chg="mod">
          <ac:chgData name="Alana Rivera" userId="S::arg3669@ads.northwestern.edu::fc8b707a-b7e9-4f2a-8d71-2d76819b7881" providerId="AD" clId="Web-{316D5976-A92B-4DA1-B7A8-34F7AEF9B15D}" dt="2023-10-25T16:12:34.060" v="3"/>
          <ac:spMkLst>
            <pc:docMk/>
            <pc:sldMk cId="4044691067" sldId="283"/>
            <ac:spMk id="3" creationId="{00000000-0000-0000-0000-000000000000}"/>
          </ac:spMkLst>
        </pc:spChg>
      </pc:sldChg>
    </pc:docChg>
  </pc:docChgLst>
  <pc:docChgLst>
    <pc:chgData name="Eileen Fleming Suse" userId="S::efs3844@ads.northwestern.edu::725c94ef-d051-42d7-9d33-8572765d592b" providerId="AD" clId="Web-{C93D31B3-2B8C-DAAF-7090-3A2197BCB065}"/>
    <pc:docChg chg="addSld delSld modSld sldOrd">
      <pc:chgData name="Eileen Fleming Suse" userId="S::efs3844@ads.northwestern.edu::725c94ef-d051-42d7-9d33-8572765d592b" providerId="AD" clId="Web-{C93D31B3-2B8C-DAAF-7090-3A2197BCB065}" dt="2023-10-27T21:32:15.542" v="226"/>
      <pc:docMkLst>
        <pc:docMk/>
      </pc:docMkLst>
      <pc:sldChg chg="delCm">
        <pc:chgData name="Eileen Fleming Suse" userId="S::efs3844@ads.northwestern.edu::725c94ef-d051-42d7-9d33-8572765d592b" providerId="AD" clId="Web-{C93D31B3-2B8C-DAAF-7090-3A2197BCB065}" dt="2023-10-27T20:38:25.630" v="101"/>
        <pc:sldMkLst>
          <pc:docMk/>
          <pc:sldMk cId="2351229145" sldId="54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0:38:25.630" v="101"/>
              <pc2:cmMkLst xmlns:pc2="http://schemas.microsoft.com/office/powerpoint/2019/9/main/command">
                <pc:docMk/>
                <pc:sldMk cId="2351229145" sldId="544"/>
                <pc2:cmMk id="{94040B62-D001-43B9-8FD0-0A8B0C9B684C}"/>
              </pc2:cmMkLst>
            </pc226:cmChg>
          </p:ext>
        </pc:extLst>
      </pc:sldChg>
      <pc:sldChg chg="modSp">
        <pc:chgData name="Eileen Fleming Suse" userId="S::efs3844@ads.northwestern.edu::725c94ef-d051-42d7-9d33-8572765d592b" providerId="AD" clId="Web-{C93D31B3-2B8C-DAAF-7090-3A2197BCB065}" dt="2023-10-27T20:37:55.739" v="100" actId="20577"/>
        <pc:sldMkLst>
          <pc:docMk/>
          <pc:sldMk cId="1141815353" sldId="562"/>
        </pc:sldMkLst>
        <pc:spChg chg="mod">
          <ac:chgData name="Eileen Fleming Suse" userId="S::efs3844@ads.northwestern.edu::725c94ef-d051-42d7-9d33-8572765d592b" providerId="AD" clId="Web-{C93D31B3-2B8C-DAAF-7090-3A2197BCB065}" dt="2023-10-27T20:37:55.739" v="100" actId="20577"/>
          <ac:spMkLst>
            <pc:docMk/>
            <pc:sldMk cId="1141815353" sldId="562"/>
            <ac:spMk id="2" creationId="{05579FEB-3306-A04E-6516-F16994F3B0F9}"/>
          </ac:spMkLst>
        </pc:spChg>
        <pc:spChg chg="mod">
          <ac:chgData name="Eileen Fleming Suse" userId="S::efs3844@ads.northwestern.edu::725c94ef-d051-42d7-9d33-8572765d592b" providerId="AD" clId="Web-{C93D31B3-2B8C-DAAF-7090-3A2197BCB065}" dt="2023-10-27T20:37:49.195" v="99"/>
          <ac:spMkLst>
            <pc:docMk/>
            <pc:sldMk cId="1141815353" sldId="562"/>
            <ac:spMk id="360" creationId="{FE59A3A2-BFF2-9772-51D6-9CCB620AEB53}"/>
          </ac:spMkLst>
        </pc:spChg>
        <pc:graphicFrameChg chg="modGraphic">
          <ac:chgData name="Eileen Fleming Suse" userId="S::efs3844@ads.northwestern.edu::725c94ef-d051-42d7-9d33-8572765d592b" providerId="AD" clId="Web-{C93D31B3-2B8C-DAAF-7090-3A2197BCB065}" dt="2023-10-27T20:37:40.614" v="96" actId="20577"/>
          <ac:graphicFrameMkLst>
            <pc:docMk/>
            <pc:sldMk cId="1141815353" sldId="562"/>
            <ac:graphicFrameMk id="137" creationId="{61D68665-D38F-2DB1-AAFC-535C715B7F9F}"/>
          </ac:graphicFrameMkLst>
        </pc:graphicFrameChg>
      </pc:sldChg>
      <pc:sldChg chg="addAnim">
        <pc:chgData name="Eileen Fleming Suse" userId="S::efs3844@ads.northwestern.edu::725c94ef-d051-42d7-9d33-8572765d592b" providerId="AD" clId="Web-{C93D31B3-2B8C-DAAF-7090-3A2197BCB065}" dt="2023-10-27T20:34:45.141" v="77"/>
        <pc:sldMkLst>
          <pc:docMk/>
          <pc:sldMk cId="3845418986" sldId="563"/>
        </pc:sldMkLst>
      </pc:sldChg>
      <pc:sldChg chg="addAnim delAnim modAnim">
        <pc:chgData name="Eileen Fleming Suse" userId="S::efs3844@ads.northwestern.edu::725c94ef-d051-42d7-9d33-8572765d592b" providerId="AD" clId="Web-{C93D31B3-2B8C-DAAF-7090-3A2197BCB065}" dt="2023-10-27T20:34:35.282" v="76"/>
        <pc:sldMkLst>
          <pc:docMk/>
          <pc:sldMk cId="1536434647" sldId="564"/>
        </pc:sldMkLst>
      </pc:sldChg>
      <pc:sldChg chg="delSp">
        <pc:chgData name="Eileen Fleming Suse" userId="S::efs3844@ads.northwestern.edu::725c94ef-d051-42d7-9d33-8572765d592b" providerId="AD" clId="Web-{C93D31B3-2B8C-DAAF-7090-3A2197BCB065}" dt="2023-10-27T20:25:58.630" v="11"/>
        <pc:sldMkLst>
          <pc:docMk/>
          <pc:sldMk cId="3870927286" sldId="583"/>
        </pc:sldMkLst>
        <pc:spChg chg="del">
          <ac:chgData name="Eileen Fleming Suse" userId="S::efs3844@ads.northwestern.edu::725c94ef-d051-42d7-9d33-8572765d592b" providerId="AD" clId="Web-{C93D31B3-2B8C-DAAF-7090-3A2197BCB065}" dt="2023-10-27T20:25:58.630" v="8"/>
          <ac:spMkLst>
            <pc:docMk/>
            <pc:sldMk cId="3870927286" sldId="583"/>
            <ac:spMk id="48" creationId="{00000000-0000-0000-0000-000000000000}"/>
          </ac:spMkLst>
        </pc:spChg>
        <pc:spChg chg="del">
          <ac:chgData name="Eileen Fleming Suse" userId="S::efs3844@ads.northwestern.edu::725c94ef-d051-42d7-9d33-8572765d592b" providerId="AD" clId="Web-{C93D31B3-2B8C-DAAF-7090-3A2197BCB065}" dt="2023-10-27T20:25:58.630" v="7"/>
          <ac:spMkLst>
            <pc:docMk/>
            <pc:sldMk cId="3870927286" sldId="583"/>
            <ac:spMk id="49" creationId="{00000000-0000-0000-0000-000000000000}"/>
          </ac:spMkLst>
        </pc:spChg>
        <pc:spChg chg="del">
          <ac:chgData name="Eileen Fleming Suse" userId="S::efs3844@ads.northwestern.edu::725c94ef-d051-42d7-9d33-8572765d592b" providerId="AD" clId="Web-{C93D31B3-2B8C-DAAF-7090-3A2197BCB065}" dt="2023-10-27T20:25:58.630" v="6"/>
          <ac:spMkLst>
            <pc:docMk/>
            <pc:sldMk cId="3870927286" sldId="583"/>
            <ac:spMk id="50" creationId="{00000000-0000-0000-0000-000000000000}"/>
          </ac:spMkLst>
        </pc:spChg>
        <pc:grpChg chg="del">
          <ac:chgData name="Eileen Fleming Suse" userId="S::efs3844@ads.northwestern.edu::725c94ef-d051-42d7-9d33-8572765d592b" providerId="AD" clId="Web-{C93D31B3-2B8C-DAAF-7090-3A2197BCB065}" dt="2023-10-27T20:25:58.630" v="11"/>
          <ac:grpSpMkLst>
            <pc:docMk/>
            <pc:sldMk cId="3870927286" sldId="583"/>
            <ac:grpSpMk id="18" creationId="{00000000-0000-0000-0000-000000000000}"/>
          </ac:grpSpMkLst>
        </pc:grpChg>
        <pc:grpChg chg="del">
          <ac:chgData name="Eileen Fleming Suse" userId="S::efs3844@ads.northwestern.edu::725c94ef-d051-42d7-9d33-8572765d592b" providerId="AD" clId="Web-{C93D31B3-2B8C-DAAF-7090-3A2197BCB065}" dt="2023-10-27T20:25:58.630" v="10"/>
          <ac:grpSpMkLst>
            <pc:docMk/>
            <pc:sldMk cId="3870927286" sldId="583"/>
            <ac:grpSpMk id="42" creationId="{00000000-0000-0000-0000-000000000000}"/>
          </ac:grpSpMkLst>
        </pc:grpChg>
        <pc:grpChg chg="del">
          <ac:chgData name="Eileen Fleming Suse" userId="S::efs3844@ads.northwestern.edu::725c94ef-d051-42d7-9d33-8572765d592b" providerId="AD" clId="Web-{C93D31B3-2B8C-DAAF-7090-3A2197BCB065}" dt="2023-10-27T20:25:58.630" v="9"/>
          <ac:grpSpMkLst>
            <pc:docMk/>
            <pc:sldMk cId="3870927286" sldId="583"/>
            <ac:grpSpMk id="45" creationId="{00000000-0000-0000-0000-000000000000}"/>
          </ac:grpSpMkLst>
        </pc:grpChg>
      </pc:sldChg>
      <pc:sldChg chg="addAnim">
        <pc:chgData name="Eileen Fleming Suse" userId="S::efs3844@ads.northwestern.edu::725c94ef-d051-42d7-9d33-8572765d592b" providerId="AD" clId="Web-{C93D31B3-2B8C-DAAF-7090-3A2197BCB065}" dt="2023-10-27T20:36:02.424" v="82"/>
        <pc:sldMkLst>
          <pc:docMk/>
          <pc:sldMk cId="3561966490" sldId="585"/>
        </pc:sldMkLst>
      </pc:sldChg>
      <pc:sldChg chg="addAnim">
        <pc:chgData name="Eileen Fleming Suse" userId="S::efs3844@ads.northwestern.edu::725c94ef-d051-42d7-9d33-8572765d592b" providerId="AD" clId="Web-{C93D31B3-2B8C-DAAF-7090-3A2197BCB065}" dt="2023-10-27T20:35:43.361" v="81"/>
        <pc:sldMkLst>
          <pc:docMk/>
          <pc:sldMk cId="3809547791" sldId="586"/>
        </pc:sldMkLst>
      </pc:sldChg>
      <pc:sldChg chg="addAnim">
        <pc:chgData name="Eileen Fleming Suse" userId="S::efs3844@ads.northwestern.edu::725c94ef-d051-42d7-9d33-8572765d592b" providerId="AD" clId="Web-{C93D31B3-2B8C-DAAF-7090-3A2197BCB065}" dt="2023-10-27T20:35:34.392" v="80"/>
        <pc:sldMkLst>
          <pc:docMk/>
          <pc:sldMk cId="1598854783" sldId="587"/>
        </pc:sldMkLst>
      </pc:sldChg>
      <pc:sldChg chg="addAnim">
        <pc:chgData name="Eileen Fleming Suse" userId="S::efs3844@ads.northwestern.edu::725c94ef-d051-42d7-9d33-8572765d592b" providerId="AD" clId="Web-{C93D31B3-2B8C-DAAF-7090-3A2197BCB065}" dt="2023-10-27T20:35:16.720" v="79"/>
        <pc:sldMkLst>
          <pc:docMk/>
          <pc:sldMk cId="3832963388" sldId="588"/>
        </pc:sldMkLst>
      </pc:sldChg>
      <pc:sldChg chg="addAnim">
        <pc:chgData name="Eileen Fleming Suse" userId="S::efs3844@ads.northwestern.edu::725c94ef-d051-42d7-9d33-8572765d592b" providerId="AD" clId="Web-{C93D31B3-2B8C-DAAF-7090-3A2197BCB065}" dt="2023-10-27T20:35:00.423" v="78"/>
        <pc:sldMkLst>
          <pc:docMk/>
          <pc:sldMk cId="629433230" sldId="591"/>
        </pc:sldMkLst>
      </pc:sldChg>
      <pc:sldChg chg="modNotes">
        <pc:chgData name="Eileen Fleming Suse" userId="S::efs3844@ads.northwestern.edu::725c94ef-d051-42d7-9d33-8572765d592b" providerId="AD" clId="Web-{C93D31B3-2B8C-DAAF-7090-3A2197BCB065}" dt="2023-10-27T20:51:02.849" v="104"/>
        <pc:sldMkLst>
          <pc:docMk/>
          <pc:sldMk cId="2470795492" sldId="599"/>
        </pc:sldMkLst>
      </pc:sldChg>
      <pc:sldChg chg="addSp delSp modSp modCm">
        <pc:chgData name="Eileen Fleming Suse" userId="S::efs3844@ads.northwestern.edu::725c94ef-d051-42d7-9d33-8572765d592b" providerId="AD" clId="Web-{C93D31B3-2B8C-DAAF-7090-3A2197BCB065}" dt="2023-10-27T21:31:50.088" v="225"/>
        <pc:sldMkLst>
          <pc:docMk/>
          <pc:sldMk cId="3355787309" sldId="604"/>
        </pc:sldMkLst>
        <pc:spChg chg="mod">
          <ac:chgData name="Eileen Fleming Suse" userId="S::efs3844@ads.northwestern.edu::725c94ef-d051-42d7-9d33-8572765d592b" providerId="AD" clId="Web-{C93D31B3-2B8C-DAAF-7090-3A2197BCB065}" dt="2023-10-27T21:31:34.291" v="220" actId="1076"/>
          <ac:spMkLst>
            <pc:docMk/>
            <pc:sldMk cId="3355787309" sldId="604"/>
            <ac:spMk id="2" creationId="{3D3DB2FD-422B-6FE2-6A77-68A0BED56A59}"/>
          </ac:spMkLst>
        </pc:spChg>
        <pc:spChg chg="del mod">
          <ac:chgData name="Eileen Fleming Suse" userId="S::efs3844@ads.northwestern.edu::725c94ef-d051-42d7-9d33-8572765d592b" providerId="AD" clId="Web-{C93D31B3-2B8C-DAAF-7090-3A2197BCB065}" dt="2023-10-27T21:02:41.005" v="106"/>
          <ac:spMkLst>
            <pc:docMk/>
            <pc:sldMk cId="3355787309" sldId="604"/>
            <ac:spMk id="3" creationId="{B1DF9D3E-53CE-A0B4-3C3C-775A3E3EE2E0}"/>
          </ac:spMkLst>
        </pc:spChg>
        <pc:spChg chg="add mod">
          <ac:chgData name="Eileen Fleming Suse" userId="S::efs3844@ads.northwestern.edu::725c94ef-d051-42d7-9d33-8572765d592b" providerId="AD" clId="Web-{C93D31B3-2B8C-DAAF-7090-3A2197BCB065}" dt="2023-10-27T21:31:44.448" v="224" actId="14100"/>
          <ac:spMkLst>
            <pc:docMk/>
            <pc:sldMk cId="3355787309" sldId="604"/>
            <ac:spMk id="7" creationId="{C2C4A4FB-85F0-1A6F-FCE0-0B66658A2386}"/>
          </ac:spMkLst>
        </pc:spChg>
        <pc:picChg chg="add del mod">
          <ac:chgData name="Eileen Fleming Suse" userId="S::efs3844@ads.northwestern.edu::725c94ef-d051-42d7-9d33-8572765d592b" providerId="AD" clId="Web-{C93D31B3-2B8C-DAAF-7090-3A2197BCB065}" dt="2023-10-27T21:29:46.945" v="207"/>
          <ac:picMkLst>
            <pc:docMk/>
            <pc:sldMk cId="3355787309" sldId="604"/>
            <ac:picMk id="8" creationId="{CFCA719F-085D-BF88-9706-0C08E8805D92}"/>
          </ac:picMkLst>
        </pc:picChg>
        <pc:picChg chg="add del mod">
          <ac:chgData name="Eileen Fleming Suse" userId="S::efs3844@ads.northwestern.edu::725c94ef-d051-42d7-9d33-8572765d592b" providerId="AD" clId="Web-{C93D31B3-2B8C-DAAF-7090-3A2197BCB065}" dt="2023-10-27T21:30:15.743" v="212"/>
          <ac:picMkLst>
            <pc:docMk/>
            <pc:sldMk cId="3355787309" sldId="604"/>
            <ac:picMk id="9" creationId="{A76D19E5-C9EB-D9B7-1001-C47E41765400}"/>
          </ac:picMkLst>
        </pc:picChg>
        <pc:picChg chg="add mod">
          <ac:chgData name="Eileen Fleming Suse" userId="S::efs3844@ads.northwestern.edu::725c94ef-d051-42d7-9d33-8572765d592b" providerId="AD" clId="Web-{C93D31B3-2B8C-DAAF-7090-3A2197BCB065}" dt="2023-10-27T21:31:30.338" v="218" actId="1076"/>
          <ac:picMkLst>
            <pc:docMk/>
            <pc:sldMk cId="3355787309" sldId="604"/>
            <ac:picMk id="10" creationId="{66E5EB26-086B-E77E-CBE6-BB12DE36113C}"/>
          </ac:picMkLst>
        </pc:picChg>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C93D31B3-2B8C-DAAF-7090-3A2197BCB065}" dt="2023-10-27T21:31:50.088" v="225"/>
              <pc2:cmMkLst xmlns:pc2="http://schemas.microsoft.com/office/powerpoint/2019/9/main/command">
                <pc:docMk/>
                <pc:sldMk cId="3355787309" sldId="604"/>
                <pc2:cmMk id="{5635E0A6-AC69-4FB6-B7FE-9DA078BBCAEE}"/>
              </pc2:cmMkLst>
            </pc226:cmChg>
          </p:ext>
        </pc:extLst>
      </pc:sldChg>
      <pc:sldChg chg="addSp delSp modSp">
        <pc:chgData name="Eileen Fleming Suse" userId="S::efs3844@ads.northwestern.edu::725c94ef-d051-42d7-9d33-8572765d592b" providerId="AD" clId="Web-{C93D31B3-2B8C-DAAF-7090-3A2197BCB065}" dt="2023-10-27T21:04:15.366" v="110"/>
        <pc:sldMkLst>
          <pc:docMk/>
          <pc:sldMk cId="1452140663" sldId="605"/>
        </pc:sldMkLst>
        <pc:spChg chg="add del mod">
          <ac:chgData name="Eileen Fleming Suse" userId="S::efs3844@ads.northwestern.edu::725c94ef-d051-42d7-9d33-8572765d592b" providerId="AD" clId="Web-{C93D31B3-2B8C-DAAF-7090-3A2197BCB065}" dt="2023-10-27T21:04:15.366" v="110"/>
          <ac:spMkLst>
            <pc:docMk/>
            <pc:sldMk cId="1452140663" sldId="605"/>
            <ac:spMk id="3" creationId="{7DA7F350-CE79-EDF6-B779-CC8CCCE0E40A}"/>
          </ac:spMkLst>
        </pc:spChg>
      </pc:sldChg>
      <pc:sldChg chg="delCm">
        <pc:chgData name="Eileen Fleming Suse" userId="S::efs3844@ads.northwestern.edu::725c94ef-d051-42d7-9d33-8572765d592b" providerId="AD" clId="Web-{C93D31B3-2B8C-DAAF-7090-3A2197BCB065}" dt="2023-10-27T21:32:15.542" v="226"/>
        <pc:sldMkLst>
          <pc:docMk/>
          <pc:sldMk cId="2003568291" sldId="609"/>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1:32:15.542" v="226"/>
              <pc2:cmMkLst xmlns:pc2="http://schemas.microsoft.com/office/powerpoint/2019/9/main/command">
                <pc:docMk/>
                <pc:sldMk cId="2003568291" sldId="609"/>
                <pc2:cmMk id="{AE1B6C45-0EF0-4CD3-8E51-393E7FE3AF62}"/>
              </pc2:cmMkLst>
            </pc226:cmChg>
          </p:ext>
        </pc:extLst>
      </pc:sldChg>
      <pc:sldChg chg="modSp">
        <pc:chgData name="Eileen Fleming Suse" userId="S::efs3844@ads.northwestern.edu::725c94ef-d051-42d7-9d33-8572765d592b" providerId="AD" clId="Web-{C93D31B3-2B8C-DAAF-7090-3A2197BCB065}" dt="2023-10-27T20:25:18.004" v="5" actId="1076"/>
        <pc:sldMkLst>
          <pc:docMk/>
          <pc:sldMk cId="3726638559" sldId="616"/>
        </pc:sldMkLst>
        <pc:spChg chg="mod">
          <ac:chgData name="Eileen Fleming Suse" userId="S::efs3844@ads.northwestern.edu::725c94ef-d051-42d7-9d33-8572765d592b" providerId="AD" clId="Web-{C93D31B3-2B8C-DAAF-7090-3A2197BCB065}" dt="2023-10-27T20:25:18.004" v="5" actId="1076"/>
          <ac:spMkLst>
            <pc:docMk/>
            <pc:sldMk cId="3726638559" sldId="616"/>
            <ac:spMk id="2175" creationId="{00000000-0000-0000-0000-000000000000}"/>
          </ac:spMkLst>
        </pc:spChg>
      </pc:sldChg>
      <pc:sldChg chg="addSp modSp addAnim delAnim">
        <pc:chgData name="Eileen Fleming Suse" userId="S::efs3844@ads.northwestern.edu::725c94ef-d051-42d7-9d33-8572765d592b" providerId="AD" clId="Web-{C93D31B3-2B8C-DAAF-7090-3A2197BCB065}" dt="2023-10-27T20:31:31.278" v="42"/>
        <pc:sldMkLst>
          <pc:docMk/>
          <pc:sldMk cId="1210022179" sldId="617"/>
        </pc:sldMkLst>
        <pc:spChg chg="add mod">
          <ac:chgData name="Eileen Fleming Suse" userId="S::efs3844@ads.northwestern.edu::725c94ef-d051-42d7-9d33-8572765d592b" providerId="AD" clId="Web-{C93D31B3-2B8C-DAAF-7090-3A2197BCB065}" dt="2023-10-27T20:28:42.899" v="19" actId="14100"/>
          <ac:spMkLst>
            <pc:docMk/>
            <pc:sldMk cId="1210022179" sldId="617"/>
            <ac:spMk id="3" creationId="{58E28592-FDD2-A9FB-FF64-0D7E537442D4}"/>
          </ac:spMkLst>
        </pc:spChg>
        <pc:spChg chg="add mod">
          <ac:chgData name="Eileen Fleming Suse" userId="S::efs3844@ads.northwestern.edu::725c94ef-d051-42d7-9d33-8572765d592b" providerId="AD" clId="Web-{C93D31B3-2B8C-DAAF-7090-3A2197BCB065}" dt="2023-10-27T20:31:20.653" v="40" actId="20577"/>
          <ac:spMkLst>
            <pc:docMk/>
            <pc:sldMk cId="1210022179" sldId="617"/>
            <ac:spMk id="6" creationId="{602B4FC7-02B4-B308-F882-1F10636CBFF9}"/>
          </ac:spMkLst>
        </pc:spChg>
      </pc:sldChg>
      <pc:sldChg chg="del">
        <pc:chgData name="Eileen Fleming Suse" userId="S::efs3844@ads.northwestern.edu::725c94ef-d051-42d7-9d33-8572765d592b" providerId="AD" clId="Web-{C93D31B3-2B8C-DAAF-7090-3A2197BCB065}" dt="2023-10-27T20:29:09.806" v="23"/>
        <pc:sldMkLst>
          <pc:docMk/>
          <pc:sldMk cId="3431700372" sldId="618"/>
        </pc:sldMkLst>
      </pc:sldChg>
      <pc:sldChg chg="del">
        <pc:chgData name="Eileen Fleming Suse" userId="S::efs3844@ads.northwestern.edu::725c94ef-d051-42d7-9d33-8572765d592b" providerId="AD" clId="Web-{C93D31B3-2B8C-DAAF-7090-3A2197BCB065}" dt="2023-10-27T20:29:39.400" v="26"/>
        <pc:sldMkLst>
          <pc:docMk/>
          <pc:sldMk cId="923498403" sldId="619"/>
        </pc:sldMkLst>
      </pc:sldChg>
      <pc:sldChg chg="del">
        <pc:chgData name="Eileen Fleming Suse" userId="S::efs3844@ads.northwestern.edu::725c94ef-d051-42d7-9d33-8572765d592b" providerId="AD" clId="Web-{C93D31B3-2B8C-DAAF-7090-3A2197BCB065}" dt="2023-10-27T20:29:49.526" v="27"/>
        <pc:sldMkLst>
          <pc:docMk/>
          <pc:sldMk cId="3074345071" sldId="620"/>
        </pc:sldMkLst>
      </pc:sldChg>
      <pc:sldChg chg="ord addAnim">
        <pc:chgData name="Eileen Fleming Suse" userId="S::efs3844@ads.northwestern.edu::725c94ef-d051-42d7-9d33-8572765d592b" providerId="AD" clId="Web-{C93D31B3-2B8C-DAAF-7090-3A2197BCB065}" dt="2023-10-27T20:27:46.132" v="13"/>
        <pc:sldMkLst>
          <pc:docMk/>
          <pc:sldMk cId="3850125703" sldId="622"/>
        </pc:sldMkLst>
      </pc:sldChg>
      <pc:sldChg chg="addSp modSp add replId addAnim">
        <pc:chgData name="Eileen Fleming Suse" userId="S::efs3844@ads.northwestern.edu::725c94ef-d051-42d7-9d33-8572765d592b" providerId="AD" clId="Web-{C93D31B3-2B8C-DAAF-7090-3A2197BCB065}" dt="2023-10-27T20:32:10.872" v="46" actId="20577"/>
        <pc:sldMkLst>
          <pc:docMk/>
          <pc:sldMk cId="2561278274" sldId="630"/>
        </pc:sldMkLst>
        <pc:spChg chg="mod">
          <ac:chgData name="Eileen Fleming Suse" userId="S::efs3844@ads.northwestern.edu::725c94ef-d051-42d7-9d33-8572765d592b" providerId="AD" clId="Web-{C93D31B3-2B8C-DAAF-7090-3A2197BCB065}" dt="2023-10-27T20:29:06.103" v="22" actId="1076"/>
          <ac:spMkLst>
            <pc:docMk/>
            <pc:sldMk cId="2561278274" sldId="630"/>
            <ac:spMk id="3" creationId="{58E28592-FDD2-A9FB-FF64-0D7E537442D4}"/>
          </ac:spMkLst>
        </pc:spChg>
        <pc:spChg chg="add mod">
          <ac:chgData name="Eileen Fleming Suse" userId="S::efs3844@ads.northwestern.edu::725c94ef-d051-42d7-9d33-8572765d592b" providerId="AD" clId="Web-{C93D31B3-2B8C-DAAF-7090-3A2197BCB065}" dt="2023-10-27T20:32:10.872" v="46" actId="20577"/>
          <ac:spMkLst>
            <pc:docMk/>
            <pc:sldMk cId="2561278274" sldId="630"/>
            <ac:spMk id="7" creationId="{8496B0C4-3602-7272-3A32-22184B4B8223}"/>
          </ac:spMkLst>
        </pc:spChg>
      </pc:sldChg>
      <pc:sldChg chg="addSp modSp add replId addAnim delAnim">
        <pc:chgData name="Eileen Fleming Suse" userId="S::efs3844@ads.northwestern.edu::725c94ef-d051-42d7-9d33-8572765d592b" providerId="AD" clId="Web-{C93D31B3-2B8C-DAAF-7090-3A2197BCB065}" dt="2023-10-27T20:32:37.435" v="51"/>
        <pc:sldMkLst>
          <pc:docMk/>
          <pc:sldMk cId="488873692" sldId="631"/>
        </pc:sldMkLst>
        <pc:spChg chg="mod">
          <ac:chgData name="Eileen Fleming Suse" userId="S::efs3844@ads.northwestern.edu::725c94ef-d051-42d7-9d33-8572765d592b" providerId="AD" clId="Web-{C93D31B3-2B8C-DAAF-7090-3A2197BCB065}" dt="2023-10-27T20:29:32.728" v="25" actId="1076"/>
          <ac:spMkLst>
            <pc:docMk/>
            <pc:sldMk cId="488873692" sldId="631"/>
            <ac:spMk id="3" creationId="{58E28592-FDD2-A9FB-FF64-0D7E537442D4}"/>
          </ac:spMkLst>
        </pc:spChg>
        <pc:spChg chg="add mod">
          <ac:chgData name="Eileen Fleming Suse" userId="S::efs3844@ads.northwestern.edu::725c94ef-d051-42d7-9d33-8572765d592b" providerId="AD" clId="Web-{C93D31B3-2B8C-DAAF-7090-3A2197BCB065}" dt="2023-10-27T20:32:37.201" v="50" actId="20577"/>
          <ac:spMkLst>
            <pc:docMk/>
            <pc:sldMk cId="488873692" sldId="631"/>
            <ac:spMk id="7" creationId="{DFD5A0D1-51F6-710D-06A4-BD15D9E25C76}"/>
          </ac:spMkLst>
        </pc:spChg>
      </pc:sldChg>
      <pc:sldChg chg="addSp modSp add ord replId addAnim">
        <pc:chgData name="Eileen Fleming Suse" userId="S::efs3844@ads.northwestern.edu::725c94ef-d051-42d7-9d33-8572765d592b" providerId="AD" clId="Web-{C93D31B3-2B8C-DAAF-7090-3A2197BCB065}" dt="2023-10-27T20:32:48.670" v="54" actId="20577"/>
        <pc:sldMkLst>
          <pc:docMk/>
          <pc:sldMk cId="3115055849" sldId="632"/>
        </pc:sldMkLst>
        <pc:spChg chg="mod">
          <ac:chgData name="Eileen Fleming Suse" userId="S::efs3844@ads.northwestern.edu::725c94ef-d051-42d7-9d33-8572765d592b" providerId="AD" clId="Web-{C93D31B3-2B8C-DAAF-7090-3A2197BCB065}" dt="2023-10-27T20:30:07.417" v="30" actId="1076"/>
          <ac:spMkLst>
            <pc:docMk/>
            <pc:sldMk cId="3115055849" sldId="632"/>
            <ac:spMk id="3" creationId="{58E28592-FDD2-A9FB-FF64-0D7E537442D4}"/>
          </ac:spMkLst>
        </pc:spChg>
        <pc:spChg chg="add mod">
          <ac:chgData name="Eileen Fleming Suse" userId="S::efs3844@ads.northwestern.edu::725c94ef-d051-42d7-9d33-8572765d592b" providerId="AD" clId="Web-{C93D31B3-2B8C-DAAF-7090-3A2197BCB065}" dt="2023-10-27T20:32:48.670" v="54" actId="20577"/>
          <ac:spMkLst>
            <pc:docMk/>
            <pc:sldMk cId="3115055849" sldId="632"/>
            <ac:spMk id="7" creationId="{C2E32C2D-903E-520B-06DF-BD02CDACB918}"/>
          </ac:spMkLst>
        </pc:spChg>
      </pc:sldChg>
      <pc:sldChg chg="addSp modSp add replId addAnim">
        <pc:chgData name="Eileen Fleming Suse" userId="S::efs3844@ads.northwestern.edu::725c94ef-d051-42d7-9d33-8572765d592b" providerId="AD" clId="Web-{C93D31B3-2B8C-DAAF-7090-3A2197BCB065}" dt="2023-10-27T20:33:06.811" v="57" actId="20577"/>
        <pc:sldMkLst>
          <pc:docMk/>
          <pc:sldMk cId="3999708931" sldId="633"/>
        </pc:sldMkLst>
        <pc:spChg chg="mod">
          <ac:chgData name="Eileen Fleming Suse" userId="S::efs3844@ads.northwestern.edu::725c94ef-d051-42d7-9d33-8572765d592b" providerId="AD" clId="Web-{C93D31B3-2B8C-DAAF-7090-3A2197BCB065}" dt="2023-10-27T20:30:30.042" v="32" actId="1076"/>
          <ac:spMkLst>
            <pc:docMk/>
            <pc:sldMk cId="3999708931" sldId="633"/>
            <ac:spMk id="3" creationId="{58E28592-FDD2-A9FB-FF64-0D7E537442D4}"/>
          </ac:spMkLst>
        </pc:spChg>
        <pc:spChg chg="add mod">
          <ac:chgData name="Eileen Fleming Suse" userId="S::efs3844@ads.northwestern.edu::725c94ef-d051-42d7-9d33-8572765d592b" providerId="AD" clId="Web-{C93D31B3-2B8C-DAAF-7090-3A2197BCB065}" dt="2023-10-27T20:33:06.811" v="57" actId="20577"/>
          <ac:spMkLst>
            <pc:docMk/>
            <pc:sldMk cId="3999708931" sldId="633"/>
            <ac:spMk id="7" creationId="{32D43D21-12EB-57B8-92CD-FBCBE656C832}"/>
          </ac:spMkLst>
        </pc:spChg>
      </pc:sldChg>
    </pc:docChg>
  </pc:docChgLst>
  <pc:docChgLst>
    <pc:chgData name="Isabel Rose Gippo" userId="S::irg9370@ads.northwestern.edu::b10bfe7e-55b9-46dd-9add-2eb52cb66d3b" providerId="AD" clId="Web-{8E3BEBCA-AD6A-76DA-B8D3-33301DA82F27}"/>
    <pc:docChg chg="modSld">
      <pc:chgData name="Isabel Rose Gippo" userId="S::irg9370@ads.northwestern.edu::b10bfe7e-55b9-46dd-9add-2eb52cb66d3b" providerId="AD" clId="Web-{8E3BEBCA-AD6A-76DA-B8D3-33301DA82F27}" dt="2023-10-24T18:26:04.342" v="34"/>
      <pc:docMkLst>
        <pc:docMk/>
      </pc:docMkLst>
      <pc:sldChg chg="addCm">
        <pc:chgData name="Isabel Rose Gippo" userId="S::irg9370@ads.northwestern.edu::b10bfe7e-55b9-46dd-9add-2eb52cb66d3b" providerId="AD" clId="Web-{8E3BEBCA-AD6A-76DA-B8D3-33301DA82F27}" dt="2023-10-24T18:11:44.401" v="0"/>
        <pc:sldMkLst>
          <pc:docMk/>
          <pc:sldMk cId="3090389772" sldId="56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11:44.401" v="0"/>
              <pc2:cmMkLst xmlns:pc2="http://schemas.microsoft.com/office/powerpoint/2019/9/main/command">
                <pc:docMk/>
                <pc:sldMk cId="3090389772" sldId="568"/>
                <pc2:cmMk id="{137A254D-2737-4985-B0AB-6839DDC46AE0}"/>
              </pc2:cmMkLst>
            </pc226:cmChg>
          </p:ext>
        </pc:extLst>
      </pc:sldChg>
      <pc:sldChg chg="modSp">
        <pc:chgData name="Isabel Rose Gippo" userId="S::irg9370@ads.northwestern.edu::b10bfe7e-55b9-46dd-9add-2eb52cb66d3b" providerId="AD" clId="Web-{8E3BEBCA-AD6A-76DA-B8D3-33301DA82F27}" dt="2023-10-24T18:22:26.399" v="21" actId="20577"/>
        <pc:sldMkLst>
          <pc:docMk/>
          <pc:sldMk cId="1088329954" sldId="569"/>
        </pc:sldMkLst>
        <pc:spChg chg="mod">
          <ac:chgData name="Isabel Rose Gippo" userId="S::irg9370@ads.northwestern.edu::b10bfe7e-55b9-46dd-9add-2eb52cb66d3b" providerId="AD" clId="Web-{8E3BEBCA-AD6A-76DA-B8D3-33301DA82F27}" dt="2023-10-24T18:22:26.399" v="21" actId="20577"/>
          <ac:spMkLst>
            <pc:docMk/>
            <pc:sldMk cId="1088329954" sldId="569"/>
            <ac:spMk id="7" creationId="{EAD90045-A731-42F5-ED3E-D5AE61B97B24}"/>
          </ac:spMkLst>
        </pc:spChg>
      </pc:sldChg>
      <pc:sldChg chg="modSp">
        <pc:chgData name="Isabel Rose Gippo" userId="S::irg9370@ads.northwestern.edu::b10bfe7e-55b9-46dd-9add-2eb52cb66d3b" providerId="AD" clId="Web-{8E3BEBCA-AD6A-76DA-B8D3-33301DA82F27}" dt="2023-10-24T18:22:39.837" v="23"/>
        <pc:sldMkLst>
          <pc:docMk/>
          <pc:sldMk cId="2849312483" sldId="570"/>
        </pc:sldMkLst>
        <pc:spChg chg="mod">
          <ac:chgData name="Isabel Rose Gippo" userId="S::irg9370@ads.northwestern.edu::b10bfe7e-55b9-46dd-9add-2eb52cb66d3b" providerId="AD" clId="Web-{8E3BEBCA-AD6A-76DA-B8D3-33301DA82F27}" dt="2023-10-24T18:13:20.762" v="1"/>
          <ac:spMkLst>
            <pc:docMk/>
            <pc:sldMk cId="2849312483" sldId="570"/>
            <ac:spMk id="5" creationId="{E069BE35-38BF-B866-0B62-A243ACB6F110}"/>
          </ac:spMkLst>
        </pc:spChg>
        <pc:spChg chg="mod">
          <ac:chgData name="Isabel Rose Gippo" userId="S::irg9370@ads.northwestern.edu::b10bfe7e-55b9-46dd-9add-2eb52cb66d3b" providerId="AD" clId="Web-{8E3BEBCA-AD6A-76DA-B8D3-33301DA82F27}" dt="2023-10-24T18:22:39.837" v="23"/>
          <ac:spMkLst>
            <pc:docMk/>
            <pc:sldMk cId="2849312483" sldId="570"/>
            <ac:spMk id="10" creationId="{C8307CA0-040F-CDB1-5F4D-16A04C6E74DF}"/>
          </ac:spMkLst>
        </pc:spChg>
      </pc:sldChg>
      <pc:sldChg chg="modSp addCm modCm">
        <pc:chgData name="Isabel Rose Gippo" userId="S::irg9370@ads.northwestern.edu::b10bfe7e-55b9-46dd-9add-2eb52cb66d3b" providerId="AD" clId="Web-{8E3BEBCA-AD6A-76DA-B8D3-33301DA82F27}" dt="2023-10-24T18:23:42.745" v="30" actId="1076"/>
        <pc:sldMkLst>
          <pc:docMk/>
          <pc:sldMk cId="1337825202" sldId="571"/>
        </pc:sldMkLst>
        <pc:spChg chg="mod">
          <ac:chgData name="Isabel Rose Gippo" userId="S::irg9370@ads.northwestern.edu::b10bfe7e-55b9-46dd-9add-2eb52cb66d3b" providerId="AD" clId="Web-{8E3BEBCA-AD6A-76DA-B8D3-33301DA82F27}" dt="2023-10-24T18:23:26.463" v="28" actId="1076"/>
          <ac:spMkLst>
            <pc:docMk/>
            <pc:sldMk cId="1337825202" sldId="571"/>
            <ac:spMk id="4" creationId="{16B24218-AF37-F6C6-7684-E7E3C16AFAF4}"/>
          </ac:spMkLst>
        </pc:spChg>
        <pc:spChg chg="mod">
          <ac:chgData name="Isabel Rose Gippo" userId="S::irg9370@ads.northwestern.edu::b10bfe7e-55b9-46dd-9add-2eb52cb66d3b" providerId="AD" clId="Web-{8E3BEBCA-AD6A-76DA-B8D3-33301DA82F27}" dt="2023-10-24T18:23:42.745" v="30" actId="1076"/>
          <ac:spMkLst>
            <pc:docMk/>
            <pc:sldMk cId="1337825202" sldId="571"/>
            <ac:spMk id="5" creationId="{45477BD9-E066-785E-8D58-760863918D07}"/>
          </ac:spMkLst>
        </pc:spChg>
        <pc:spChg chg="mod">
          <ac:chgData name="Isabel Rose Gippo" userId="S::irg9370@ads.northwestern.edu::b10bfe7e-55b9-46dd-9add-2eb52cb66d3b" providerId="AD" clId="Web-{8E3BEBCA-AD6A-76DA-B8D3-33301DA82F27}" dt="2023-10-24T18:23:31.698" v="29" actId="1076"/>
          <ac:spMkLst>
            <pc:docMk/>
            <pc:sldMk cId="1337825202" sldId="571"/>
            <ac:spMk id="7" creationId="{70F70170-82A9-3F58-8A7E-1C8F0DE96C28}"/>
          </ac:spMkLst>
        </pc:spChg>
        <pc:spChg chg="mod">
          <ac:chgData name="Isabel Rose Gippo" userId="S::irg9370@ads.northwestern.edu::b10bfe7e-55b9-46dd-9add-2eb52cb66d3b" providerId="AD" clId="Web-{8E3BEBCA-AD6A-76DA-B8D3-33301DA82F27}" dt="2023-10-24T18:23:19.760" v="26" actId="1076"/>
          <ac:spMkLst>
            <pc:docMk/>
            <pc:sldMk cId="1337825202" sldId="571"/>
            <ac:spMk id="19" creationId="{F49C1F1A-614A-5749-1A3F-78980B65ADBC}"/>
          </ac:spMkLst>
        </pc:spChg>
        <pc:picChg chg="mod">
          <ac:chgData name="Isabel Rose Gippo" userId="S::irg9370@ads.northwestern.edu::b10bfe7e-55b9-46dd-9add-2eb52cb66d3b" providerId="AD" clId="Web-{8E3BEBCA-AD6A-76DA-B8D3-33301DA82F27}" dt="2023-10-24T18:23:21.682" v="27" actId="1076"/>
          <ac:picMkLst>
            <pc:docMk/>
            <pc:sldMk cId="1337825202" sldId="571"/>
            <ac:picMk id="3" creationId="{295316AB-273C-55D8-0FED-C92B67DB5F3C}"/>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3:05.041" v="24"/>
              <pc2:cmMkLst xmlns:pc2="http://schemas.microsoft.com/office/powerpoint/2019/9/main/command">
                <pc:docMk/>
                <pc:sldMk cId="1337825202" sldId="571"/>
                <pc2:cmMk id="{597B57DA-0034-4896-9C5A-F5F5B1181A4B}"/>
              </pc2:cmMkLst>
              <pc226:cmRplyChg chg="add">
                <pc226:chgData name="Isabel Rose Gippo" userId="S::irg9370@ads.northwestern.edu::b10bfe7e-55b9-46dd-9add-2eb52cb66d3b" providerId="AD" clId="Web-{8E3BEBCA-AD6A-76DA-B8D3-33301DA82F27}" dt="2023-10-24T18:23:05.041" v="24"/>
                <pc2:cmRplyMkLst xmlns:pc2="http://schemas.microsoft.com/office/powerpoint/2019/9/main/command">
                  <pc:docMk/>
                  <pc:sldMk cId="1337825202" sldId="571"/>
                  <pc2:cmMk id="{597B57DA-0034-4896-9C5A-F5F5B1181A4B}"/>
                  <pc2:cmRplyMk id="{0B20A1DB-B066-4B4C-A06C-07EF4136C81F}"/>
                </pc2:cmRplyMkLst>
              </pc226:cmRplyChg>
            </pc226:cmChg>
          </p:ext>
        </pc:extLst>
      </pc:sldChg>
      <pc:sldChg chg="modSp addCm">
        <pc:chgData name="Isabel Rose Gippo" userId="S::irg9370@ads.northwestern.edu::b10bfe7e-55b9-46dd-9add-2eb52cb66d3b" providerId="AD" clId="Web-{8E3BEBCA-AD6A-76DA-B8D3-33301DA82F27}" dt="2023-10-24T18:26:04.342" v="34"/>
        <pc:sldMkLst>
          <pc:docMk/>
          <pc:sldMk cId="1568500938" sldId="575"/>
        </pc:sldMkLst>
        <pc:spChg chg="mod">
          <ac:chgData name="Isabel Rose Gippo" userId="S::irg9370@ads.northwestern.edu::b10bfe7e-55b9-46dd-9add-2eb52cb66d3b" providerId="AD" clId="Web-{8E3BEBCA-AD6A-76DA-B8D3-33301DA82F27}" dt="2023-10-24T18:24:13.043" v="33" actId="1076"/>
          <ac:spMkLst>
            <pc:docMk/>
            <pc:sldMk cId="1568500938" sldId="575"/>
            <ac:spMk id="4" creationId="{16B24218-AF37-F6C6-7684-E7E3C16AFAF4}"/>
          </ac:spMkLst>
        </pc:spChg>
        <pc:spChg chg="mod">
          <ac:chgData name="Isabel Rose Gippo" userId="S::irg9370@ads.northwestern.edu::b10bfe7e-55b9-46dd-9add-2eb52cb66d3b" providerId="AD" clId="Web-{8E3BEBCA-AD6A-76DA-B8D3-33301DA82F27}" dt="2023-10-24T18:24:07.386" v="32" actId="1076"/>
          <ac:spMkLst>
            <pc:docMk/>
            <pc:sldMk cId="1568500938" sldId="575"/>
            <ac:spMk id="19" creationId="{F49C1F1A-614A-5749-1A3F-78980B65ADBC}"/>
          </ac:spMkLst>
        </pc:spChg>
        <pc:picChg chg="mod">
          <ac:chgData name="Isabel Rose Gippo" userId="S::irg9370@ads.northwestern.edu::b10bfe7e-55b9-46dd-9add-2eb52cb66d3b" providerId="AD" clId="Web-{8E3BEBCA-AD6A-76DA-B8D3-33301DA82F27}" dt="2023-10-24T18:24:01.308" v="31" actId="1076"/>
          <ac:picMkLst>
            <pc:docMk/>
            <pc:sldMk cId="1568500938" sldId="575"/>
            <ac:picMk id="8" creationId="{C4A61916-BC63-F6E7-BBA0-F124F7732FEA}"/>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6:04.342" v="34"/>
              <pc2:cmMkLst xmlns:pc2="http://schemas.microsoft.com/office/powerpoint/2019/9/main/command">
                <pc:docMk/>
                <pc:sldMk cId="1568500938" sldId="575"/>
                <pc2:cmMk id="{AE1B6C45-0EF0-4CD3-8E51-393E7FE3AF62}"/>
              </pc2:cmMkLst>
            </pc226:cmChg>
          </p:ext>
        </pc:extLst>
      </pc:sldChg>
      <pc:sldChg chg="modSp">
        <pc:chgData name="Isabel Rose Gippo" userId="S::irg9370@ads.northwestern.edu::b10bfe7e-55b9-46dd-9add-2eb52cb66d3b" providerId="AD" clId="Web-{8E3BEBCA-AD6A-76DA-B8D3-33301DA82F27}" dt="2023-10-24T18:21:10.257" v="19" actId="1076"/>
        <pc:sldMkLst>
          <pc:docMk/>
          <pc:sldMk cId="1407824229" sldId="576"/>
        </pc:sldMkLst>
        <pc:spChg chg="mod">
          <ac:chgData name="Isabel Rose Gippo" userId="S::irg9370@ads.northwestern.edu::b10bfe7e-55b9-46dd-9add-2eb52cb66d3b" providerId="AD" clId="Web-{8E3BEBCA-AD6A-76DA-B8D3-33301DA82F27}" dt="2023-10-24T18:21:10.257" v="19" actId="1076"/>
          <ac:spMkLst>
            <pc:docMk/>
            <pc:sldMk cId="1407824229" sldId="576"/>
            <ac:spMk id="5" creationId="{45477BD9-E066-785E-8D58-760863918D07}"/>
          </ac:spMkLst>
        </pc:spChg>
        <pc:spChg chg="mod">
          <ac:chgData name="Isabel Rose Gippo" userId="S::irg9370@ads.northwestern.edu::b10bfe7e-55b9-46dd-9add-2eb52cb66d3b" providerId="AD" clId="Web-{8E3BEBCA-AD6A-76DA-B8D3-33301DA82F27}" dt="2023-10-24T18:21:07.601" v="18" actId="14100"/>
          <ac:spMkLst>
            <pc:docMk/>
            <pc:sldMk cId="1407824229" sldId="576"/>
            <ac:spMk id="7" creationId="{70F70170-82A9-3F58-8A7E-1C8F0DE96C28}"/>
          </ac:spMkLst>
        </pc:spChg>
      </pc:sldChg>
    </pc:docChg>
  </pc:docChgLst>
  <pc:docChgLst>
    <pc:chgData name="Eileen Fleming Suse" userId="S::efs3844@ads.northwestern.edu::725c94ef-d051-42d7-9d33-8572765d592b" providerId="AD" clId="Web-{9EA480BD-2ABC-0E67-CCB3-672E9005EA21}"/>
    <pc:docChg chg="modSld">
      <pc:chgData name="Eileen Fleming Suse" userId="S::efs3844@ads.northwestern.edu::725c94ef-d051-42d7-9d33-8572765d592b" providerId="AD" clId="Web-{9EA480BD-2ABC-0E67-CCB3-672E9005EA21}" dt="2023-10-31T18:53:54.682" v="108" actId="20577"/>
      <pc:docMkLst>
        <pc:docMk/>
      </pc:docMkLst>
      <pc:sldChg chg="modNotes">
        <pc:chgData name="Eileen Fleming Suse" userId="S::efs3844@ads.northwestern.edu::725c94ef-d051-42d7-9d33-8572765d592b" providerId="AD" clId="Web-{9EA480BD-2ABC-0E67-CCB3-672E9005EA21}" dt="2023-10-31T18:38:51.875" v="17"/>
        <pc:sldMkLst>
          <pc:docMk/>
          <pc:sldMk cId="3536510335" sldId="553"/>
        </pc:sldMkLst>
      </pc:sldChg>
      <pc:sldChg chg="modNotes">
        <pc:chgData name="Eileen Fleming Suse" userId="S::efs3844@ads.northwestern.edu::725c94ef-d051-42d7-9d33-8572765d592b" providerId="AD" clId="Web-{9EA480BD-2ABC-0E67-CCB3-672E9005EA21}" dt="2023-10-31T18:42:48.819" v="18"/>
        <pc:sldMkLst>
          <pc:docMk/>
          <pc:sldMk cId="1514756035" sldId="556"/>
        </pc:sldMkLst>
      </pc:sldChg>
      <pc:sldChg chg="modSp">
        <pc:chgData name="Eileen Fleming Suse" userId="S::efs3844@ads.northwestern.edu::725c94ef-d051-42d7-9d33-8572765d592b" providerId="AD" clId="Web-{9EA480BD-2ABC-0E67-CCB3-672E9005EA21}" dt="2023-10-31T18:47:22.061" v="50" actId="20577"/>
        <pc:sldMkLst>
          <pc:docMk/>
          <pc:sldMk cId="3067427377" sldId="560"/>
        </pc:sldMkLst>
        <pc:spChg chg="mod">
          <ac:chgData name="Eileen Fleming Suse" userId="S::efs3844@ads.northwestern.edu::725c94ef-d051-42d7-9d33-8572765d592b" providerId="AD" clId="Web-{9EA480BD-2ABC-0E67-CCB3-672E9005EA21}" dt="2023-10-31T18:47:22.061" v="50" actId="20577"/>
          <ac:spMkLst>
            <pc:docMk/>
            <pc:sldMk cId="3067427377" sldId="560"/>
            <ac:spMk id="3" creationId="{E7ECD19B-85BC-6652-2856-676802964CFA}"/>
          </ac:spMkLst>
        </pc:spChg>
      </pc:sldChg>
      <pc:sldChg chg="modSp">
        <pc:chgData name="Eileen Fleming Suse" userId="S::efs3844@ads.northwestern.edu::725c94ef-d051-42d7-9d33-8572765d592b" providerId="AD" clId="Web-{9EA480BD-2ABC-0E67-CCB3-672E9005EA21}" dt="2023-10-31T18:46:04.106" v="29" actId="1076"/>
        <pc:sldMkLst>
          <pc:docMk/>
          <pc:sldMk cId="3809547791" sldId="586"/>
        </pc:sldMkLst>
        <pc:spChg chg="mod">
          <ac:chgData name="Eileen Fleming Suse" userId="S::efs3844@ads.northwestern.edu::725c94ef-d051-42d7-9d33-8572765d592b" providerId="AD" clId="Web-{9EA480BD-2ABC-0E67-CCB3-672E9005EA21}" dt="2023-10-31T18:46:04.106" v="29" actId="1076"/>
          <ac:spMkLst>
            <pc:docMk/>
            <pc:sldMk cId="3809547791" sldId="586"/>
            <ac:spMk id="38" creationId="{00000000-0000-0000-0000-000000000000}"/>
          </ac:spMkLst>
        </pc:spChg>
        <pc:spChg chg="mod">
          <ac:chgData name="Eileen Fleming Suse" userId="S::efs3844@ads.northwestern.edu::725c94ef-d051-42d7-9d33-8572765d592b" providerId="AD" clId="Web-{9EA480BD-2ABC-0E67-CCB3-672E9005EA21}" dt="2023-10-31T18:45:13.026" v="22" actId="14100"/>
          <ac:spMkLst>
            <pc:docMk/>
            <pc:sldMk cId="3809547791" sldId="586"/>
            <ac:spMk id="39" creationId="{00000000-0000-0000-0000-000000000000}"/>
          </ac:spMkLst>
        </pc:spChg>
        <pc:spChg chg="mod">
          <ac:chgData name="Eileen Fleming Suse" userId="S::efs3844@ads.northwestern.edu::725c94ef-d051-42d7-9d33-8572765d592b" providerId="AD" clId="Web-{9EA480BD-2ABC-0E67-CCB3-672E9005EA21}" dt="2023-10-31T18:45:53.184" v="27" actId="1076"/>
          <ac:spMkLst>
            <pc:docMk/>
            <pc:sldMk cId="3809547791" sldId="586"/>
            <ac:spMk id="40" creationId="{00000000-0000-0000-0000-000000000000}"/>
          </ac:spMkLst>
        </pc:spChg>
        <pc:spChg chg="mod">
          <ac:chgData name="Eileen Fleming Suse" userId="S::efs3844@ads.northwestern.edu::725c94ef-d051-42d7-9d33-8572765d592b" providerId="AD" clId="Web-{9EA480BD-2ABC-0E67-CCB3-672E9005EA21}" dt="2023-10-31T18:45:33.839" v="25" actId="14100"/>
          <ac:spMkLst>
            <pc:docMk/>
            <pc:sldMk cId="3809547791" sldId="586"/>
            <ac:spMk id="43" creationId="{00000000-0000-0000-0000-000000000000}"/>
          </ac:spMkLst>
        </pc:spChg>
        <pc:grpChg chg="mod">
          <ac:chgData name="Eileen Fleming Suse" userId="S::efs3844@ads.northwestern.edu::725c94ef-d051-42d7-9d33-8572765d592b" providerId="AD" clId="Web-{9EA480BD-2ABC-0E67-CCB3-672E9005EA21}" dt="2023-10-31T18:45:29.558" v="24" actId="14100"/>
          <ac:grpSpMkLst>
            <pc:docMk/>
            <pc:sldMk cId="3809547791" sldId="586"/>
            <ac:grpSpMk id="14" creationId="{00000000-0000-0000-0000-000000000000}"/>
          </ac:grpSpMkLst>
        </pc:grpChg>
        <pc:grpChg chg="mod">
          <ac:chgData name="Eileen Fleming Suse" userId="S::efs3844@ads.northwestern.edu::725c94ef-d051-42d7-9d33-8572765d592b" providerId="AD" clId="Web-{9EA480BD-2ABC-0E67-CCB3-672E9005EA21}" dt="2023-10-31T18:45:57.090" v="28" actId="14100"/>
          <ac:grpSpMkLst>
            <pc:docMk/>
            <pc:sldMk cId="3809547791" sldId="586"/>
            <ac:grpSpMk id="17" creationId="{00000000-0000-0000-0000-000000000000}"/>
          </ac:grpSpMkLst>
        </pc:grpChg>
        <pc:grpChg chg="mod">
          <ac:chgData name="Eileen Fleming Suse" userId="S::efs3844@ads.northwestern.edu::725c94ef-d051-42d7-9d33-8572765d592b" providerId="AD" clId="Web-{9EA480BD-2ABC-0E67-CCB3-672E9005EA21}" dt="2023-10-31T18:45:49.215" v="26" actId="1076"/>
          <ac:grpSpMkLst>
            <pc:docMk/>
            <pc:sldMk cId="3809547791" sldId="586"/>
            <ac:grpSpMk id="23" creationId="{00000000-0000-0000-0000-000000000000}"/>
          </ac:grpSpMkLst>
        </pc:grpChg>
      </pc:sldChg>
      <pc:sldChg chg="modSp">
        <pc:chgData name="Eileen Fleming Suse" userId="S::efs3844@ads.northwestern.edu::725c94ef-d051-42d7-9d33-8572765d592b" providerId="AD" clId="Web-{9EA480BD-2ABC-0E67-CCB3-672E9005EA21}" dt="2023-10-31T18:47:45.734" v="54" actId="1076"/>
        <pc:sldMkLst>
          <pc:docMk/>
          <pc:sldMk cId="2443892533" sldId="643"/>
        </pc:sldMkLst>
        <pc:spChg chg="mod">
          <ac:chgData name="Eileen Fleming Suse" userId="S::efs3844@ads.northwestern.edu::725c94ef-d051-42d7-9d33-8572765d592b" providerId="AD" clId="Web-{9EA480BD-2ABC-0E67-CCB3-672E9005EA21}" dt="2023-10-31T18:47:45.734" v="54" actId="1076"/>
          <ac:spMkLst>
            <pc:docMk/>
            <pc:sldMk cId="2443892533" sldId="643"/>
            <ac:spMk id="10" creationId="{F7DE78CF-32A6-61A0-EEC5-F837E089D3A4}"/>
          </ac:spMkLst>
        </pc:spChg>
      </pc:sldChg>
      <pc:sldChg chg="addSp modSp mod setBg">
        <pc:chgData name="Eileen Fleming Suse" userId="S::efs3844@ads.northwestern.edu::725c94ef-d051-42d7-9d33-8572765d592b" providerId="AD" clId="Web-{9EA480BD-2ABC-0E67-CCB3-672E9005EA21}" dt="2023-10-31T18:53:54.682" v="108" actId="20577"/>
        <pc:sldMkLst>
          <pc:docMk/>
          <pc:sldMk cId="1112761221" sldId="649"/>
        </pc:sldMkLst>
        <pc:spChg chg="mod">
          <ac:chgData name="Eileen Fleming Suse" userId="S::efs3844@ads.northwestern.edu::725c94ef-d051-42d7-9d33-8572765d592b" providerId="AD" clId="Web-{9EA480BD-2ABC-0E67-CCB3-672E9005EA21}" dt="2023-10-31T18:53:23.509" v="106"/>
          <ac:spMkLst>
            <pc:docMk/>
            <pc:sldMk cId="1112761221" sldId="649"/>
            <ac:spMk id="2" creationId="{5D725862-D9BC-0176-0EC2-CCE1E0651CF6}"/>
          </ac:spMkLst>
        </pc:spChg>
        <pc:spChg chg="mod">
          <ac:chgData name="Eileen Fleming Suse" userId="S::efs3844@ads.northwestern.edu::725c94ef-d051-42d7-9d33-8572765d592b" providerId="AD" clId="Web-{9EA480BD-2ABC-0E67-CCB3-672E9005EA21}" dt="2023-10-31T18:53:54.682" v="108" actId="20577"/>
          <ac:spMkLst>
            <pc:docMk/>
            <pc:sldMk cId="1112761221" sldId="649"/>
            <ac:spMk id="3" creationId="{6C9274D1-5B42-C3F3-28E1-C27E5991B53C}"/>
          </ac:spMkLst>
        </pc:spChg>
        <pc:spChg chg="mod ord">
          <ac:chgData name="Eileen Fleming Suse" userId="S::efs3844@ads.northwestern.edu::725c94ef-d051-42d7-9d33-8572765d592b" providerId="AD" clId="Web-{9EA480BD-2ABC-0E67-CCB3-672E9005EA21}" dt="2023-10-31T18:53:23.509" v="106"/>
          <ac:spMkLst>
            <pc:docMk/>
            <pc:sldMk cId="1112761221" sldId="649"/>
            <ac:spMk id="4" creationId="{63A013EC-D0C0-C69D-4DDA-EBB300A2CBEF}"/>
          </ac:spMkLst>
        </pc:spChg>
        <pc:spChg chg="mod">
          <ac:chgData name="Eileen Fleming Suse" userId="S::efs3844@ads.northwestern.edu::725c94ef-d051-42d7-9d33-8572765d592b" providerId="AD" clId="Web-{9EA480BD-2ABC-0E67-CCB3-672E9005EA21}" dt="2023-10-31T18:53:23.509" v="106"/>
          <ac:spMkLst>
            <pc:docMk/>
            <pc:sldMk cId="1112761221" sldId="649"/>
            <ac:spMk id="5" creationId="{2E91D297-9D05-16EF-3891-0E6C69C99EBA}"/>
          </ac:spMkLst>
        </pc:spChg>
        <pc:spChg chg="add">
          <ac:chgData name="Eileen Fleming Suse" userId="S::efs3844@ads.northwestern.edu::725c94ef-d051-42d7-9d33-8572765d592b" providerId="AD" clId="Web-{9EA480BD-2ABC-0E67-CCB3-672E9005EA21}" dt="2023-10-31T18:53:23.509" v="106"/>
          <ac:spMkLst>
            <pc:docMk/>
            <pc:sldMk cId="1112761221" sldId="649"/>
            <ac:spMk id="10" creationId="{FFD48BC7-DC40-47DE-87EE-9F4B6ECB9ABB}"/>
          </ac:spMkLst>
        </pc:spChg>
        <pc:spChg chg="add">
          <ac:chgData name="Eileen Fleming Suse" userId="S::efs3844@ads.northwestern.edu::725c94ef-d051-42d7-9d33-8572765d592b" providerId="AD" clId="Web-{9EA480BD-2ABC-0E67-CCB3-672E9005EA21}" dt="2023-10-31T18:53:23.509" v="106"/>
          <ac:spMkLst>
            <pc:docMk/>
            <pc:sldMk cId="1112761221" sldId="649"/>
            <ac:spMk id="12" creationId="{E502BBC7-2C76-46F3-BC24-5985BC13DB88}"/>
          </ac:spMkLst>
        </pc:spChg>
        <pc:spChg chg="add">
          <ac:chgData name="Eileen Fleming Suse" userId="S::efs3844@ads.northwestern.edu::725c94ef-d051-42d7-9d33-8572765d592b" providerId="AD" clId="Web-{9EA480BD-2ABC-0E67-CCB3-672E9005EA21}" dt="2023-10-31T18:53:23.509" v="106"/>
          <ac:spMkLst>
            <pc:docMk/>
            <pc:sldMk cId="1112761221" sldId="649"/>
            <ac:spMk id="14" creationId="{C7F28D52-2A5F-4D23-81AE-7CB8B591C7AF}"/>
          </ac:spMkLst>
        </pc:spChg>
        <pc:spChg chg="add">
          <ac:chgData name="Eileen Fleming Suse" userId="S::efs3844@ads.northwestern.edu::725c94ef-d051-42d7-9d33-8572765d592b" providerId="AD" clId="Web-{9EA480BD-2ABC-0E67-CCB3-672E9005EA21}" dt="2023-10-31T18:53:23.509" v="106"/>
          <ac:spMkLst>
            <pc:docMk/>
            <pc:sldMk cId="1112761221" sldId="649"/>
            <ac:spMk id="16" creationId="{3629484E-3792-4B3D-89AD-7C8A1ED0E0D4}"/>
          </ac:spMkLst>
        </pc:spChg>
      </pc:sldChg>
    </pc:docChg>
  </pc:docChgLst>
  <pc:docChgLst>
    <pc:chgData name="Eileen Fleming Suse" userId="S::efs3844@ads.northwestern.edu::725c94ef-d051-42d7-9d33-8572765d592b" providerId="AD" clId="Web-{22D2D811-4E65-4C88-896C-E87684E0524E}"/>
    <pc:docChg chg="addSld delSld modSld sldOrd addMainMaster modMainMaster">
      <pc:chgData name="Eileen Fleming Suse" userId="S::efs3844@ads.northwestern.edu::725c94ef-d051-42d7-9d33-8572765d592b" providerId="AD" clId="Web-{22D2D811-4E65-4C88-896C-E87684E0524E}" dt="2023-10-27T19:12:45.418" v="258" actId="1076"/>
      <pc:docMkLst>
        <pc:docMk/>
      </pc:docMkLst>
      <pc:sldChg chg="modSp">
        <pc:chgData name="Eileen Fleming Suse" userId="S::efs3844@ads.northwestern.edu::725c94ef-d051-42d7-9d33-8572765d592b" providerId="AD" clId="Web-{22D2D811-4E65-4C88-896C-E87684E0524E}" dt="2023-10-27T18:33:04.306" v="44" actId="20577"/>
        <pc:sldMkLst>
          <pc:docMk/>
          <pc:sldMk cId="3472964082" sldId="550"/>
        </pc:sldMkLst>
        <pc:spChg chg="mod">
          <ac:chgData name="Eileen Fleming Suse" userId="S::efs3844@ads.northwestern.edu::725c94ef-d051-42d7-9d33-8572765d592b" providerId="AD" clId="Web-{22D2D811-4E65-4C88-896C-E87684E0524E}" dt="2023-10-27T18:33:04.306" v="44" actId="20577"/>
          <ac:spMkLst>
            <pc:docMk/>
            <pc:sldMk cId="3472964082" sldId="550"/>
            <ac:spMk id="23" creationId="{00000000-0000-0000-0000-000000000000}"/>
          </ac:spMkLst>
        </pc:spChg>
      </pc:sldChg>
      <pc:sldChg chg="modNotes">
        <pc:chgData name="Eileen Fleming Suse" userId="S::efs3844@ads.northwestern.edu::725c94ef-d051-42d7-9d33-8572765d592b" providerId="AD" clId="Web-{22D2D811-4E65-4C88-896C-E87684E0524E}" dt="2023-10-27T18:11:52.843" v="38"/>
        <pc:sldMkLst>
          <pc:docMk/>
          <pc:sldMk cId="2562283095" sldId="551"/>
        </pc:sldMkLst>
      </pc:sldChg>
      <pc:sldChg chg="modSp modNotes">
        <pc:chgData name="Eileen Fleming Suse" userId="S::efs3844@ads.northwestern.edu::725c94ef-d051-42d7-9d33-8572765d592b" providerId="AD" clId="Web-{22D2D811-4E65-4C88-896C-E87684E0524E}" dt="2023-10-27T18:51:13.798" v="179" actId="20577"/>
        <pc:sldMkLst>
          <pc:docMk/>
          <pc:sldMk cId="3067427377" sldId="560"/>
        </pc:sldMkLst>
        <pc:spChg chg="mod">
          <ac:chgData name="Eileen Fleming Suse" userId="S::efs3844@ads.northwestern.edu::725c94ef-d051-42d7-9d33-8572765d592b" providerId="AD" clId="Web-{22D2D811-4E65-4C88-896C-E87684E0524E}" dt="2023-10-27T18:51:13.798" v="179" actId="20577"/>
          <ac:spMkLst>
            <pc:docMk/>
            <pc:sldMk cId="3067427377" sldId="560"/>
            <ac:spMk id="3" creationId="{E7ECD19B-85BC-6652-2856-676802964CFA}"/>
          </ac:spMkLst>
        </pc:spChg>
      </pc:sldChg>
      <pc:sldChg chg="modSp modNotes">
        <pc:chgData name="Eileen Fleming Suse" userId="S::efs3844@ads.northwestern.edu::725c94ef-d051-42d7-9d33-8572765d592b" providerId="AD" clId="Web-{22D2D811-4E65-4C88-896C-E87684E0524E}" dt="2023-10-27T19:12:45.418" v="258" actId="1076"/>
        <pc:sldMkLst>
          <pc:docMk/>
          <pc:sldMk cId="1141815353" sldId="562"/>
        </pc:sldMkLst>
        <pc:spChg chg="mod">
          <ac:chgData name="Eileen Fleming Suse" userId="S::efs3844@ads.northwestern.edu::725c94ef-d051-42d7-9d33-8572765d592b" providerId="AD" clId="Web-{22D2D811-4E65-4C88-896C-E87684E0524E}" dt="2023-10-27T19:12:45.418" v="258" actId="1076"/>
          <ac:spMkLst>
            <pc:docMk/>
            <pc:sldMk cId="1141815353" sldId="562"/>
            <ac:spMk id="2" creationId="{05579FEB-3306-A04E-6516-F16994F3B0F9}"/>
          </ac:spMkLst>
        </pc:spChg>
        <pc:spChg chg="mod">
          <ac:chgData name="Eileen Fleming Suse" userId="S::efs3844@ads.northwestern.edu::725c94ef-d051-42d7-9d33-8572765d592b" providerId="AD" clId="Web-{22D2D811-4E65-4C88-896C-E87684E0524E}" dt="2023-10-27T19:12:36.012" v="257" actId="1076"/>
          <ac:spMkLst>
            <pc:docMk/>
            <pc:sldMk cId="1141815353" sldId="562"/>
            <ac:spMk id="360" creationId="{FE59A3A2-BFF2-9772-51D6-9CCB620AEB53}"/>
          </ac:spMkLst>
        </pc:spChg>
        <pc:graphicFrameChg chg="mod modGraphic">
          <ac:chgData name="Eileen Fleming Suse" userId="S::efs3844@ads.northwestern.edu::725c94ef-d051-42d7-9d33-8572765d592b" providerId="AD" clId="Web-{22D2D811-4E65-4C88-896C-E87684E0524E}" dt="2023-10-27T19:12:25.184" v="255" actId="20577"/>
          <ac:graphicFrameMkLst>
            <pc:docMk/>
            <pc:sldMk cId="1141815353" sldId="562"/>
            <ac:graphicFrameMk id="137" creationId="{61D68665-D38F-2DB1-AAFC-535C715B7F9F}"/>
          </ac:graphicFrameMkLst>
        </pc:graphicFrameChg>
      </pc:sldChg>
      <pc:sldChg chg="ord modNotes">
        <pc:chgData name="Eileen Fleming Suse" userId="S::efs3844@ads.northwestern.edu::725c94ef-d051-42d7-9d33-8572765d592b" providerId="AD" clId="Web-{22D2D811-4E65-4C88-896C-E87684E0524E}" dt="2023-10-27T19:01:49.670" v="207"/>
        <pc:sldMkLst>
          <pc:docMk/>
          <pc:sldMk cId="1536434647" sldId="564"/>
        </pc:sldMkLst>
      </pc:sldChg>
      <pc:sldChg chg="modCm">
        <pc:chgData name="Eileen Fleming Suse" userId="S::efs3844@ads.northwestern.edu::725c94ef-d051-42d7-9d33-8572765d592b" providerId="AD" clId="Web-{22D2D811-4E65-4C88-896C-E87684E0524E}" dt="2023-10-27T18:24:45.031" v="40"/>
        <pc:sldMkLst>
          <pc:docMk/>
          <pc:sldMk cId="2564870475" sldId="566"/>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8:24:45.031" v="40"/>
              <pc2:cmMkLst xmlns:pc2="http://schemas.microsoft.com/office/powerpoint/2019/9/main/command">
                <pc:docMk/>
                <pc:sldMk cId="2564870475" sldId="566"/>
                <pc2:cmMk id="{2E54611F-EF9E-406A-A7DB-E8AA469FE59F}"/>
              </pc2:cmMkLst>
            </pc226:cmChg>
          </p:ext>
        </pc:extLst>
      </pc:sldChg>
      <pc:sldChg chg="modSp">
        <pc:chgData name="Eileen Fleming Suse" userId="S::efs3844@ads.northwestern.edu::725c94ef-d051-42d7-9d33-8572765d592b" providerId="AD" clId="Web-{22D2D811-4E65-4C88-896C-E87684E0524E}" dt="2023-10-27T18:30:50.210" v="42" actId="14100"/>
        <pc:sldMkLst>
          <pc:docMk/>
          <pc:sldMk cId="3419957415" sldId="577"/>
        </pc:sldMkLst>
        <pc:cxnChg chg="mod">
          <ac:chgData name="Eileen Fleming Suse" userId="S::efs3844@ads.northwestern.edu::725c94ef-d051-42d7-9d33-8572765d592b" providerId="AD" clId="Web-{22D2D811-4E65-4C88-896C-E87684E0524E}" dt="2023-10-27T18:30:50.210" v="42" actId="14100"/>
          <ac:cxnSpMkLst>
            <pc:docMk/>
            <pc:sldMk cId="3419957415" sldId="577"/>
            <ac:cxnSpMk id="60" creationId="{0780975F-40AC-4431-7277-8634D267BA1E}"/>
          </ac:cxnSpMkLst>
        </pc:cxnChg>
      </pc:sldChg>
      <pc:sldChg chg="modCm">
        <pc:chgData name="Eileen Fleming Suse" userId="S::efs3844@ads.northwestern.edu::725c94ef-d051-42d7-9d33-8572765d592b" providerId="AD" clId="Web-{22D2D811-4E65-4C88-896C-E87684E0524E}" dt="2023-10-27T17:42:13.365" v="0"/>
        <pc:sldMkLst>
          <pc:docMk/>
          <pc:sldMk cId="1478149357" sldId="598"/>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7:42:13.365" v="0"/>
              <pc2:cmMkLst xmlns:pc2="http://schemas.microsoft.com/office/powerpoint/2019/9/main/command">
                <pc:docMk/>
                <pc:sldMk cId="1478149357" sldId="598"/>
                <pc2:cmMk id="{137A254D-2737-4985-B0AB-6839DDC46AE0}"/>
              </pc2:cmMkLst>
            </pc226:cmChg>
          </p:ext>
        </pc:extLst>
      </pc:sldChg>
      <pc:sldChg chg="modCm">
        <pc:chgData name="Eileen Fleming Suse" userId="S::efs3844@ads.northwestern.edu::725c94ef-d051-42d7-9d33-8572765d592b" providerId="AD" clId="Web-{22D2D811-4E65-4C88-896C-E87684E0524E}" dt="2023-10-27T17:46:43.921" v="1"/>
        <pc:sldMkLst>
          <pc:docMk/>
          <pc:sldMk cId="3355787309" sldId="604"/>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D2D811-4E65-4C88-896C-E87684E0524E}" dt="2023-10-27T17:46:43.921" v="1"/>
              <pc2:cmMkLst xmlns:pc2="http://schemas.microsoft.com/office/powerpoint/2019/9/main/command">
                <pc:docMk/>
                <pc:sldMk cId="3355787309" sldId="604"/>
                <pc2:cmMk id="{5635E0A6-AC69-4FB6-B7FE-9DA078BBCAEE}"/>
              </pc2:cmMkLst>
              <pc226:cmRplyChg chg="add">
                <pc226:chgData name="Eileen Fleming Suse" userId="S::efs3844@ads.northwestern.edu::725c94ef-d051-42d7-9d33-8572765d592b" providerId="AD" clId="Web-{22D2D811-4E65-4C88-896C-E87684E0524E}" dt="2023-10-27T17:46:43.921" v="1"/>
                <pc2:cmRplyMkLst xmlns:pc2="http://schemas.microsoft.com/office/powerpoint/2019/9/main/command">
                  <pc:docMk/>
                  <pc:sldMk cId="3355787309" sldId="604"/>
                  <pc2:cmMk id="{5635E0A6-AC69-4FB6-B7FE-9DA078BBCAEE}"/>
                  <pc2:cmRplyMk id="{3053D263-C269-4BCE-98DF-ACFFCD7AE076}"/>
                </pc2:cmRplyMkLst>
              </pc226:cmRplyChg>
            </pc226:cmChg>
          </p:ext>
        </pc:extLst>
      </pc:sldChg>
      <pc:sldChg chg="modSp new del">
        <pc:chgData name="Eileen Fleming Suse" userId="S::efs3844@ads.northwestern.edu::725c94ef-d051-42d7-9d33-8572765d592b" providerId="AD" clId="Web-{22D2D811-4E65-4C88-896C-E87684E0524E}" dt="2023-10-27T18:54:20.755" v="180"/>
        <pc:sldMkLst>
          <pc:docMk/>
          <pc:sldMk cId="2702190378" sldId="615"/>
        </pc:sldMkLst>
        <pc:spChg chg="mod">
          <ac:chgData name="Eileen Fleming Suse" userId="S::efs3844@ads.northwestern.edu::725c94ef-d051-42d7-9d33-8572765d592b" providerId="AD" clId="Web-{22D2D811-4E65-4C88-896C-E87684E0524E}" dt="2023-10-27T17:49:36.442" v="12" actId="20577"/>
          <ac:spMkLst>
            <pc:docMk/>
            <pc:sldMk cId="2702190378" sldId="615"/>
            <ac:spMk id="2" creationId="{4F445AD1-E0AF-6269-62AE-B7B0FF43D0CD}"/>
          </ac:spMkLst>
        </pc:spChg>
        <pc:spChg chg="mod">
          <ac:chgData name="Eileen Fleming Suse" userId="S::efs3844@ads.northwestern.edu::725c94ef-d051-42d7-9d33-8572765d592b" providerId="AD" clId="Web-{22D2D811-4E65-4C88-896C-E87684E0524E}" dt="2023-10-27T17:49:58.974" v="18" actId="1076"/>
          <ac:spMkLst>
            <pc:docMk/>
            <pc:sldMk cId="2702190378" sldId="615"/>
            <ac:spMk id="3" creationId="{71F04961-CC8C-E39E-33CE-8C1BD7F5DC38}"/>
          </ac:spMkLst>
        </pc:spChg>
      </pc:sldChg>
      <pc:sldChg chg="add">
        <pc:chgData name="Eileen Fleming Suse" userId="S::efs3844@ads.northwestern.edu::725c94ef-d051-42d7-9d33-8572765d592b" providerId="AD" clId="Web-{22D2D811-4E65-4C88-896C-E87684E0524E}" dt="2023-10-27T18:23:08.497" v="39"/>
        <pc:sldMkLst>
          <pc:docMk/>
          <pc:sldMk cId="3726638559" sldId="616"/>
        </pc:sldMkLst>
      </pc:sldChg>
      <pc:sldChg chg="add replId">
        <pc:chgData name="Eileen Fleming Suse" userId="S::efs3844@ads.northwestern.edu::725c94ef-d051-42d7-9d33-8572765d592b" providerId="AD" clId="Web-{22D2D811-4E65-4C88-896C-E87684E0524E}" dt="2023-10-27T19:03:54.095" v="208"/>
        <pc:sldMkLst>
          <pc:docMk/>
          <pc:sldMk cId="1210022179" sldId="617"/>
        </pc:sldMkLst>
      </pc:sldChg>
      <pc:sldChg chg="add replId">
        <pc:chgData name="Eileen Fleming Suse" userId="S::efs3844@ads.northwestern.edu::725c94ef-d051-42d7-9d33-8572765d592b" providerId="AD" clId="Web-{22D2D811-4E65-4C88-896C-E87684E0524E}" dt="2023-10-27T19:04:00.548" v="209"/>
        <pc:sldMkLst>
          <pc:docMk/>
          <pc:sldMk cId="3431700372" sldId="618"/>
        </pc:sldMkLst>
      </pc:sldChg>
      <pc:sldChg chg="add replId">
        <pc:chgData name="Eileen Fleming Suse" userId="S::efs3844@ads.northwestern.edu::725c94ef-d051-42d7-9d33-8572765d592b" providerId="AD" clId="Web-{22D2D811-4E65-4C88-896C-E87684E0524E}" dt="2023-10-27T19:04:16.017" v="210"/>
        <pc:sldMkLst>
          <pc:docMk/>
          <pc:sldMk cId="923498403" sldId="619"/>
        </pc:sldMkLst>
      </pc:sldChg>
      <pc:sldChg chg="add replId">
        <pc:chgData name="Eileen Fleming Suse" userId="S::efs3844@ads.northwestern.edu::725c94ef-d051-42d7-9d33-8572765d592b" providerId="AD" clId="Web-{22D2D811-4E65-4C88-896C-E87684E0524E}" dt="2023-10-27T19:04:20.345" v="211"/>
        <pc:sldMkLst>
          <pc:docMk/>
          <pc:sldMk cId="3074345071" sldId="620"/>
        </pc:sldMkLst>
      </pc:sldChg>
      <pc:sldChg chg="new del">
        <pc:chgData name="Eileen Fleming Suse" userId="S::efs3844@ads.northwestern.edu::725c94ef-d051-42d7-9d33-8572765d592b" providerId="AD" clId="Web-{22D2D811-4E65-4C88-896C-E87684E0524E}" dt="2023-10-27T19:06:30.676" v="219"/>
        <pc:sldMkLst>
          <pc:docMk/>
          <pc:sldMk cId="2826471173" sldId="621"/>
        </pc:sldMkLst>
      </pc:sldChg>
      <pc:sldChg chg="add replId modNotes">
        <pc:chgData name="Eileen Fleming Suse" userId="S::efs3844@ads.northwestern.edu::725c94ef-d051-42d7-9d33-8572765d592b" providerId="AD" clId="Web-{22D2D811-4E65-4C88-896C-E87684E0524E}" dt="2023-10-27T19:05:58.863" v="218"/>
        <pc:sldMkLst>
          <pc:docMk/>
          <pc:sldMk cId="3850125703" sldId="622"/>
        </pc:sldMkLst>
      </pc:sldChg>
      <pc:sldMasterChg chg="modSldLayout">
        <pc:chgData name="Eileen Fleming Suse" userId="S::efs3844@ads.northwestern.edu::725c94ef-d051-42d7-9d33-8572765d592b" providerId="AD" clId="Web-{22D2D811-4E65-4C88-896C-E87684E0524E}" dt="2023-10-27T18:23:08.497" v="39"/>
        <pc:sldMasterMkLst>
          <pc:docMk/>
          <pc:sldMasterMk cId="3378073280" sldId="2147483756"/>
        </pc:sldMasterMkLst>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2670630771" sldId="214748735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783658486" sldId="214748735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9320368" sldId="214748735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10130633" sldId="214748735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698059872" sldId="214748735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5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5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5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5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5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6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6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6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39295337" sldId="214748736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02549073" sldId="214748736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5532739" sldId="214748736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58542806" sldId="214748736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967421487" sldId="214748736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6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80529727" sldId="214748736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7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7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7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7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59781530" sldId="214748737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7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7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7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7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79"/>
          </pc:sldLayoutMkLst>
        </pc:sldLayoutChg>
      </pc:sldMasterChg>
      <pc:sldMasterChg chg="add addSldLayout">
        <pc:chgData name="Eileen Fleming Suse" userId="S::efs3844@ads.northwestern.edu::725c94ef-d051-42d7-9d33-8572765d592b" providerId="AD" clId="Web-{22D2D811-4E65-4C88-896C-E87684E0524E}" dt="2023-10-27T18:23:08.497" v="39"/>
        <pc:sldMasterMkLst>
          <pc:docMk/>
          <pc:sldMasterMk cId="0" sldId="2147484595"/>
        </pc:sldMasterMkLst>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1"/>
          </pc:sldLayoutMkLst>
        </pc:sldLayoutChg>
      </pc:sldMasterChg>
    </pc:docChg>
  </pc:docChgLst>
  <pc:docChgLst>
    <pc:chgData name="Eileen Fleming Suse" userId="S::efs3844@ads.northwestern.edu::725c94ef-d051-42d7-9d33-8572765d592b" providerId="AD" clId="Web-{AFE245F6-AF84-51BF-AB4C-88F7188B99E6}"/>
    <pc:docChg chg="modSld">
      <pc:chgData name="Eileen Fleming Suse" userId="S::efs3844@ads.northwestern.edu::725c94ef-d051-42d7-9d33-8572765d592b" providerId="AD" clId="Web-{AFE245F6-AF84-51BF-AB4C-88F7188B99E6}" dt="2023-10-31T20:15:08.574" v="74" actId="1076"/>
      <pc:docMkLst>
        <pc:docMk/>
      </pc:docMkLst>
      <pc:sldChg chg="modSp">
        <pc:chgData name="Eileen Fleming Suse" userId="S::efs3844@ads.northwestern.edu::725c94ef-d051-42d7-9d33-8572765d592b" providerId="AD" clId="Web-{AFE245F6-AF84-51BF-AB4C-88F7188B99E6}" dt="2023-10-31T20:14:55.604" v="73" actId="1076"/>
        <pc:sldMkLst>
          <pc:docMk/>
          <pc:sldMk cId="1536434647" sldId="564"/>
        </pc:sldMkLst>
        <pc:spChg chg="mod">
          <ac:chgData name="Eileen Fleming Suse" userId="S::efs3844@ads.northwestern.edu::725c94ef-d051-42d7-9d33-8572765d592b" providerId="AD" clId="Web-{AFE245F6-AF84-51BF-AB4C-88F7188B99E6}" dt="2023-10-31T20:14:55.604" v="73" actId="1076"/>
          <ac:spMkLst>
            <pc:docMk/>
            <pc:sldMk cId="1536434647" sldId="564"/>
            <ac:spMk id="51" creationId="{DADB789B-D1D8-A439-C1FC-0121F131E706}"/>
          </ac:spMkLst>
        </pc:spChg>
        <pc:spChg chg="mod">
          <ac:chgData name="Eileen Fleming Suse" userId="S::efs3844@ads.northwestern.edu::725c94ef-d051-42d7-9d33-8572765d592b" providerId="AD" clId="Web-{AFE245F6-AF84-51BF-AB4C-88F7188B99E6}" dt="2023-10-31T20:14:52.745" v="72" actId="1076"/>
          <ac:spMkLst>
            <pc:docMk/>
            <pc:sldMk cId="1536434647" sldId="564"/>
            <ac:spMk id="53" creationId="{7AA1F7FA-AA52-FED3-1784-BE66C8A7FBFC}"/>
          </ac:spMkLst>
        </pc:spChg>
      </pc:sldChg>
      <pc:sldChg chg="addSp modSp">
        <pc:chgData name="Eileen Fleming Suse" userId="S::efs3844@ads.northwestern.edu::725c94ef-d051-42d7-9d33-8572765d592b" providerId="AD" clId="Web-{AFE245F6-AF84-51BF-AB4C-88F7188B99E6}" dt="2023-10-31T20:14:16.650" v="71"/>
        <pc:sldMkLst>
          <pc:docMk/>
          <pc:sldMk cId="3030449316" sldId="579"/>
        </pc:sldMkLst>
        <pc:spChg chg="mod ord">
          <ac:chgData name="Eileen Fleming Suse" userId="S::efs3844@ads.northwestern.edu::725c94ef-d051-42d7-9d33-8572765d592b" providerId="AD" clId="Web-{AFE245F6-AF84-51BF-AB4C-88F7188B99E6}" dt="2023-10-31T20:14:16.650" v="71"/>
          <ac:spMkLst>
            <pc:docMk/>
            <pc:sldMk cId="3030449316" sldId="579"/>
            <ac:spMk id="10" creationId="{00000000-0000-0000-0000-000000000000}"/>
          </ac:spMkLst>
        </pc:spChg>
        <pc:spChg chg="mod">
          <ac:chgData name="Eileen Fleming Suse" userId="S::efs3844@ads.northwestern.edu::725c94ef-d051-42d7-9d33-8572765d592b" providerId="AD" clId="Web-{AFE245F6-AF84-51BF-AB4C-88F7188B99E6}" dt="2023-10-31T20:05:09.091" v="6" actId="1076"/>
          <ac:spMkLst>
            <pc:docMk/>
            <pc:sldMk cId="3030449316" sldId="579"/>
            <ac:spMk id="11" creationId="{00000000-0000-0000-0000-000000000000}"/>
          </ac:spMkLst>
        </pc:spChg>
        <pc:spChg chg="mod">
          <ac:chgData name="Eileen Fleming Suse" userId="S::efs3844@ads.northwestern.edu::725c94ef-d051-42d7-9d33-8572765d592b" providerId="AD" clId="Web-{AFE245F6-AF84-51BF-AB4C-88F7188B99E6}" dt="2023-10-31T20:05:59.358" v="20" actId="1076"/>
          <ac:spMkLst>
            <pc:docMk/>
            <pc:sldMk cId="3030449316" sldId="579"/>
            <ac:spMk id="12" creationId="{00000000-0000-0000-0000-000000000000}"/>
          </ac:spMkLst>
        </pc:spChg>
        <pc:spChg chg="mod">
          <ac:chgData name="Eileen Fleming Suse" userId="S::efs3844@ads.northwestern.edu::725c94ef-d051-42d7-9d33-8572765d592b" providerId="AD" clId="Web-{AFE245F6-AF84-51BF-AB4C-88F7188B99E6}" dt="2023-10-31T20:04:52.716" v="3" actId="1076"/>
          <ac:spMkLst>
            <pc:docMk/>
            <pc:sldMk cId="3030449316" sldId="579"/>
            <ac:spMk id="13" creationId="{00000000-0000-0000-0000-000000000000}"/>
          </ac:spMkLst>
        </pc:spChg>
        <pc:spChg chg="mod">
          <ac:chgData name="Eileen Fleming Suse" userId="S::efs3844@ads.northwestern.edu::725c94ef-d051-42d7-9d33-8572765d592b" providerId="AD" clId="Web-{AFE245F6-AF84-51BF-AB4C-88F7188B99E6}" dt="2023-10-31T20:06:52.046" v="34" actId="1076"/>
          <ac:spMkLst>
            <pc:docMk/>
            <pc:sldMk cId="3030449316" sldId="579"/>
            <ac:spMk id="32" creationId="{00000000-0000-0000-0000-000000000000}"/>
          </ac:spMkLst>
        </pc:spChg>
        <pc:spChg chg="mod">
          <ac:chgData name="Eileen Fleming Suse" userId="S::efs3844@ads.northwestern.edu::725c94ef-d051-42d7-9d33-8572765d592b" providerId="AD" clId="Web-{AFE245F6-AF84-51BF-AB4C-88F7188B99E6}" dt="2023-10-31T20:07:17.860" v="38" actId="1076"/>
          <ac:spMkLst>
            <pc:docMk/>
            <pc:sldMk cId="3030449316" sldId="579"/>
            <ac:spMk id="40" creationId="{00000000-0000-0000-0000-000000000000}"/>
          </ac:spMkLst>
        </pc:spChg>
        <pc:spChg chg="mod ord">
          <ac:chgData name="Eileen Fleming Suse" userId="S::efs3844@ads.northwestern.edu::725c94ef-d051-42d7-9d33-8572765d592b" providerId="AD" clId="Web-{AFE245F6-AF84-51BF-AB4C-88F7188B99E6}" dt="2023-10-31T20:11:55.147" v="65" actId="1076"/>
          <ac:spMkLst>
            <pc:docMk/>
            <pc:sldMk cId="3030449316" sldId="579"/>
            <ac:spMk id="41" creationId="{00000000-0000-0000-0000-000000000000}"/>
          </ac:spMkLst>
        </pc:spChg>
        <pc:spChg chg="mod">
          <ac:chgData name="Eileen Fleming Suse" userId="S::efs3844@ads.northwestern.edu::725c94ef-d051-42d7-9d33-8572765d592b" providerId="AD" clId="Web-{AFE245F6-AF84-51BF-AB4C-88F7188B99E6}" dt="2023-10-31T20:06:00.717" v="21" actId="1076"/>
          <ac:spMkLst>
            <pc:docMk/>
            <pc:sldMk cId="3030449316" sldId="579"/>
            <ac:spMk id="42" creationId="{00000000-0000-0000-0000-000000000000}"/>
          </ac:spMkLst>
        </pc:spChg>
        <pc:spChg chg="mod">
          <ac:chgData name="Eileen Fleming Suse" userId="S::efs3844@ads.northwestern.edu::725c94ef-d051-42d7-9d33-8572765d592b" providerId="AD" clId="Web-{AFE245F6-AF84-51BF-AB4C-88F7188B99E6}" dt="2023-10-31T20:06:22.327" v="27" actId="1076"/>
          <ac:spMkLst>
            <pc:docMk/>
            <pc:sldMk cId="3030449316" sldId="579"/>
            <ac:spMk id="43" creationId="{00000000-0000-0000-0000-000000000000}"/>
          </ac:spMkLst>
        </pc:spChg>
        <pc:spChg chg="mod">
          <ac:chgData name="Eileen Fleming Suse" userId="S::efs3844@ads.northwestern.edu::725c94ef-d051-42d7-9d33-8572765d592b" providerId="AD" clId="Web-{AFE245F6-AF84-51BF-AB4C-88F7188B99E6}" dt="2023-10-31T20:12:57.852" v="66"/>
          <ac:spMkLst>
            <pc:docMk/>
            <pc:sldMk cId="3030449316" sldId="579"/>
            <ac:spMk id="44" creationId="{00000000-0000-0000-0000-000000000000}"/>
          </ac:spMkLst>
        </pc:spChg>
        <pc:spChg chg="mod">
          <ac:chgData name="Eileen Fleming Suse" userId="S::efs3844@ads.northwestern.edu::725c94ef-d051-42d7-9d33-8572765d592b" providerId="AD" clId="Web-{AFE245F6-AF84-51BF-AB4C-88F7188B99E6}" dt="2023-10-31T20:06:34.155" v="29" actId="1076"/>
          <ac:spMkLst>
            <pc:docMk/>
            <pc:sldMk cId="3030449316" sldId="579"/>
            <ac:spMk id="46" creationId="{00000000-0000-0000-0000-000000000000}"/>
          </ac:spMkLst>
        </pc:spChg>
        <pc:spChg chg="mod">
          <ac:chgData name="Eileen Fleming Suse" userId="S::efs3844@ads.northwestern.edu::725c94ef-d051-42d7-9d33-8572765d592b" providerId="AD" clId="Web-{AFE245F6-AF84-51BF-AB4C-88F7188B99E6}" dt="2023-10-31T20:05:56.186" v="19" actId="1076"/>
          <ac:spMkLst>
            <pc:docMk/>
            <pc:sldMk cId="3030449316" sldId="579"/>
            <ac:spMk id="47" creationId="{00000000-0000-0000-0000-000000000000}"/>
          </ac:spMkLst>
        </pc:spChg>
        <pc:spChg chg="mod">
          <ac:chgData name="Eileen Fleming Suse" userId="S::efs3844@ads.northwestern.edu::725c94ef-d051-42d7-9d33-8572765d592b" providerId="AD" clId="Web-{AFE245F6-AF84-51BF-AB4C-88F7188B99E6}" dt="2023-10-31T20:11:15.740" v="55"/>
          <ac:spMkLst>
            <pc:docMk/>
            <pc:sldMk cId="3030449316" sldId="579"/>
            <ac:spMk id="50" creationId="{00000000-0000-0000-0000-000000000000}"/>
          </ac:spMkLst>
        </pc:spChg>
        <pc:spChg chg="mod">
          <ac:chgData name="Eileen Fleming Suse" userId="S::efs3844@ads.northwestern.edu::725c94ef-d051-42d7-9d33-8572765d592b" providerId="AD" clId="Web-{AFE245F6-AF84-51BF-AB4C-88F7188B99E6}" dt="2023-10-31T20:05:18.716" v="8" actId="1076"/>
          <ac:spMkLst>
            <pc:docMk/>
            <pc:sldMk cId="3030449316" sldId="579"/>
            <ac:spMk id="56" creationId="{AB0F7BDF-C613-8BB0-BFCB-8F26B40EC06E}"/>
          </ac:spMkLst>
        </pc:spChg>
        <pc:spChg chg="mod">
          <ac:chgData name="Eileen Fleming Suse" userId="S::efs3844@ads.northwestern.edu::725c94ef-d051-42d7-9d33-8572765d592b" providerId="AD" clId="Web-{AFE245F6-AF84-51BF-AB4C-88F7188B99E6}" dt="2023-10-31T20:14:05.056" v="69"/>
          <ac:spMkLst>
            <pc:docMk/>
            <pc:sldMk cId="3030449316" sldId="579"/>
            <ac:spMk id="57" creationId="{00246169-A4F3-5ED8-8A94-4557BB21D7AB}"/>
          </ac:spMkLst>
        </pc:spChg>
        <pc:spChg chg="mod">
          <ac:chgData name="Eileen Fleming Suse" userId="S::efs3844@ads.northwestern.edu::725c94ef-d051-42d7-9d33-8572765d592b" providerId="AD" clId="Web-{AFE245F6-AF84-51BF-AB4C-88F7188B99E6}" dt="2023-10-31T20:14:05.072" v="70"/>
          <ac:spMkLst>
            <pc:docMk/>
            <pc:sldMk cId="3030449316" sldId="579"/>
            <ac:spMk id="58" creationId="{5DE913D1-6F60-94B9-10FF-534A5E538AB8}"/>
          </ac:spMkLst>
        </pc:spChg>
        <pc:spChg chg="add mod">
          <ac:chgData name="Eileen Fleming Suse" userId="S::efs3844@ads.northwestern.edu::725c94ef-d051-42d7-9d33-8572765d592b" providerId="AD" clId="Web-{AFE245F6-AF84-51BF-AB4C-88F7188B99E6}" dt="2023-10-31T20:11:52.100" v="64" actId="1076"/>
          <ac:spMkLst>
            <pc:docMk/>
            <pc:sldMk cId="3030449316" sldId="579"/>
            <ac:spMk id="60" creationId="{A85E379C-4C1C-B6B4-A543-3DF6B25DACF8}"/>
          </ac:spMkLst>
        </pc:spChg>
        <pc:spChg chg="add mod">
          <ac:chgData name="Eileen Fleming Suse" userId="S::efs3844@ads.northwestern.edu::725c94ef-d051-42d7-9d33-8572765d592b" providerId="AD" clId="Web-{AFE245F6-AF84-51BF-AB4C-88F7188B99E6}" dt="2023-10-31T20:11:34.803" v="62" actId="1076"/>
          <ac:spMkLst>
            <pc:docMk/>
            <pc:sldMk cId="3030449316" sldId="579"/>
            <ac:spMk id="61" creationId="{24C1FDA7-3400-B267-F027-73B2E0675C53}"/>
          </ac:spMkLst>
        </pc:spChg>
        <pc:spChg chg="add mod">
          <ac:chgData name="Eileen Fleming Suse" userId="S::efs3844@ads.northwestern.edu::725c94ef-d051-42d7-9d33-8572765d592b" providerId="AD" clId="Web-{AFE245F6-AF84-51BF-AB4C-88F7188B99E6}" dt="2023-10-31T20:13:55.197" v="68" actId="1076"/>
          <ac:spMkLst>
            <pc:docMk/>
            <pc:sldMk cId="3030449316" sldId="579"/>
            <ac:spMk id="63" creationId="{76FF9F61-EDF0-6510-36D2-8E579D614428}"/>
          </ac:spMkLst>
        </pc:spChg>
        <pc:grpChg chg="mod">
          <ac:chgData name="Eileen Fleming Suse" userId="S::efs3844@ads.northwestern.edu::725c94ef-d051-42d7-9d33-8572765d592b" providerId="AD" clId="Web-{AFE245F6-AF84-51BF-AB4C-88F7188B99E6}" dt="2023-10-31T20:06:05.811" v="22" actId="14100"/>
          <ac:grpSpMkLst>
            <pc:docMk/>
            <pc:sldMk cId="3030449316" sldId="579"/>
            <ac:grpSpMk id="3" creationId="{00000000-0000-0000-0000-000000000000}"/>
          </ac:grpSpMkLst>
        </pc:grpChg>
        <pc:grpChg chg="mod">
          <ac:chgData name="Eileen Fleming Suse" userId="S::efs3844@ads.northwestern.edu::725c94ef-d051-42d7-9d33-8572765d592b" providerId="AD" clId="Web-{AFE245F6-AF84-51BF-AB4C-88F7188B99E6}" dt="2023-10-31T20:06:45.515" v="32" actId="14100"/>
          <ac:grpSpMkLst>
            <pc:docMk/>
            <pc:sldMk cId="3030449316" sldId="579"/>
            <ac:grpSpMk id="7" creationId="{00000000-0000-0000-0000-000000000000}"/>
          </ac:grpSpMkLst>
        </pc:grpChg>
        <pc:grpChg chg="mod">
          <ac:chgData name="Eileen Fleming Suse" userId="S::efs3844@ads.northwestern.edu::725c94ef-d051-42d7-9d33-8572765d592b" providerId="AD" clId="Web-{AFE245F6-AF84-51BF-AB4C-88F7188B99E6}" dt="2023-10-31T20:06:16.264" v="24" actId="14100"/>
          <ac:grpSpMkLst>
            <pc:docMk/>
            <pc:sldMk cId="3030449316" sldId="579"/>
            <ac:grpSpMk id="29" creationId="{00000000-0000-0000-0000-000000000000}"/>
          </ac:grpSpMkLst>
        </pc:grpChg>
        <pc:grpChg chg="add mod">
          <ac:chgData name="Eileen Fleming Suse" userId="S::efs3844@ads.northwestern.edu::725c94ef-d051-42d7-9d33-8572765d592b" providerId="AD" clId="Web-{AFE245F6-AF84-51BF-AB4C-88F7188B99E6}" dt="2023-10-31T20:07:27.407" v="39" actId="1076"/>
          <ac:grpSpMkLst>
            <pc:docMk/>
            <pc:sldMk cId="3030449316" sldId="579"/>
            <ac:grpSpMk id="52" creationId="{8A92A364-B996-B49C-BDA0-BAA1F5A15866}"/>
          </ac:grpSpMkLst>
        </pc:grpChg>
        <pc:cxnChg chg="mod">
          <ac:chgData name="Eileen Fleming Suse" userId="S::efs3844@ads.northwestern.edu::725c94ef-d051-42d7-9d33-8572765d592b" providerId="AD" clId="Web-{AFE245F6-AF84-51BF-AB4C-88F7188B99E6}" dt="2023-10-31T20:07:30.219" v="40" actId="14100"/>
          <ac:cxnSpMkLst>
            <pc:docMk/>
            <pc:sldMk cId="3030449316" sldId="579"/>
            <ac:cxnSpMk id="54" creationId="{52D6BD58-A1C0-4097-567A-36996C8B9E0B}"/>
          </ac:cxnSpMkLst>
        </pc:cxnChg>
        <pc:cxnChg chg="add mod">
          <ac:chgData name="Eileen Fleming Suse" userId="S::efs3844@ads.northwestern.edu::725c94ef-d051-42d7-9d33-8572765d592b" providerId="AD" clId="Web-{AFE245F6-AF84-51BF-AB4C-88F7188B99E6}" dt="2023-10-31T20:07:37.688" v="43" actId="14100"/>
          <ac:cxnSpMkLst>
            <pc:docMk/>
            <pc:sldMk cId="3030449316" sldId="579"/>
            <ac:cxnSpMk id="59" creationId="{6AB28071-935B-166B-0CEE-EC97EB10FF51}"/>
          </ac:cxnSpMkLst>
        </pc:cxnChg>
      </pc:sldChg>
      <pc:sldChg chg="modSp">
        <pc:chgData name="Eileen Fleming Suse" userId="S::efs3844@ads.northwestern.edu::725c94ef-d051-42d7-9d33-8572765d592b" providerId="AD" clId="Web-{AFE245F6-AF84-51BF-AB4C-88F7188B99E6}" dt="2023-10-31T20:15:08.574" v="74" actId="1076"/>
        <pc:sldMkLst>
          <pc:docMk/>
          <pc:sldMk cId="595546358" sldId="590"/>
        </pc:sldMkLst>
        <pc:spChg chg="mod">
          <ac:chgData name="Eileen Fleming Suse" userId="S::efs3844@ads.northwestern.edu::725c94ef-d051-42d7-9d33-8572765d592b" providerId="AD" clId="Web-{AFE245F6-AF84-51BF-AB4C-88F7188B99E6}" dt="2023-10-31T20:15:08.574" v="74" actId="1076"/>
          <ac:spMkLst>
            <pc:docMk/>
            <pc:sldMk cId="595546358" sldId="590"/>
            <ac:spMk id="30" creationId="{53721EF8-C35D-834E-9339-D65FFE7AFF9A}"/>
          </ac:spMkLst>
        </pc:spChg>
      </pc:sldChg>
    </pc:docChg>
  </pc:docChgLst>
  <pc:docChgLst>
    <pc:chgData name="Alana Rivera" userId="S::arg3669@ads.northwestern.edu::fc8b707a-b7e9-4f2a-8d71-2d76819b7881" providerId="AD" clId="Web-{35DF06BD-25AA-054F-4D8F-840FED1FA1E6}"/>
    <pc:docChg chg="modSld">
      <pc:chgData name="Alana Rivera" userId="S::arg3669@ads.northwestern.edu::fc8b707a-b7e9-4f2a-8d71-2d76819b7881" providerId="AD" clId="Web-{35DF06BD-25AA-054F-4D8F-840FED1FA1E6}" dt="2023-10-31T02:20:39.446" v="1" actId="20577"/>
      <pc:docMkLst>
        <pc:docMk/>
      </pc:docMkLst>
      <pc:sldChg chg="modSp">
        <pc:chgData name="Alana Rivera" userId="S::arg3669@ads.northwestern.edu::fc8b707a-b7e9-4f2a-8d71-2d76819b7881" providerId="AD" clId="Web-{35DF06BD-25AA-054F-4D8F-840FED1FA1E6}" dt="2023-10-31T02:20:39.446" v="1" actId="20577"/>
        <pc:sldMkLst>
          <pc:docMk/>
          <pc:sldMk cId="1522616096" sldId="555"/>
        </pc:sldMkLst>
        <pc:spChg chg="mod">
          <ac:chgData name="Alana Rivera" userId="S::arg3669@ads.northwestern.edu::fc8b707a-b7e9-4f2a-8d71-2d76819b7881" providerId="AD" clId="Web-{35DF06BD-25AA-054F-4D8F-840FED1FA1E6}" dt="2023-10-31T02:20:39.446" v="1" actId="20577"/>
          <ac:spMkLst>
            <pc:docMk/>
            <pc:sldMk cId="1522616096" sldId="555"/>
            <ac:spMk id="4" creationId="{3D49CA6C-78ED-3124-7EE3-BBDDC9988910}"/>
          </ac:spMkLst>
        </pc:spChg>
      </pc:sldChg>
    </pc:docChg>
  </pc:docChgLst>
  <pc:docChgLst>
    <pc:chgData name="Caldarelli, Leslie" userId="S::lcaldarelli_luriechildrens.org#ext#@nuwildcat.onmicrosoft.com::cd79b54d-c14e-4199-a04a-39c6f592e710" providerId="AD" clId="Web-{BC047B72-8F18-01C2-FA60-A38A99380270}"/>
    <pc:docChg chg="modSld sldOrd">
      <pc:chgData name="Caldarelli, Leslie" userId="S::lcaldarelli_luriechildrens.org#ext#@nuwildcat.onmicrosoft.com::cd79b54d-c14e-4199-a04a-39c6f592e710" providerId="AD" clId="Web-{BC047B72-8F18-01C2-FA60-A38A99380270}" dt="2023-10-31T04:33:13.252" v="935" actId="20577"/>
      <pc:docMkLst>
        <pc:docMk/>
      </pc:docMkLst>
      <pc:sldChg chg="modSp">
        <pc:chgData name="Caldarelli, Leslie" userId="S::lcaldarelli_luriechildrens.org#ext#@nuwildcat.onmicrosoft.com::cd79b54d-c14e-4199-a04a-39c6f592e710" providerId="AD" clId="Web-{BC047B72-8F18-01C2-FA60-A38A99380270}" dt="2023-10-31T02:08:33.719" v="18" actId="20577"/>
        <pc:sldMkLst>
          <pc:docMk/>
          <pc:sldMk cId="4044691067" sldId="283"/>
        </pc:sldMkLst>
        <pc:spChg chg="mod">
          <ac:chgData name="Caldarelli, Leslie" userId="S::lcaldarelli_luriechildrens.org#ext#@nuwildcat.onmicrosoft.com::cd79b54d-c14e-4199-a04a-39c6f592e710" providerId="AD" clId="Web-{BC047B72-8F18-01C2-FA60-A38A99380270}" dt="2023-10-31T02:08:26.734" v="17" actId="1076"/>
          <ac:spMkLst>
            <pc:docMk/>
            <pc:sldMk cId="4044691067" sldId="283"/>
            <ac:spMk id="3" creationId="{00000000-0000-0000-0000-000000000000}"/>
          </ac:spMkLst>
        </pc:spChg>
        <pc:spChg chg="mod">
          <ac:chgData name="Caldarelli, Leslie" userId="S::lcaldarelli_luriechildrens.org#ext#@nuwildcat.onmicrosoft.com::cd79b54d-c14e-4199-a04a-39c6f592e710" providerId="AD" clId="Web-{BC047B72-8F18-01C2-FA60-A38A99380270}" dt="2023-10-31T02:08:33.719" v="18" actId="20577"/>
          <ac:spMkLst>
            <pc:docMk/>
            <pc:sldMk cId="4044691067" sldId="283"/>
            <ac:spMk id="16386" creationId="{00000000-0000-0000-0000-000000000000}"/>
          </ac:spMkLst>
        </pc:spChg>
        <pc:spChg chg="mod">
          <ac:chgData name="Caldarelli, Leslie" userId="S::lcaldarelli_luriechildrens.org#ext#@nuwildcat.onmicrosoft.com::cd79b54d-c14e-4199-a04a-39c6f592e710" providerId="AD" clId="Web-{BC047B72-8F18-01C2-FA60-A38A99380270}" dt="2023-10-31T02:06:09.934" v="6" actId="1076"/>
          <ac:spMkLst>
            <pc:docMk/>
            <pc:sldMk cId="4044691067" sldId="283"/>
            <ac:spMk id="1638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2:10:51.238" v="39" actId="20577"/>
        <pc:sldMkLst>
          <pc:docMk/>
          <pc:sldMk cId="3635595752" sldId="545"/>
        </pc:sldMkLst>
        <pc:spChg chg="mod">
          <ac:chgData name="Caldarelli, Leslie" userId="S::lcaldarelli_luriechildrens.org#ext#@nuwildcat.onmicrosoft.com::cd79b54d-c14e-4199-a04a-39c6f592e710" providerId="AD" clId="Web-{BC047B72-8F18-01C2-FA60-A38A99380270}" dt="2023-10-31T02:10:51.238" v="39" actId="20577"/>
          <ac:spMkLst>
            <pc:docMk/>
            <pc:sldMk cId="3635595752" sldId="545"/>
            <ac:spMk id="3" creationId="{BFE56240-A306-0E11-425A-7323821A42F2}"/>
          </ac:spMkLst>
        </pc:spChg>
      </pc:sldChg>
      <pc:sldChg chg="modSp">
        <pc:chgData name="Caldarelli, Leslie" userId="S::lcaldarelli_luriechildrens.org#ext#@nuwildcat.onmicrosoft.com::cd79b54d-c14e-4199-a04a-39c6f592e710" providerId="AD" clId="Web-{BC047B72-8F18-01C2-FA60-A38A99380270}" dt="2023-10-31T03:23:30.003" v="188" actId="20577"/>
        <pc:sldMkLst>
          <pc:docMk/>
          <pc:sldMk cId="1036043289" sldId="546"/>
        </pc:sldMkLst>
        <pc:spChg chg="mod">
          <ac:chgData name="Caldarelli, Leslie" userId="S::lcaldarelli_luriechildrens.org#ext#@nuwildcat.onmicrosoft.com::cd79b54d-c14e-4199-a04a-39c6f592e710" providerId="AD" clId="Web-{BC047B72-8F18-01C2-FA60-A38A99380270}" dt="2023-10-31T03:23:30.003" v="188" actId="20577"/>
          <ac:spMkLst>
            <pc:docMk/>
            <pc:sldMk cId="1036043289" sldId="546"/>
            <ac:spMk id="3" creationId="{BACE41BD-1CAE-1299-918F-5B1678DE12B4}"/>
          </ac:spMkLst>
        </pc:spChg>
      </pc:sldChg>
      <pc:sldChg chg="modSp modNotes">
        <pc:chgData name="Caldarelli, Leslie" userId="S::lcaldarelli_luriechildrens.org#ext#@nuwildcat.onmicrosoft.com::cd79b54d-c14e-4199-a04a-39c6f592e710" providerId="AD" clId="Web-{BC047B72-8F18-01C2-FA60-A38A99380270}" dt="2023-10-31T04:32:19.657" v="874"/>
        <pc:sldMkLst>
          <pc:docMk/>
          <pc:sldMk cId="3745706804" sldId="548"/>
        </pc:sldMkLst>
        <pc:spChg chg="mod">
          <ac:chgData name="Caldarelli, Leslie" userId="S::lcaldarelli_luriechildrens.org#ext#@nuwildcat.onmicrosoft.com::cd79b54d-c14e-4199-a04a-39c6f592e710" providerId="AD" clId="Web-{BC047B72-8F18-01C2-FA60-A38A99380270}" dt="2023-10-31T04:30:45.872" v="852" actId="20577"/>
          <ac:spMkLst>
            <pc:docMk/>
            <pc:sldMk cId="3745706804" sldId="548"/>
            <ac:spMk id="2" creationId="{C2B429CC-FC8C-ECA7-15C8-7563C27BFB95}"/>
          </ac:spMkLst>
        </pc:spChg>
        <pc:spChg chg="mod">
          <ac:chgData name="Caldarelli, Leslie" userId="S::lcaldarelli_luriechildrens.org#ext#@nuwildcat.onmicrosoft.com::cd79b54d-c14e-4199-a04a-39c6f592e710" providerId="AD" clId="Web-{BC047B72-8F18-01C2-FA60-A38A99380270}" dt="2023-10-31T04:30:54.388" v="855" actId="20577"/>
          <ac:spMkLst>
            <pc:docMk/>
            <pc:sldMk cId="3745706804" sldId="548"/>
            <ac:spMk id="3" creationId="{C0454086-94BF-0693-766D-F1659194519A}"/>
          </ac:spMkLst>
        </pc:spChg>
      </pc:sldChg>
      <pc:sldChg chg="modSp">
        <pc:chgData name="Caldarelli, Leslie" userId="S::lcaldarelli_luriechildrens.org#ext#@nuwildcat.onmicrosoft.com::cd79b54d-c14e-4199-a04a-39c6f592e710" providerId="AD" clId="Web-{BC047B72-8F18-01C2-FA60-A38A99380270}" dt="2023-10-31T04:33:03.893" v="911" actId="20577"/>
        <pc:sldMkLst>
          <pc:docMk/>
          <pc:sldMk cId="3962270618" sldId="549"/>
        </pc:sldMkLst>
        <pc:spChg chg="mod">
          <ac:chgData name="Caldarelli, Leslie" userId="S::lcaldarelli_luriechildrens.org#ext#@nuwildcat.onmicrosoft.com::cd79b54d-c14e-4199-a04a-39c6f592e710" providerId="AD" clId="Web-{BC047B72-8F18-01C2-FA60-A38A99380270}" dt="2023-10-31T04:33:03.893" v="911"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BC047B72-8F18-01C2-FA60-A38A99380270}" dt="2023-10-31T04:33:03.221" v="899" actId="1076"/>
          <ac:spMkLst>
            <pc:docMk/>
            <pc:sldMk cId="3962270618" sldId="549"/>
            <ac:spMk id="3" creationId="{CBB95935-58B8-573E-DAFB-D9AE51F0FF09}"/>
          </ac:spMkLst>
        </pc:spChg>
      </pc:sldChg>
      <pc:sldChg chg="modSp">
        <pc:chgData name="Caldarelli, Leslie" userId="S::lcaldarelli_luriechildrens.org#ext#@nuwildcat.onmicrosoft.com::cd79b54d-c14e-4199-a04a-39c6f592e710" providerId="AD" clId="Web-{BC047B72-8F18-01C2-FA60-A38A99380270}" dt="2023-10-31T04:32:54.002" v="879" actId="20577"/>
        <pc:sldMkLst>
          <pc:docMk/>
          <pc:sldMk cId="3472964082" sldId="550"/>
        </pc:sldMkLst>
        <pc:spChg chg="mod">
          <ac:chgData name="Caldarelli, Leslie" userId="S::lcaldarelli_luriechildrens.org#ext#@nuwildcat.onmicrosoft.com::cd79b54d-c14e-4199-a04a-39c6f592e710" providerId="AD" clId="Web-{BC047B72-8F18-01C2-FA60-A38A99380270}" dt="2023-10-31T04:32:54.002" v="879" actId="20577"/>
          <ac:spMkLst>
            <pc:docMk/>
            <pc:sldMk cId="3472964082" sldId="550"/>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32:45.548" v="878" actId="14100"/>
        <pc:sldMkLst>
          <pc:docMk/>
          <pc:sldMk cId="2562283095" sldId="551"/>
        </pc:sldMkLst>
        <pc:spChg chg="mod">
          <ac:chgData name="Caldarelli, Leslie" userId="S::lcaldarelli_luriechildrens.org#ext#@nuwildcat.onmicrosoft.com::cd79b54d-c14e-4199-a04a-39c6f592e710" providerId="AD" clId="Web-{BC047B72-8F18-01C2-FA60-A38A99380270}" dt="2023-10-31T04:32:45.548" v="878" actId="14100"/>
          <ac:spMkLst>
            <pc:docMk/>
            <pc:sldMk cId="2562283095" sldId="551"/>
            <ac:spMk id="53"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10:18.471" v="119"/>
        <pc:sldMkLst>
          <pc:docMk/>
          <pc:sldMk cId="714682852" sldId="552"/>
        </pc:sldMkLst>
        <pc:spChg chg="mod">
          <ac:chgData name="Caldarelli, Leslie" userId="S::lcaldarelli_luriechildrens.org#ext#@nuwildcat.onmicrosoft.com::cd79b54d-c14e-4199-a04a-39c6f592e710" providerId="AD" clId="Web-{BC047B72-8F18-01C2-FA60-A38A99380270}" dt="2023-10-31T03:04:54.368" v="85" actId="20577"/>
          <ac:spMkLst>
            <pc:docMk/>
            <pc:sldMk cId="714682852" sldId="552"/>
            <ac:spMk id="2" creationId="{966FAC69-62AA-D40E-C4BD-DAD5BF599C69}"/>
          </ac:spMkLst>
        </pc:spChg>
        <pc:spChg chg="mod">
          <ac:chgData name="Caldarelli, Leslie" userId="S::lcaldarelli_luriechildrens.org#ext#@nuwildcat.onmicrosoft.com::cd79b54d-c14e-4199-a04a-39c6f592e710" providerId="AD" clId="Web-{BC047B72-8F18-01C2-FA60-A38A99380270}" dt="2023-10-31T03:06:44.091" v="95" actId="1076"/>
          <ac:spMkLst>
            <pc:docMk/>
            <pc:sldMk cId="714682852" sldId="552"/>
            <ac:spMk id="6" creationId="{D07E332C-4452-C8D5-59CC-C21023DE9083}"/>
          </ac:spMkLst>
        </pc:spChg>
        <pc:spChg chg="mod">
          <ac:chgData name="Caldarelli, Leslie" userId="S::lcaldarelli_luriechildrens.org#ext#@nuwildcat.onmicrosoft.com::cd79b54d-c14e-4199-a04a-39c6f592e710" providerId="AD" clId="Web-{BC047B72-8F18-01C2-FA60-A38A99380270}" dt="2023-10-31T03:09:24.017" v="118" actId="20577"/>
          <ac:spMkLst>
            <pc:docMk/>
            <pc:sldMk cId="714682852" sldId="552"/>
            <ac:spMk id="19" creationId="{8F56D947-B18E-6292-FB32-17E6BBE1C7B7}"/>
          </ac:spMkLst>
        </pc:spChg>
        <pc:spChg chg="mod">
          <ac:chgData name="Caldarelli, Leslie" userId="S::lcaldarelli_luriechildrens.org#ext#@nuwildcat.onmicrosoft.com::cd79b54d-c14e-4199-a04a-39c6f592e710" providerId="AD" clId="Web-{BC047B72-8F18-01C2-FA60-A38A99380270}" dt="2023-10-31T03:09:13.643" v="117" actId="14100"/>
          <ac:spMkLst>
            <pc:docMk/>
            <pc:sldMk cId="714682852" sldId="552"/>
            <ac:spMk id="20" creationId="{A9936A2B-2042-0897-3CCF-AC6DEB6DE9D0}"/>
          </ac:spMkLst>
        </pc:spChg>
        <pc:spChg chg="mod">
          <ac:chgData name="Caldarelli, Leslie" userId="S::lcaldarelli_luriechildrens.org#ext#@nuwildcat.onmicrosoft.com::cd79b54d-c14e-4199-a04a-39c6f592e710" providerId="AD" clId="Web-{BC047B72-8F18-01C2-FA60-A38A99380270}" dt="2023-10-31T03:06:05.964" v="93" actId="1076"/>
          <ac:spMkLst>
            <pc:docMk/>
            <pc:sldMk cId="714682852" sldId="552"/>
            <ac:spMk id="23" creationId="{01161B8F-C665-1E6B-2E22-400EFC600810}"/>
          </ac:spMkLst>
        </pc:spChg>
        <pc:spChg chg="mod">
          <ac:chgData name="Caldarelli, Leslie" userId="S::lcaldarelli_luriechildrens.org#ext#@nuwildcat.onmicrosoft.com::cd79b54d-c14e-4199-a04a-39c6f592e710" providerId="AD" clId="Web-{BC047B72-8F18-01C2-FA60-A38A99380270}" dt="2023-10-31T03:06:32.028" v="94" actId="1076"/>
          <ac:spMkLst>
            <pc:docMk/>
            <pc:sldMk cId="714682852" sldId="552"/>
            <ac:spMk id="39" creationId="{E29ABAB9-1C54-B808-EDD4-5D83CC77687C}"/>
          </ac:spMkLst>
        </pc:spChg>
      </pc:sldChg>
      <pc:sldChg chg="modSp">
        <pc:chgData name="Caldarelli, Leslie" userId="S::lcaldarelli_luriechildrens.org#ext#@nuwildcat.onmicrosoft.com::cd79b54d-c14e-4199-a04a-39c6f592e710" providerId="AD" clId="Web-{BC047B72-8F18-01C2-FA60-A38A99380270}" dt="2023-10-31T04:02:15.418" v="537" actId="1076"/>
        <pc:sldMkLst>
          <pc:docMk/>
          <pc:sldMk cId="3536510335" sldId="553"/>
        </pc:sldMkLst>
        <pc:spChg chg="mod">
          <ac:chgData name="Caldarelli, Leslie" userId="S::lcaldarelli_luriechildrens.org#ext#@nuwildcat.onmicrosoft.com::cd79b54d-c14e-4199-a04a-39c6f592e710" providerId="AD" clId="Web-{BC047B72-8F18-01C2-FA60-A38A99380270}" dt="2023-10-31T03:22:55.767" v="184" actId="1076"/>
          <ac:spMkLst>
            <pc:docMk/>
            <pc:sldMk cId="3536510335" sldId="553"/>
            <ac:spMk id="3" creationId="{DF1C7F80-41A4-BEE0-AE4A-B924B459AE73}"/>
          </ac:spMkLst>
        </pc:spChg>
        <pc:spChg chg="mod">
          <ac:chgData name="Caldarelli, Leslie" userId="S::lcaldarelli_luriechildrens.org#ext#@nuwildcat.onmicrosoft.com::cd79b54d-c14e-4199-a04a-39c6f592e710" providerId="AD" clId="Web-{BC047B72-8F18-01C2-FA60-A38A99380270}" dt="2023-10-31T04:02:15.418" v="537" actId="1076"/>
          <ac:spMkLst>
            <pc:docMk/>
            <pc:sldMk cId="3536510335" sldId="553"/>
            <ac:spMk id="10" creationId="{7FA2B65B-6DF5-1F48-C692-646D2CEF0E2F}"/>
          </ac:spMkLst>
        </pc:spChg>
        <pc:spChg chg="mod">
          <ac:chgData name="Caldarelli, Leslie" userId="S::lcaldarelli_luriechildrens.org#ext#@nuwildcat.onmicrosoft.com::cd79b54d-c14e-4199-a04a-39c6f592e710" providerId="AD" clId="Web-{BC047B72-8F18-01C2-FA60-A38A99380270}" dt="2023-10-31T03:23:04.314" v="185" actId="1076"/>
          <ac:spMkLst>
            <pc:docMk/>
            <pc:sldMk cId="3536510335" sldId="553"/>
            <ac:spMk id="11" creationId="{50FB034E-6814-0511-ABE9-55AF46337AE4}"/>
          </ac:spMkLst>
        </pc:spChg>
      </pc:sldChg>
      <pc:sldChg chg="modSp modNotes">
        <pc:chgData name="Caldarelli, Leslie" userId="S::lcaldarelli_luriechildrens.org#ext#@nuwildcat.onmicrosoft.com::cd79b54d-c14e-4199-a04a-39c6f592e710" providerId="AD" clId="Web-{BC047B72-8F18-01C2-FA60-A38A99380270}" dt="2023-10-31T03:17:05.691" v="150"/>
        <pc:sldMkLst>
          <pc:docMk/>
          <pc:sldMk cId="1231844700" sldId="554"/>
        </pc:sldMkLst>
        <pc:spChg chg="mod">
          <ac:chgData name="Caldarelli, Leslie" userId="S::lcaldarelli_luriechildrens.org#ext#@nuwildcat.onmicrosoft.com::cd79b54d-c14e-4199-a04a-39c6f592e710" providerId="AD" clId="Web-{BC047B72-8F18-01C2-FA60-A38A99380270}" dt="2023-10-31T03:16:56.675" v="149" actId="14100"/>
          <ac:spMkLst>
            <pc:docMk/>
            <pc:sldMk cId="1231844700" sldId="554"/>
            <ac:spMk id="2" creationId="{61FD53C4-A666-522F-F9AB-081D90D541D1}"/>
          </ac:spMkLst>
        </pc:spChg>
      </pc:sldChg>
      <pc:sldChg chg="addSp delSp modSp">
        <pc:chgData name="Caldarelli, Leslie" userId="S::lcaldarelli_luriechildrens.org#ext#@nuwildcat.onmicrosoft.com::cd79b54d-c14e-4199-a04a-39c6f592e710" providerId="AD" clId="Web-{BC047B72-8F18-01C2-FA60-A38A99380270}" dt="2023-10-31T03:16:11.346" v="143" actId="20577"/>
        <pc:sldMkLst>
          <pc:docMk/>
          <pc:sldMk cId="1522616096" sldId="555"/>
        </pc:sldMkLst>
        <pc:spChg chg="mod">
          <ac:chgData name="Caldarelli, Leslie" userId="S::lcaldarelli_luriechildrens.org#ext#@nuwildcat.onmicrosoft.com::cd79b54d-c14e-4199-a04a-39c6f592e710" providerId="AD" clId="Web-{BC047B72-8F18-01C2-FA60-A38A99380270}" dt="2023-10-31T03:10:36.831" v="120" actId="20577"/>
          <ac:spMkLst>
            <pc:docMk/>
            <pc:sldMk cId="1522616096" sldId="555"/>
            <ac:spMk id="2" creationId="{F40AE700-1499-46B3-C70A-C723802CD680}"/>
          </ac:spMkLst>
        </pc:spChg>
        <pc:spChg chg="del">
          <ac:chgData name="Caldarelli, Leslie" userId="S::lcaldarelli_luriechildrens.org#ext#@nuwildcat.onmicrosoft.com::cd79b54d-c14e-4199-a04a-39c6f592e710" providerId="AD" clId="Web-{BC047B72-8F18-01C2-FA60-A38A99380270}" dt="2023-10-31T03:11:02.722" v="121"/>
          <ac:spMkLst>
            <pc:docMk/>
            <pc:sldMk cId="1522616096" sldId="555"/>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4:41.121" v="132" actId="20577"/>
          <ac:spMkLst>
            <pc:docMk/>
            <pc:sldMk cId="1522616096" sldId="555"/>
            <ac:spMk id="4" creationId="{3D49CA6C-78ED-3124-7EE3-BBDDC9988910}"/>
          </ac:spMkLst>
        </pc:spChg>
        <pc:spChg chg="add del mod">
          <ac:chgData name="Caldarelli, Leslie" userId="S::lcaldarelli_luriechildrens.org#ext#@nuwildcat.onmicrosoft.com::cd79b54d-c14e-4199-a04a-39c6f592e710" providerId="AD" clId="Web-{BC047B72-8F18-01C2-FA60-A38A99380270}" dt="2023-10-31T03:11:32.879" v="126"/>
          <ac:spMkLst>
            <pc:docMk/>
            <pc:sldMk cId="1522616096" sldId="555"/>
            <ac:spMk id="10" creationId="{055319F5-46DE-86F3-1826-03B62D23B87B}"/>
          </ac:spMkLst>
        </pc:spChg>
        <pc:spChg chg="add mod">
          <ac:chgData name="Caldarelli, Leslie" userId="S::lcaldarelli_luriechildrens.org#ext#@nuwildcat.onmicrosoft.com::cd79b54d-c14e-4199-a04a-39c6f592e710" providerId="AD" clId="Web-{BC047B72-8F18-01C2-FA60-A38A99380270}" dt="2023-10-31T03:16:11.346" v="143" actId="20577"/>
          <ac:spMkLst>
            <pc:docMk/>
            <pc:sldMk cId="1522616096" sldId="555"/>
            <ac:spMk id="12" creationId="{FFCC26E6-1C5C-8419-8626-BD0157947192}"/>
          </ac:spMkLst>
        </pc:spChg>
      </pc:sldChg>
      <pc:sldChg chg="modSp modNotes">
        <pc:chgData name="Caldarelli, Leslie" userId="S::lcaldarelli_luriechildrens.org#ext#@nuwildcat.onmicrosoft.com::cd79b54d-c14e-4199-a04a-39c6f592e710" providerId="AD" clId="Web-{BC047B72-8F18-01C2-FA60-A38A99380270}" dt="2023-10-31T03:53:07.538" v="468"/>
        <pc:sldMkLst>
          <pc:docMk/>
          <pc:sldMk cId="1514756035" sldId="556"/>
        </pc:sldMkLst>
        <pc:spChg chg="mod">
          <ac:chgData name="Caldarelli, Leslie" userId="S::lcaldarelli_luriechildrens.org#ext#@nuwildcat.onmicrosoft.com::cd79b54d-c14e-4199-a04a-39c6f592e710" providerId="AD" clId="Web-{BC047B72-8F18-01C2-FA60-A38A99380270}" dt="2023-10-31T02:12:25.897" v="46" actId="14100"/>
          <ac:spMkLst>
            <pc:docMk/>
            <pc:sldMk cId="1514756035" sldId="556"/>
            <ac:spMk id="2" creationId="{8C7182B8-D745-6D49-E823-6B4C357520BB}"/>
          </ac:spMkLst>
        </pc:spChg>
        <pc:spChg chg="mod">
          <ac:chgData name="Caldarelli, Leslie" userId="S::lcaldarelli_luriechildrens.org#ext#@nuwildcat.onmicrosoft.com::cd79b54d-c14e-4199-a04a-39c6f592e710" providerId="AD" clId="Web-{BC047B72-8F18-01C2-FA60-A38A99380270}" dt="2023-10-31T03:03:46.193" v="71" actId="20577"/>
          <ac:spMkLst>
            <pc:docMk/>
            <pc:sldMk cId="1514756035" sldId="556"/>
            <ac:spMk id="48" creationId="{9DA002CE-213B-0EFE-03DC-C3DB65BCF003}"/>
          </ac:spMkLst>
        </pc:spChg>
        <pc:spChg chg="mod">
          <ac:chgData name="Caldarelli, Leslie" userId="S::lcaldarelli_luriechildrens.org#ext#@nuwildcat.onmicrosoft.com::cd79b54d-c14e-4199-a04a-39c6f592e710" providerId="AD" clId="Web-{BC047B72-8F18-01C2-FA60-A38A99380270}" dt="2023-10-31T03:03:03.004" v="65" actId="1076"/>
          <ac:spMkLst>
            <pc:docMk/>
            <pc:sldMk cId="1514756035" sldId="556"/>
            <ac:spMk id="50" creationId="{484FA518-5005-04AD-A148-23B555389D18}"/>
          </ac:spMkLst>
        </pc:spChg>
      </pc:sldChg>
      <pc:sldChg chg="modSp">
        <pc:chgData name="Caldarelli, Leslie" userId="S::lcaldarelli_luriechildrens.org#ext#@nuwildcat.onmicrosoft.com::cd79b54d-c14e-4199-a04a-39c6f592e710" providerId="AD" clId="Web-{BC047B72-8F18-01C2-FA60-A38A99380270}" dt="2023-10-31T03:18:25.335" v="158" actId="20577"/>
        <pc:sldMkLst>
          <pc:docMk/>
          <pc:sldMk cId="773696652" sldId="558"/>
        </pc:sldMkLst>
        <pc:spChg chg="mod">
          <ac:chgData name="Caldarelli, Leslie" userId="S::lcaldarelli_luriechildrens.org#ext#@nuwildcat.onmicrosoft.com::cd79b54d-c14e-4199-a04a-39c6f592e710" providerId="AD" clId="Web-{BC047B72-8F18-01C2-FA60-A38A99380270}" dt="2023-10-31T03:17:23.426" v="151" actId="20577"/>
          <ac:spMkLst>
            <pc:docMk/>
            <pc:sldMk cId="773696652" sldId="558"/>
            <ac:spMk id="2" creationId="{F40AE700-1499-46B3-C70A-C723802CD680}"/>
          </ac:spMkLst>
        </pc:spChg>
        <pc:spChg chg="mod">
          <ac:chgData name="Caldarelli, Leslie" userId="S::lcaldarelli_luriechildrens.org#ext#@nuwildcat.onmicrosoft.com::cd79b54d-c14e-4199-a04a-39c6f592e710" providerId="AD" clId="Web-{BC047B72-8F18-01C2-FA60-A38A99380270}" dt="2023-10-31T03:18:25.335" v="158" actId="20577"/>
          <ac:spMkLst>
            <pc:docMk/>
            <pc:sldMk cId="773696652" sldId="558"/>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8:16.382" v="157" actId="20577"/>
          <ac:spMkLst>
            <pc:docMk/>
            <pc:sldMk cId="773696652" sldId="558"/>
            <ac:spMk id="5" creationId="{19C1D751-08DD-BD76-1181-C434C9849C27}"/>
          </ac:spMkLst>
        </pc:spChg>
        <pc:spChg chg="mod">
          <ac:chgData name="Caldarelli, Leslie" userId="S::lcaldarelli_luriechildrens.org#ext#@nuwildcat.onmicrosoft.com::cd79b54d-c14e-4199-a04a-39c6f592e710" providerId="AD" clId="Web-{BC047B72-8F18-01C2-FA60-A38A99380270}" dt="2023-10-31T03:17:58.615" v="154" actId="1076"/>
          <ac:spMkLst>
            <pc:docMk/>
            <pc:sldMk cId="773696652" sldId="558"/>
            <ac:spMk id="7" creationId="{98AEAD99-3E06-8D3F-3F0C-CDC9176523B6}"/>
          </ac:spMkLst>
        </pc:spChg>
      </pc:sldChg>
      <pc:sldChg chg="modSp">
        <pc:chgData name="Caldarelli, Leslie" userId="S::lcaldarelli_luriechildrens.org#ext#@nuwildcat.onmicrosoft.com::cd79b54d-c14e-4199-a04a-39c6f592e710" providerId="AD" clId="Web-{BC047B72-8F18-01C2-FA60-A38A99380270}" dt="2023-10-31T04:33:03.814" v="908" actId="20577"/>
        <pc:sldMkLst>
          <pc:docMk/>
          <pc:sldMk cId="3067427377" sldId="560"/>
        </pc:sldMkLst>
        <pc:spChg chg="mod">
          <ac:chgData name="Caldarelli, Leslie" userId="S::lcaldarelli_luriechildrens.org#ext#@nuwildcat.onmicrosoft.com::cd79b54d-c14e-4199-a04a-39c6f592e710" providerId="AD" clId="Web-{BC047B72-8F18-01C2-FA60-A38A99380270}" dt="2023-10-31T04:33:03.814" v="908"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BC047B72-8F18-01C2-FA60-A38A99380270}" dt="2023-10-31T04:12:21.956" v="658" actId="14100"/>
        <pc:sldMkLst>
          <pc:docMk/>
          <pc:sldMk cId="3845418986" sldId="563"/>
        </pc:sldMkLst>
        <pc:spChg chg="mod">
          <ac:chgData name="Caldarelli, Leslie" userId="S::lcaldarelli_luriechildrens.org#ext#@nuwildcat.onmicrosoft.com::cd79b54d-c14e-4199-a04a-39c6f592e710" providerId="AD" clId="Web-{BC047B72-8F18-01C2-FA60-A38A99380270}" dt="2023-10-31T04:12:21.956" v="658" actId="14100"/>
          <ac:spMkLst>
            <pc:docMk/>
            <pc:sldMk cId="3845418986" sldId="563"/>
            <ac:spMk id="33" creationId="{5C2A740E-7A02-31A5-EAAF-9CD8C0A41D47}"/>
          </ac:spMkLst>
        </pc:spChg>
        <pc:spChg chg="mod">
          <ac:chgData name="Caldarelli, Leslie" userId="S::lcaldarelli_luriechildrens.org#ext#@nuwildcat.onmicrosoft.com::cd79b54d-c14e-4199-a04a-39c6f592e710" providerId="AD" clId="Web-{BC047B72-8F18-01C2-FA60-A38A99380270}" dt="2023-10-31T04:11:12.594" v="650" actId="14100"/>
          <ac:spMkLst>
            <pc:docMk/>
            <pc:sldMk cId="3845418986" sldId="563"/>
            <ac:spMk id="49" creationId="{4FD6BDF7-E6F5-6DC8-9332-E3E0DB7057F0}"/>
          </ac:spMkLst>
        </pc:spChg>
        <pc:spChg chg="mod">
          <ac:chgData name="Caldarelli, Leslie" userId="S::lcaldarelli_luriechildrens.org#ext#@nuwildcat.onmicrosoft.com::cd79b54d-c14e-4199-a04a-39c6f592e710" providerId="AD" clId="Web-{BC047B72-8F18-01C2-FA60-A38A99380270}" dt="2023-10-31T04:12:13.190" v="657" actId="14100"/>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BC047B72-8F18-01C2-FA60-A38A99380270}" dt="2023-10-31T04:10:55.515" v="648" actId="1076"/>
        <pc:sldMkLst>
          <pc:docMk/>
          <pc:sldMk cId="1536434647" sldId="564"/>
        </pc:sldMkLst>
        <pc:spChg chg="mod">
          <ac:chgData name="Caldarelli, Leslie" userId="S::lcaldarelli_luriechildrens.org#ext#@nuwildcat.onmicrosoft.com::cd79b54d-c14e-4199-a04a-39c6f592e710" providerId="AD" clId="Web-{BC047B72-8F18-01C2-FA60-A38A99380270}" dt="2023-10-31T04:10:29.577" v="645" actId="14100"/>
          <ac:spMkLst>
            <pc:docMk/>
            <pc:sldMk cId="1536434647" sldId="564"/>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10:55.515" v="648" actId="1076"/>
          <ac:spMkLst>
            <pc:docMk/>
            <pc:sldMk cId="1536434647" sldId="564"/>
            <ac:spMk id="41" creationId="{00000000-0000-0000-0000-000000000000}"/>
          </ac:spMkLst>
        </pc:spChg>
        <pc:spChg chg="mod">
          <ac:chgData name="Caldarelli, Leslie" userId="S::lcaldarelli_luriechildrens.org#ext#@nuwildcat.onmicrosoft.com::cd79b54d-c14e-4199-a04a-39c6f592e710" providerId="AD" clId="Web-{BC047B72-8F18-01C2-FA60-A38A99380270}" dt="2023-10-31T04:10:21.014" v="644" actId="14100"/>
          <ac:spMkLst>
            <pc:docMk/>
            <pc:sldMk cId="1536434647" sldId="564"/>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09:55.138" v="640" actId="1076"/>
          <ac:spMkLst>
            <pc:docMk/>
            <pc:sldMk cId="1536434647" sldId="564"/>
            <ac:spMk id="51" creationId="{DADB789B-D1D8-A439-C1FC-0121F131E706}"/>
          </ac:spMkLst>
        </pc:spChg>
        <pc:spChg chg="mod">
          <ac:chgData name="Caldarelli, Leslie" userId="S::lcaldarelli_luriechildrens.org#ext#@nuwildcat.onmicrosoft.com::cd79b54d-c14e-4199-a04a-39c6f592e710" providerId="AD" clId="Web-{BC047B72-8F18-01C2-FA60-A38A99380270}" dt="2023-10-31T04:10:03.935" v="641" actId="1076"/>
          <ac:spMkLst>
            <pc:docMk/>
            <pc:sldMk cId="1536434647" sldId="564"/>
            <ac:spMk id="53" creationId="{7AA1F7FA-AA52-FED3-1784-BE66C8A7FBFC}"/>
          </ac:spMkLst>
        </pc:spChg>
      </pc:sldChg>
      <pc:sldChg chg="modSp">
        <pc:chgData name="Caldarelli, Leslie" userId="S::lcaldarelli_luriechildrens.org#ext#@nuwildcat.onmicrosoft.com::cd79b54d-c14e-4199-a04a-39c6f592e710" providerId="AD" clId="Web-{BC047B72-8F18-01C2-FA60-A38A99380270}" dt="2023-10-31T04:04:35.001" v="597" actId="20577"/>
        <pc:sldMkLst>
          <pc:docMk/>
          <pc:sldMk cId="3004937174" sldId="565"/>
        </pc:sldMkLst>
        <pc:spChg chg="mod">
          <ac:chgData name="Caldarelli, Leslie" userId="S::lcaldarelli_luriechildrens.org#ext#@nuwildcat.onmicrosoft.com::cd79b54d-c14e-4199-a04a-39c6f592e710" providerId="AD" clId="Web-{BC047B72-8F18-01C2-FA60-A38A99380270}" dt="2023-10-31T04:04:34.626" v="591" actId="14100"/>
          <ac:spMkLst>
            <pc:docMk/>
            <pc:sldMk cId="3004937174" sldId="565"/>
            <ac:spMk id="23" creationId="{00000000-0000-0000-0000-000000000000}"/>
          </ac:spMkLst>
        </pc:spChg>
        <pc:spChg chg="mod">
          <ac:chgData name="Caldarelli, Leslie" userId="S::lcaldarelli_luriechildrens.org#ext#@nuwildcat.onmicrosoft.com::cd79b54d-c14e-4199-a04a-39c6f592e710" providerId="AD" clId="Web-{BC047B72-8F18-01C2-FA60-A38A99380270}" dt="2023-10-31T04:04:35.001" v="597" actId="20577"/>
          <ac:spMkLst>
            <pc:docMk/>
            <pc:sldMk cId="3004937174" sldId="565"/>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4:34.720" v="593" actId="14100"/>
          <ac:spMkLst>
            <pc:docMk/>
            <pc:sldMk cId="3004937174" sldId="565"/>
            <ac:spMk id="4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09:02.605" v="635" actId="20577"/>
        <pc:sldMkLst>
          <pc:docMk/>
          <pc:sldMk cId="3419957415" sldId="577"/>
        </pc:sldMkLst>
        <pc:spChg chg="mod">
          <ac:chgData name="Caldarelli, Leslie" userId="S::lcaldarelli_luriechildrens.org#ext#@nuwildcat.onmicrosoft.com::cd79b54d-c14e-4199-a04a-39c6f592e710" providerId="AD" clId="Web-{BC047B72-8F18-01C2-FA60-A38A99380270}" dt="2023-10-31T04:09:02.605" v="635" actId="20577"/>
          <ac:spMkLst>
            <pc:docMk/>
            <pc:sldMk cId="3419957415" sldId="577"/>
            <ac:spMk id="53" creationId="{00000000-0000-0000-0000-000000000000}"/>
          </ac:spMkLst>
        </pc:spChg>
        <pc:spChg chg="mod">
          <ac:chgData name="Caldarelli, Leslie" userId="S::lcaldarelli_luriechildrens.org#ext#@nuwildcat.onmicrosoft.com::cd79b54d-c14e-4199-a04a-39c6f592e710" providerId="AD" clId="Web-{BC047B72-8F18-01C2-FA60-A38A99380270}" dt="2023-10-31T04:08:36.385" v="631" actId="14100"/>
          <ac:spMkLst>
            <pc:docMk/>
            <pc:sldMk cId="3419957415" sldId="577"/>
            <ac:spMk id="57"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4:26:17.362" v="809"/>
        <pc:sldMkLst>
          <pc:docMk/>
          <pc:sldMk cId="3030449316" sldId="579"/>
        </pc:sldMkLst>
        <pc:spChg chg="mod">
          <ac:chgData name="Caldarelli, Leslie" userId="S::lcaldarelli_luriechildrens.org#ext#@nuwildcat.onmicrosoft.com::cd79b54d-c14e-4199-a04a-39c6f592e710" providerId="AD" clId="Web-{BC047B72-8F18-01C2-FA60-A38A99380270}" dt="2023-10-31T04:18:28.688" v="756" actId="20577"/>
          <ac:spMkLst>
            <pc:docMk/>
            <pc:sldMk cId="3030449316" sldId="579"/>
            <ac:spMk id="44" creationId="{00000000-0000-0000-0000-000000000000}"/>
          </ac:spMkLst>
        </pc:spChg>
        <pc:spChg chg="mod">
          <ac:chgData name="Caldarelli, Leslie" userId="S::lcaldarelli_luriechildrens.org#ext#@nuwildcat.onmicrosoft.com::cd79b54d-c14e-4199-a04a-39c6f592e710" providerId="AD" clId="Web-{BC047B72-8F18-01C2-FA60-A38A99380270}" dt="2023-10-31T04:25:07.797" v="802" actId="1076"/>
          <ac:spMkLst>
            <pc:docMk/>
            <pc:sldMk cId="3030449316" sldId="579"/>
            <ac:spMk id="4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4:17.163" v="707" actId="1076"/>
        <pc:sldMkLst>
          <pc:docMk/>
          <pc:sldMk cId="3429940818" sldId="581"/>
        </pc:sldMkLst>
        <pc:spChg chg="mod">
          <ac:chgData name="Caldarelli, Leslie" userId="S::lcaldarelli_luriechildrens.org#ext#@nuwildcat.onmicrosoft.com::cd79b54d-c14e-4199-a04a-39c6f592e710" providerId="AD" clId="Web-{BC047B72-8F18-01C2-FA60-A38A99380270}" dt="2023-10-31T04:12:48.425" v="663" actId="20577"/>
          <ac:spMkLst>
            <pc:docMk/>
            <pc:sldMk cId="3429940818" sldId="581"/>
            <ac:spMk id="62" creationId="{00000000-0000-0000-0000-000000000000}"/>
          </ac:spMkLst>
        </pc:spChg>
        <pc:grpChg chg="mod">
          <ac:chgData name="Caldarelli, Leslie" userId="S::lcaldarelli_luriechildrens.org#ext#@nuwildcat.onmicrosoft.com::cd79b54d-c14e-4199-a04a-39c6f592e710" providerId="AD" clId="Web-{BC047B72-8F18-01C2-FA60-A38A99380270}" dt="2023-10-31T04:14:17.163" v="707" actId="1076"/>
          <ac:grpSpMkLst>
            <pc:docMk/>
            <pc:sldMk cId="3429940818" sldId="581"/>
            <ac:grpSpMk id="6" creationId="{00000000-0000-0000-0000-000000000000}"/>
          </ac:grpSpMkLst>
        </pc:grpChg>
      </pc:sldChg>
      <pc:sldChg chg="modSp modNotes">
        <pc:chgData name="Caldarelli, Leslie" userId="S::lcaldarelli_luriechildrens.org#ext#@nuwildcat.onmicrosoft.com::cd79b54d-c14e-4199-a04a-39c6f592e710" providerId="AD" clId="Web-{BC047B72-8F18-01C2-FA60-A38A99380270}" dt="2023-10-31T04:05:26.956" v="608" actId="20577"/>
        <pc:sldMkLst>
          <pc:docMk/>
          <pc:sldMk cId="3870927286" sldId="583"/>
        </pc:sldMkLst>
        <pc:spChg chg="mod">
          <ac:chgData name="Caldarelli, Leslie" userId="S::lcaldarelli_luriechildrens.org#ext#@nuwildcat.onmicrosoft.com::cd79b54d-c14e-4199-a04a-39c6f592e710" providerId="AD" clId="Web-{BC047B72-8F18-01C2-FA60-A38A99380270}" dt="2023-10-31T03:37:37.894" v="300" actId="1076"/>
          <ac:spMkLst>
            <pc:docMk/>
            <pc:sldMk cId="3870927286" sldId="583"/>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0:41.148" v="521" actId="20577"/>
          <ac:spMkLst>
            <pc:docMk/>
            <pc:sldMk cId="3870927286" sldId="583"/>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3:58:48.738" v="510" actId="20577"/>
          <ac:spMkLst>
            <pc:docMk/>
            <pc:sldMk cId="3870927286" sldId="583"/>
            <ac:spMk id="27" creationId="{00000000-0000-0000-0000-000000000000}"/>
          </ac:spMkLst>
        </pc:spChg>
        <pc:spChg chg="mod">
          <ac:chgData name="Caldarelli, Leslie" userId="S::lcaldarelli_luriechildrens.org#ext#@nuwildcat.onmicrosoft.com::cd79b54d-c14e-4199-a04a-39c6f592e710" providerId="AD" clId="Web-{BC047B72-8F18-01C2-FA60-A38A99380270}" dt="2023-10-31T04:05:26.956" v="608" actId="20577"/>
          <ac:spMkLst>
            <pc:docMk/>
            <pc:sldMk cId="3870927286" sldId="583"/>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3:57:29.251" v="503" actId="20577"/>
          <ac:spMkLst>
            <pc:docMk/>
            <pc:sldMk cId="3870927286" sldId="583"/>
            <ac:spMk id="39" creationId="{00000000-0000-0000-0000-000000000000}"/>
          </ac:spMkLst>
        </pc:spChg>
        <pc:spChg chg="mod">
          <ac:chgData name="Caldarelli, Leslie" userId="S::lcaldarelli_luriechildrens.org#ext#@nuwildcat.onmicrosoft.com::cd79b54d-c14e-4199-a04a-39c6f592e710" providerId="AD" clId="Web-{BC047B72-8F18-01C2-FA60-A38A99380270}" dt="2023-10-31T04:01:58.292" v="534" actId="1076"/>
          <ac:spMkLst>
            <pc:docMk/>
            <pc:sldMk cId="3870927286" sldId="583"/>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3:37:29.300" v="299" actId="1076"/>
          <ac:spMkLst>
            <pc:docMk/>
            <pc:sldMk cId="3870927286" sldId="583"/>
            <ac:spMk id="51"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53:25.023" v="469" actId="20577"/>
        <pc:sldMkLst>
          <pc:docMk/>
          <pc:sldMk cId="3573947264" sldId="584"/>
        </pc:sldMkLst>
        <pc:spChg chg="mod">
          <ac:chgData name="Caldarelli, Leslie" userId="S::lcaldarelli_luriechildrens.org#ext#@nuwildcat.onmicrosoft.com::cd79b54d-c14e-4199-a04a-39c6f592e710" providerId="AD" clId="Web-{BC047B72-8F18-01C2-FA60-A38A99380270}" dt="2023-10-31T03:53:25.023" v="469" actId="20577"/>
          <ac:spMkLst>
            <pc:docMk/>
            <pc:sldMk cId="3573947264" sldId="584"/>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30:28.418" v="851"/>
        <pc:sldMkLst>
          <pc:docMk/>
          <pc:sldMk cId="3561966490" sldId="585"/>
        </pc:sldMkLst>
        <pc:spChg chg="mod">
          <ac:chgData name="Caldarelli, Leslie" userId="S::lcaldarelli_luriechildrens.org#ext#@nuwildcat.onmicrosoft.com::cd79b54d-c14e-4199-a04a-39c6f592e710" providerId="AD" clId="Web-{BC047B72-8F18-01C2-FA60-A38A99380270}" dt="2023-10-31T04:26:26.065" v="810" actId="1076"/>
          <ac:spMkLst>
            <pc:docMk/>
            <pc:sldMk cId="3561966490" sldId="585"/>
            <ac:spMk id="4" creationId="{00000000-0000-0000-0000-000000000000}"/>
          </ac:spMkLst>
        </pc:spChg>
        <pc:spChg chg="mod">
          <ac:chgData name="Caldarelli, Leslie" userId="S::lcaldarelli_luriechildrens.org#ext#@nuwildcat.onmicrosoft.com::cd79b54d-c14e-4199-a04a-39c6f592e710" providerId="AD" clId="Web-{BC047B72-8F18-01C2-FA60-A38A99380270}" dt="2023-10-31T04:27:26.224" v="816" actId="20577"/>
          <ac:spMkLst>
            <pc:docMk/>
            <pc:sldMk cId="3561966490" sldId="585"/>
            <ac:spMk id="7" creationId="{00000000-0000-0000-0000-000000000000}"/>
          </ac:spMkLst>
        </pc:spChg>
        <pc:spChg chg="mod">
          <ac:chgData name="Caldarelli, Leslie" userId="S::lcaldarelli_luriechildrens.org#ext#@nuwildcat.onmicrosoft.com::cd79b54d-c14e-4199-a04a-39c6f592e710" providerId="AD" clId="Web-{BC047B72-8F18-01C2-FA60-A38A99380270}" dt="2023-10-31T04:27:08.926" v="815" actId="20577"/>
          <ac:spMkLst>
            <pc:docMk/>
            <pc:sldMk cId="3561966490" sldId="585"/>
            <ac:spMk id="18" creationId="{00000000-0000-0000-0000-000000000000}"/>
          </ac:spMkLst>
        </pc:spChg>
        <pc:spChg chg="mod">
          <ac:chgData name="Caldarelli, Leslie" userId="S::lcaldarelli_luriechildrens.org#ext#@nuwildcat.onmicrosoft.com::cd79b54d-c14e-4199-a04a-39c6f592e710" providerId="AD" clId="Web-{BC047B72-8F18-01C2-FA60-A38A99380270}" dt="2023-10-31T04:27:00.410" v="814" actId="20577"/>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27:43.334" v="817"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BC047B72-8F18-01C2-FA60-A38A99380270}" dt="2023-10-31T04:28:00.350" v="819" actId="20577"/>
          <ac:spMkLst>
            <pc:docMk/>
            <pc:sldMk cId="3561966490" sldId="585"/>
            <ac:spMk id="2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26:00.127" v="807" actId="20577"/>
        <pc:sldMkLst>
          <pc:docMk/>
          <pc:sldMk cId="3809547791" sldId="586"/>
        </pc:sldMkLst>
        <pc:spChg chg="mod">
          <ac:chgData name="Caldarelli, Leslie" userId="S::lcaldarelli_luriechildrens.org#ext#@nuwildcat.onmicrosoft.com::cd79b54d-c14e-4199-a04a-39c6f592e710" providerId="AD" clId="Web-{BC047B72-8F18-01C2-FA60-A38A99380270}" dt="2023-10-31T04:25:16.719" v="803" actId="20577"/>
          <ac:spMkLst>
            <pc:docMk/>
            <pc:sldMk cId="3809547791" sldId="586"/>
            <ac:spMk id="36" creationId="{00000000-0000-0000-0000-000000000000}"/>
          </ac:spMkLst>
        </pc:spChg>
        <pc:spChg chg="mod">
          <ac:chgData name="Caldarelli, Leslie" userId="S::lcaldarelli_luriechildrens.org#ext#@nuwildcat.onmicrosoft.com::cd79b54d-c14e-4199-a04a-39c6f592e710" providerId="AD" clId="Web-{BC047B72-8F18-01C2-FA60-A38A99380270}" dt="2023-10-31T04:25:51.517" v="806" actId="14100"/>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BC047B72-8F18-01C2-FA60-A38A99380270}" dt="2023-10-31T04:26:00.127" v="807" actId="20577"/>
          <ac:spMkLst>
            <pc:docMk/>
            <pc:sldMk cId="3809547791" sldId="586"/>
            <ac:spMk id="47" creationId="{B8E0B5F5-B6A2-711D-2F6F-422E5E01B221}"/>
          </ac:spMkLst>
        </pc:spChg>
      </pc:sldChg>
      <pc:sldChg chg="modSp">
        <pc:chgData name="Caldarelli, Leslie" userId="S::lcaldarelli_luriechildrens.org#ext#@nuwildcat.onmicrosoft.com::cd79b54d-c14e-4199-a04a-39c6f592e710" providerId="AD" clId="Web-{BC047B72-8F18-01C2-FA60-A38A99380270}" dt="2023-10-31T04:18:19.985" v="754" actId="20577"/>
        <pc:sldMkLst>
          <pc:docMk/>
          <pc:sldMk cId="1598854783" sldId="587"/>
        </pc:sldMkLst>
        <pc:spChg chg="mod">
          <ac:chgData name="Caldarelli, Leslie" userId="S::lcaldarelli_luriechildrens.org#ext#@nuwildcat.onmicrosoft.com::cd79b54d-c14e-4199-a04a-39c6f592e710" providerId="AD" clId="Web-{BC047B72-8F18-01C2-FA60-A38A99380270}" dt="2023-10-31T04:18:19.985" v="754" actId="20577"/>
          <ac:spMkLst>
            <pc:docMk/>
            <pc:sldMk cId="1598854783" sldId="587"/>
            <ac:spMk id="42" creationId="{00000000-0000-0000-0000-000000000000}"/>
          </ac:spMkLst>
        </pc:spChg>
        <pc:spChg chg="mod">
          <ac:chgData name="Caldarelli, Leslie" userId="S::lcaldarelli_luriechildrens.org#ext#@nuwildcat.onmicrosoft.com::cd79b54d-c14e-4199-a04a-39c6f592e710" providerId="AD" clId="Web-{BC047B72-8F18-01C2-FA60-A38A99380270}" dt="2023-10-31T04:17:35.936" v="743" actId="20577"/>
          <ac:spMkLst>
            <pc:docMk/>
            <pc:sldMk cId="1598854783" sldId="587"/>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17:36.046" v="744" actId="1076"/>
          <ac:spMkLst>
            <pc:docMk/>
            <pc:sldMk cId="1598854783" sldId="587"/>
            <ac:spMk id="49" creationId="{E2210AC7-88E9-3DF2-B6FD-284390179A81}"/>
          </ac:spMkLst>
        </pc:spChg>
        <pc:spChg chg="mod">
          <ac:chgData name="Caldarelli, Leslie" userId="S::lcaldarelli_luriechildrens.org#ext#@nuwildcat.onmicrosoft.com::cd79b54d-c14e-4199-a04a-39c6f592e710" providerId="AD" clId="Web-{BC047B72-8F18-01C2-FA60-A38A99380270}" dt="2023-10-31T04:17:54.124" v="752" actId="14100"/>
          <ac:spMkLst>
            <pc:docMk/>
            <pc:sldMk cId="1598854783" sldId="587"/>
            <ac:spMk id="51" creationId="{24A2DEC9-4CC0-CBF0-5D9A-524D9EFAEE1C}"/>
          </ac:spMkLst>
        </pc:spChg>
        <pc:spChg chg="mod">
          <ac:chgData name="Caldarelli, Leslie" userId="S::lcaldarelli_luriechildrens.org#ext#@nuwildcat.onmicrosoft.com::cd79b54d-c14e-4199-a04a-39c6f592e710" providerId="AD" clId="Web-{BC047B72-8F18-01C2-FA60-A38A99380270}" dt="2023-10-31T04:17:36.452" v="749" actId="1076"/>
          <ac:spMkLst>
            <pc:docMk/>
            <pc:sldMk cId="1598854783" sldId="587"/>
            <ac:spMk id="53" creationId="{0E0706BB-4123-83DA-E93A-66A50F4484A3}"/>
          </ac:spMkLst>
        </pc:spChg>
      </pc:sldChg>
      <pc:sldChg chg="modSp">
        <pc:chgData name="Caldarelli, Leslie" userId="S::lcaldarelli_luriechildrens.org#ext#@nuwildcat.onmicrosoft.com::cd79b54d-c14e-4199-a04a-39c6f592e710" providerId="AD" clId="Web-{BC047B72-8F18-01C2-FA60-A38A99380270}" dt="2023-10-31T04:17:35.796" v="740" actId="1076"/>
        <pc:sldMkLst>
          <pc:docMk/>
          <pc:sldMk cId="3832963388" sldId="588"/>
        </pc:sldMkLst>
        <pc:spChg chg="mod">
          <ac:chgData name="Caldarelli, Leslie" userId="S::lcaldarelli_luriechildrens.org#ext#@nuwildcat.onmicrosoft.com::cd79b54d-c14e-4199-a04a-39c6f592e710" providerId="AD" clId="Web-{BC047B72-8F18-01C2-FA60-A38A99380270}" dt="2023-10-31T04:17:35.608" v="738" actId="1076"/>
          <ac:spMkLst>
            <pc:docMk/>
            <pc:sldMk cId="3832963388" sldId="588"/>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6:51.591" v="729" actId="20577"/>
          <ac:spMkLst>
            <pc:docMk/>
            <pc:sldMk cId="3832963388" sldId="588"/>
            <ac:spMk id="34" creationId="{00000000-0000-0000-0000-000000000000}"/>
          </ac:spMkLst>
        </pc:spChg>
        <pc:spChg chg="mod">
          <ac:chgData name="Caldarelli, Leslie" userId="S::lcaldarelli_luriechildrens.org#ext#@nuwildcat.onmicrosoft.com::cd79b54d-c14e-4199-a04a-39c6f592e710" providerId="AD" clId="Web-{BC047B72-8F18-01C2-FA60-A38A99380270}" dt="2023-10-31T04:17:35.702" v="739" actId="1076"/>
          <ac:spMkLst>
            <pc:docMk/>
            <pc:sldMk cId="3832963388" sldId="588"/>
            <ac:spMk id="36" creationId="{3EFC5C80-E693-6C51-4DEF-583812BEAB54}"/>
          </ac:spMkLst>
        </pc:spChg>
        <pc:spChg chg="mod">
          <ac:chgData name="Caldarelli, Leslie" userId="S::lcaldarelli_luriechildrens.org#ext#@nuwildcat.onmicrosoft.com::cd79b54d-c14e-4199-a04a-39c6f592e710" providerId="AD" clId="Web-{BC047B72-8F18-01C2-FA60-A38A99380270}" dt="2023-10-31T04:17:35.796" v="740" actId="1076"/>
          <ac:spMkLst>
            <pc:docMk/>
            <pc:sldMk cId="3832963388" sldId="588"/>
            <ac:spMk id="38" creationId="{9B32A794-89CE-3CF7-CCFB-FB03BB567C6D}"/>
          </ac:spMkLst>
        </pc:spChg>
      </pc:sldChg>
      <pc:sldChg chg="modSp">
        <pc:chgData name="Caldarelli, Leslie" userId="S::lcaldarelli_luriechildrens.org#ext#@nuwildcat.onmicrosoft.com::cd79b54d-c14e-4199-a04a-39c6f592e710" providerId="AD" clId="Web-{BC047B72-8F18-01C2-FA60-A38A99380270}" dt="2023-10-31T04:17:08.841" v="731" actId="20577"/>
        <pc:sldMkLst>
          <pc:docMk/>
          <pc:sldMk cId="435998680" sldId="589"/>
        </pc:sldMkLst>
        <pc:spChg chg="mod">
          <ac:chgData name="Caldarelli, Leslie" userId="S::lcaldarelli_luriechildrens.org#ext#@nuwildcat.onmicrosoft.com::cd79b54d-c14e-4199-a04a-39c6f592e710" providerId="AD" clId="Web-{BC047B72-8F18-01C2-FA60-A38A99380270}" dt="2023-10-31T04:16:08.417" v="721" actId="20577"/>
          <ac:spMkLst>
            <pc:docMk/>
            <pc:sldMk cId="435998680" sldId="589"/>
            <ac:spMk id="11" creationId="{00000000-0000-0000-0000-000000000000}"/>
          </ac:spMkLst>
        </pc:spChg>
        <pc:spChg chg="mod">
          <ac:chgData name="Caldarelli, Leslie" userId="S::lcaldarelli_luriechildrens.org#ext#@nuwildcat.onmicrosoft.com::cd79b54d-c14e-4199-a04a-39c6f592e710" providerId="AD" clId="Web-{BC047B72-8F18-01C2-FA60-A38A99380270}" dt="2023-10-31T04:16:25.668" v="724"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17:08.841" v="731" actId="20577"/>
          <ac:spMkLst>
            <pc:docMk/>
            <pc:sldMk cId="435998680" sldId="589"/>
            <ac:spMk id="17" creationId="{00000000-0000-0000-0000-000000000000}"/>
          </ac:spMkLst>
        </pc:spChg>
        <pc:spChg chg="mod">
          <ac:chgData name="Caldarelli, Leslie" userId="S::lcaldarelli_luriechildrens.org#ext#@nuwildcat.onmicrosoft.com::cd79b54d-c14e-4199-a04a-39c6f592e710" providerId="AD" clId="Web-{BC047B72-8F18-01C2-FA60-A38A99380270}" dt="2023-10-31T04:15:34.338" v="717" actId="1076"/>
          <ac:spMkLst>
            <pc:docMk/>
            <pc:sldMk cId="435998680" sldId="589"/>
            <ac:spMk id="19" creationId="{4F38B046-5CD5-F005-45E3-2034830DFD34}"/>
          </ac:spMkLst>
        </pc:spChg>
        <pc:spChg chg="mod">
          <ac:chgData name="Caldarelli, Leslie" userId="S::lcaldarelli_luriechildrens.org#ext#@nuwildcat.onmicrosoft.com::cd79b54d-c14e-4199-a04a-39c6f592e710" providerId="AD" clId="Web-{BC047B72-8F18-01C2-FA60-A38A99380270}" dt="2023-10-31T04:15:59.870" v="720" actId="20577"/>
          <ac:spMkLst>
            <pc:docMk/>
            <pc:sldMk cId="435998680" sldId="589"/>
            <ac:spMk id="21" creationId="{A35E0C3C-CC22-A1A0-8E94-9EEE65798BD1}"/>
          </ac:spMkLst>
        </pc:spChg>
      </pc:sldChg>
      <pc:sldChg chg="modSp">
        <pc:chgData name="Caldarelli, Leslie" userId="S::lcaldarelli_luriechildrens.org#ext#@nuwildcat.onmicrosoft.com::cd79b54d-c14e-4199-a04a-39c6f592e710" providerId="AD" clId="Web-{BC047B72-8F18-01C2-FA60-A38A99380270}" dt="2023-10-31T04:17:26.123" v="735" actId="20577"/>
        <pc:sldMkLst>
          <pc:docMk/>
          <pc:sldMk cId="595546358" sldId="590"/>
        </pc:sldMkLst>
        <pc:spChg chg="mod">
          <ac:chgData name="Caldarelli, Leslie" userId="S::lcaldarelli_luriechildrens.org#ext#@nuwildcat.onmicrosoft.com::cd79b54d-c14e-4199-a04a-39c6f592e710" providerId="AD" clId="Web-{BC047B72-8F18-01C2-FA60-A38A99380270}" dt="2023-10-31T04:14:42.773" v="711" actId="20577"/>
          <ac:spMkLst>
            <pc:docMk/>
            <pc:sldMk cId="595546358" sldId="590"/>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5:25.791" v="716" actId="20577"/>
          <ac:spMkLst>
            <pc:docMk/>
            <pc:sldMk cId="595546358" sldId="590"/>
            <ac:spMk id="25" creationId="{00000000-0000-0000-0000-000000000000}"/>
          </ac:spMkLst>
        </pc:spChg>
        <pc:spChg chg="mod">
          <ac:chgData name="Caldarelli, Leslie" userId="S::lcaldarelli_luriechildrens.org#ext#@nuwildcat.onmicrosoft.com::cd79b54d-c14e-4199-a04a-39c6f592e710" providerId="AD" clId="Web-{BC047B72-8F18-01C2-FA60-A38A99380270}" dt="2023-10-31T04:17:26.123" v="735" actId="20577"/>
          <ac:spMkLst>
            <pc:docMk/>
            <pc:sldMk cId="595546358" sldId="590"/>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14:59.884" v="713" actId="1076"/>
          <ac:spMkLst>
            <pc:docMk/>
            <pc:sldMk cId="595546358" sldId="590"/>
            <ac:spMk id="30" creationId="{53721EF8-C35D-834E-9339-D65FFE7AFF9A}"/>
          </ac:spMkLst>
        </pc:spChg>
        <pc:spChg chg="mod">
          <ac:chgData name="Caldarelli, Leslie" userId="S::lcaldarelli_luriechildrens.org#ext#@nuwildcat.onmicrosoft.com::cd79b54d-c14e-4199-a04a-39c6f592e710" providerId="AD" clId="Web-{BC047B72-8F18-01C2-FA60-A38A99380270}" dt="2023-10-31T04:15:17.275" v="715" actId="1076"/>
          <ac:spMkLst>
            <pc:docMk/>
            <pc:sldMk cId="595546358" sldId="590"/>
            <ac:spMk id="32" creationId="{F1AED984-C21E-AA63-E34E-DA61BCE8401F}"/>
          </ac:spMkLst>
        </pc:spChg>
      </pc:sldChg>
      <pc:sldChg chg="modSp modNotes">
        <pc:chgData name="Caldarelli, Leslie" userId="S::lcaldarelli_luriechildrens.org#ext#@nuwildcat.onmicrosoft.com::cd79b54d-c14e-4199-a04a-39c6f592e710" providerId="AD" clId="Web-{BC047B72-8F18-01C2-FA60-A38A99380270}" dt="2023-10-31T04:14:34.242" v="710" actId="20577"/>
        <pc:sldMkLst>
          <pc:docMk/>
          <pc:sldMk cId="629433230" sldId="591"/>
        </pc:sldMkLst>
        <pc:spChg chg="mod">
          <ac:chgData name="Caldarelli, Leslie" userId="S::lcaldarelli_luriechildrens.org#ext#@nuwildcat.onmicrosoft.com::cd79b54d-c14e-4199-a04a-39c6f592e710" providerId="AD" clId="Web-{BC047B72-8F18-01C2-FA60-A38A99380270}" dt="2023-10-31T04:13:05.614" v="665" actId="14100"/>
          <ac:spMkLst>
            <pc:docMk/>
            <pc:sldMk cId="629433230" sldId="591"/>
            <ac:spMk id="15" creationId="{00000000-0000-0000-0000-000000000000}"/>
          </ac:spMkLst>
        </pc:spChg>
        <pc:spChg chg="mod">
          <ac:chgData name="Caldarelli, Leslie" userId="S::lcaldarelli_luriechildrens.org#ext#@nuwildcat.onmicrosoft.com::cd79b54d-c14e-4199-a04a-39c6f592e710" providerId="AD" clId="Web-{BC047B72-8F18-01C2-FA60-A38A99380270}" dt="2023-10-31T04:13:14.911" v="672" actId="1076"/>
          <ac:spMkLst>
            <pc:docMk/>
            <pc:sldMk cId="629433230" sldId="591"/>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14:34.242" v="710" actId="20577"/>
          <ac:spMkLst>
            <pc:docMk/>
            <pc:sldMk cId="629433230" sldId="591"/>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3:14.411" v="666" actId="1076"/>
          <ac:spMkLst>
            <pc:docMk/>
            <pc:sldMk cId="629433230" sldId="591"/>
            <ac:spMk id="24" creationId="{82DED22A-2957-2107-97D2-7694FF88F0A5}"/>
          </ac:spMkLst>
        </pc:spChg>
        <pc:spChg chg="mod">
          <ac:chgData name="Caldarelli, Leslie" userId="S::lcaldarelli_luriechildrens.org#ext#@nuwildcat.onmicrosoft.com::cd79b54d-c14e-4199-a04a-39c6f592e710" providerId="AD" clId="Web-{BC047B72-8F18-01C2-FA60-A38A99380270}" dt="2023-10-31T04:13:14.848" v="671" actId="1076"/>
          <ac:spMkLst>
            <pc:docMk/>
            <pc:sldMk cId="629433230" sldId="591"/>
            <ac:spMk id="26" creationId="{7ADA2A22-B85F-E8A9-52B3-7FA1A111EB25}"/>
          </ac:spMkLst>
        </pc:spChg>
      </pc:sldChg>
      <pc:sldChg chg="modSp">
        <pc:chgData name="Caldarelli, Leslie" userId="S::lcaldarelli_luriechildrens.org#ext#@nuwildcat.onmicrosoft.com::cd79b54d-c14e-4199-a04a-39c6f592e710" providerId="AD" clId="Web-{BC047B72-8F18-01C2-FA60-A38A99380270}" dt="2023-10-31T02:11:46.662" v="41" actId="20577"/>
        <pc:sldMkLst>
          <pc:docMk/>
          <pc:sldMk cId="3726638559" sldId="616"/>
        </pc:sldMkLst>
        <pc:spChg chg="mod">
          <ac:chgData name="Caldarelli, Leslie" userId="S::lcaldarelli_luriechildrens.org#ext#@nuwildcat.onmicrosoft.com::cd79b54d-c14e-4199-a04a-39c6f592e710" providerId="AD" clId="Web-{BC047B72-8F18-01C2-FA60-A38A99380270}" dt="2023-10-31T02:11:46.662" v="41" actId="20577"/>
          <ac:spMkLst>
            <pc:docMk/>
            <pc:sldMk cId="3726638559" sldId="616"/>
            <ac:spMk id="2175"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0.690" v="659" actId="20577"/>
        <pc:sldMkLst>
          <pc:docMk/>
          <pc:sldMk cId="1210022179" sldId="617"/>
        </pc:sldMkLst>
        <pc:spChg chg="mod">
          <ac:chgData name="Caldarelli, Leslie" userId="S::lcaldarelli_luriechildrens.org#ext#@nuwildcat.onmicrosoft.com::cd79b54d-c14e-4199-a04a-39c6f592e710" providerId="AD" clId="Web-{BC047B72-8F18-01C2-FA60-A38A99380270}" dt="2023-10-31T04:12:30.690" v="659" actId="20577"/>
          <ac:spMkLst>
            <pc:docMk/>
            <pc:sldMk cId="1210022179" sldId="617"/>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07:53.118" v="628"/>
        <pc:sldMkLst>
          <pc:docMk/>
          <pc:sldMk cId="3850125703" sldId="622"/>
        </pc:sldMkLst>
        <pc:spChg chg="mod">
          <ac:chgData name="Caldarelli, Leslie" userId="S::lcaldarelli_luriechildrens.org#ext#@nuwildcat.onmicrosoft.com::cd79b54d-c14e-4199-a04a-39c6f592e710" providerId="AD" clId="Web-{BC047B72-8F18-01C2-FA60-A38A99380270}" dt="2023-10-31T04:04:52.267" v="604" actId="20577"/>
          <ac:spMkLst>
            <pc:docMk/>
            <pc:sldMk cId="3850125703" sldId="622"/>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5:18.268" v="607" actId="20577"/>
          <ac:spMkLst>
            <pc:docMk/>
            <pc:sldMk cId="3850125703" sldId="622"/>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06:01.551" v="613" actId="14100"/>
          <ac:spMkLst>
            <pc:docMk/>
            <pc:sldMk cId="3850125703" sldId="622"/>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7:01.538" v="621" actId="14100"/>
          <ac:spMkLst>
            <pc:docMk/>
            <pc:sldMk cId="3850125703" sldId="622"/>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07:36.039" v="627" actId="20577"/>
          <ac:spMkLst>
            <pc:docMk/>
            <pc:sldMk cId="3850125703" sldId="622"/>
            <ac:spMk id="49" creationId="{00000000-0000-0000-0000-000000000000}"/>
          </ac:spMkLst>
        </pc:spChg>
        <pc:spChg chg="mod">
          <ac:chgData name="Caldarelli, Leslie" userId="S::lcaldarelli_luriechildrens.org#ext#@nuwildcat.onmicrosoft.com::cd79b54d-c14e-4199-a04a-39c6f592e710" providerId="AD" clId="Web-{BC047B72-8F18-01C2-FA60-A38A99380270}" dt="2023-10-31T04:05:09.783" v="606" actId="20577"/>
          <ac:spMkLst>
            <pc:docMk/>
            <pc:sldMk cId="3850125703" sldId="622"/>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9.378" v="660" actId="20577"/>
        <pc:sldMkLst>
          <pc:docMk/>
          <pc:sldMk cId="2561278274" sldId="630"/>
        </pc:sldMkLst>
        <pc:spChg chg="mod">
          <ac:chgData name="Caldarelli, Leslie" userId="S::lcaldarelli_luriechildrens.org#ext#@nuwildcat.onmicrosoft.com::cd79b54d-c14e-4199-a04a-39c6f592e710" providerId="AD" clId="Web-{BC047B72-8F18-01C2-FA60-A38A99380270}" dt="2023-10-31T04:12:39.378" v="660" actId="20577"/>
          <ac:spMkLst>
            <pc:docMk/>
            <pc:sldMk cId="2561278274" sldId="630"/>
            <ac:spMk id="2" creationId="{A6FAA70D-3B97-AAF4-599A-5BEF539C23CA}"/>
          </ac:spMkLst>
        </pc:spChg>
      </pc:sldChg>
      <pc:sldChg chg="modSp">
        <pc:chgData name="Caldarelli, Leslie" userId="S::lcaldarelli_luriechildrens.org#ext#@nuwildcat.onmicrosoft.com::cd79b54d-c14e-4199-a04a-39c6f592e710" providerId="AD" clId="Web-{BC047B72-8F18-01C2-FA60-A38A99380270}" dt="2023-10-31T02:10:33.222" v="37" actId="1076"/>
        <pc:sldMkLst>
          <pc:docMk/>
          <pc:sldMk cId="1271905251" sldId="637"/>
        </pc:sldMkLst>
        <pc:spChg chg="mod">
          <ac:chgData name="Caldarelli, Leslie" userId="S::lcaldarelli_luriechildrens.org#ext#@nuwildcat.onmicrosoft.com::cd79b54d-c14e-4199-a04a-39c6f592e710" providerId="AD" clId="Web-{BC047B72-8F18-01C2-FA60-A38A99380270}" dt="2023-10-31T02:09:45.315" v="27" actId="20577"/>
          <ac:spMkLst>
            <pc:docMk/>
            <pc:sldMk cId="1271905251" sldId="637"/>
            <ac:spMk id="2" creationId="{AB9D5AD0-4A67-B828-DEC5-1146004A7755}"/>
          </ac:spMkLst>
        </pc:spChg>
        <pc:spChg chg="mod">
          <ac:chgData name="Caldarelli, Leslie" userId="S::lcaldarelli_luriechildrens.org#ext#@nuwildcat.onmicrosoft.com::cd79b54d-c14e-4199-a04a-39c6f592e710" providerId="AD" clId="Web-{BC047B72-8F18-01C2-FA60-A38A99380270}" dt="2023-10-31T02:10:33.222" v="37" actId="1076"/>
          <ac:spMkLst>
            <pc:docMk/>
            <pc:sldMk cId="1271905251" sldId="637"/>
            <ac:spMk id="3" creationId="{38BD8A99-C590-643F-CF50-2EEC68347C9C}"/>
          </ac:spMkLst>
        </pc:spChg>
      </pc:sldChg>
      <pc:sldChg chg="modSp">
        <pc:chgData name="Caldarelli, Leslie" userId="S::lcaldarelli_luriechildrens.org#ext#@nuwildcat.onmicrosoft.com::cd79b54d-c14e-4199-a04a-39c6f592e710" providerId="AD" clId="Web-{BC047B72-8F18-01C2-FA60-A38A99380270}" dt="2023-10-31T02:09:36.752" v="26" actId="14100"/>
        <pc:sldMkLst>
          <pc:docMk/>
          <pc:sldMk cId="2890705621" sldId="638"/>
        </pc:sldMkLst>
        <pc:spChg chg="mod">
          <ac:chgData name="Caldarelli, Leslie" userId="S::lcaldarelli_luriechildrens.org#ext#@nuwildcat.onmicrosoft.com::cd79b54d-c14e-4199-a04a-39c6f592e710" providerId="AD" clId="Web-{BC047B72-8F18-01C2-FA60-A38A99380270}" dt="2023-10-31T02:09:29.017" v="25" actId="14100"/>
          <ac:spMkLst>
            <pc:docMk/>
            <pc:sldMk cId="2890705621" sldId="638"/>
            <ac:spMk id="2" creationId="{C5D6A446-3EAF-1D26-0881-09F641FA1071}"/>
          </ac:spMkLst>
        </pc:spChg>
        <pc:spChg chg="mod">
          <ac:chgData name="Caldarelli, Leslie" userId="S::lcaldarelli_luriechildrens.org#ext#@nuwildcat.onmicrosoft.com::cd79b54d-c14e-4199-a04a-39c6f592e710" providerId="AD" clId="Web-{BC047B72-8F18-01C2-FA60-A38A99380270}" dt="2023-10-31T02:09:36.752" v="26" actId="14100"/>
          <ac:spMkLst>
            <pc:docMk/>
            <pc:sldMk cId="2890705621" sldId="638"/>
            <ac:spMk id="3" creationId="{11D1B208-3BF0-EBC8-BF8D-1C8378DBC20F}"/>
          </ac:spMkLst>
        </pc:spChg>
      </pc:sldChg>
      <pc:sldChg chg="modSp ord modNotes">
        <pc:chgData name="Caldarelli, Leslie" userId="S::lcaldarelli_luriechildrens.org#ext#@nuwildcat.onmicrosoft.com::cd79b54d-c14e-4199-a04a-39c6f592e710" providerId="AD" clId="Web-{BC047B72-8F18-01C2-FA60-A38A99380270}" dt="2023-10-31T04:04:35.079" v="599" actId="20577"/>
        <pc:sldMkLst>
          <pc:docMk/>
          <pc:sldMk cId="113281680" sldId="642"/>
        </pc:sldMkLst>
        <pc:spChg chg="mod">
          <ac:chgData name="Caldarelli, Leslie" userId="S::lcaldarelli_luriechildrens.org#ext#@nuwildcat.onmicrosoft.com::cd79b54d-c14e-4199-a04a-39c6f592e710" providerId="AD" clId="Web-{BC047B72-8F18-01C2-FA60-A38A99380270}" dt="2023-10-31T04:02:23.949" v="538" actId="20577"/>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BC047B72-8F18-01C2-FA60-A38A99380270}" dt="2023-10-31T04:04:35.079" v="599" actId="20577"/>
          <ac:spMkLst>
            <pc:docMk/>
            <pc:sldMk cId="113281680" sldId="642"/>
            <ac:spMk id="3" creationId="{9038DB7D-70BC-F3BC-5E8D-8CFC7F509BED}"/>
          </ac:spMkLst>
        </pc:spChg>
      </pc:sldChg>
      <pc:sldChg chg="modSp">
        <pc:chgData name="Caldarelli, Leslie" userId="S::lcaldarelli_luriechildrens.org#ext#@nuwildcat.onmicrosoft.com::cd79b54d-c14e-4199-a04a-39c6f592e710" providerId="AD" clId="Web-{BC047B72-8F18-01C2-FA60-A38A99380270}" dt="2023-10-31T04:33:13.252" v="935" actId="20577"/>
        <pc:sldMkLst>
          <pc:docMk/>
          <pc:sldMk cId="2443892533" sldId="643"/>
        </pc:sldMkLst>
        <pc:spChg chg="mod">
          <ac:chgData name="Caldarelli, Leslie" userId="S::lcaldarelli_luriechildrens.org#ext#@nuwildcat.onmicrosoft.com::cd79b54d-c14e-4199-a04a-39c6f592e710" providerId="AD" clId="Web-{BC047B72-8F18-01C2-FA60-A38A99380270}" dt="2023-10-31T04:33:03.955" v="913"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BC047B72-8F18-01C2-FA60-A38A99380270}" dt="2023-10-31T04:33:13.252" v="935" actId="20577"/>
          <ac:spMkLst>
            <pc:docMk/>
            <pc:sldMk cId="2443892533" sldId="643"/>
            <ac:spMk id="10" creationId="{F7DE78CF-32A6-61A0-EEC5-F837E089D3A4}"/>
          </ac:spMkLst>
        </pc:spChg>
      </pc:sldChg>
    </pc:docChg>
  </pc:docChgLst>
  <pc:docChgLst>
    <pc:chgData name="Aleena Lida Surenian" userId="S::als0813@ads.northwestern.edu::e2fd0e4e-6417-49b0-ab16-0ba26a1719f0" providerId="AD" clId="Web-{5DE63E3B-4DFC-BF24-AF99-6382A4D106A3}"/>
    <pc:docChg chg="modSld">
      <pc:chgData name="Aleena Lida Surenian" userId="S::als0813@ads.northwestern.edu::e2fd0e4e-6417-49b0-ab16-0ba26a1719f0" providerId="AD" clId="Web-{5DE63E3B-4DFC-BF24-AF99-6382A4D106A3}" dt="2023-11-10T15:45:51.115" v="4"/>
      <pc:docMkLst>
        <pc:docMk/>
      </pc:docMkLst>
      <pc:sldChg chg="delSp modSp">
        <pc:chgData name="Aleena Lida Surenian" userId="S::als0813@ads.northwestern.edu::e2fd0e4e-6417-49b0-ab16-0ba26a1719f0" providerId="AD" clId="Web-{5DE63E3B-4DFC-BF24-AF99-6382A4D106A3}" dt="2023-11-10T15:44:23.895" v="1"/>
        <pc:sldMkLst>
          <pc:docMk/>
          <pc:sldMk cId="3127921386" sldId="280"/>
        </pc:sldMkLst>
        <pc:spChg chg="mod">
          <ac:chgData name="Aleena Lida Surenian" userId="S::als0813@ads.northwestern.edu::e2fd0e4e-6417-49b0-ab16-0ba26a1719f0" providerId="AD" clId="Web-{5DE63E3B-4DFC-BF24-AF99-6382A4D106A3}" dt="2023-11-10T15:44:23.645" v="0" actId="20577"/>
          <ac:spMkLst>
            <pc:docMk/>
            <pc:sldMk cId="3127921386" sldId="280"/>
            <ac:spMk id="9" creationId="{7F20A429-9947-F447-2DF2-A5C17B5C6EC1}"/>
          </ac:spMkLst>
        </pc:spChg>
        <pc:picChg chg="del">
          <ac:chgData name="Aleena Lida Surenian" userId="S::als0813@ads.northwestern.edu::e2fd0e4e-6417-49b0-ab16-0ba26a1719f0" providerId="AD" clId="Web-{5DE63E3B-4DFC-BF24-AF99-6382A4D106A3}" dt="2023-11-10T15:44:23.895" v="1"/>
          <ac:picMkLst>
            <pc:docMk/>
            <pc:sldMk cId="3127921386" sldId="280"/>
            <ac:picMk id="2" creationId="{0D7C69D0-240C-8322-D521-66F461EE341B}"/>
          </ac:picMkLst>
        </pc:picChg>
      </pc:sldChg>
      <pc:sldChg chg="delSp">
        <pc:chgData name="Aleena Lida Surenian" userId="S::als0813@ads.northwestern.edu::e2fd0e4e-6417-49b0-ab16-0ba26a1719f0" providerId="AD" clId="Web-{5DE63E3B-4DFC-BF24-AF99-6382A4D106A3}" dt="2023-11-10T15:45:22.318" v="2"/>
        <pc:sldMkLst>
          <pc:docMk/>
          <pc:sldMk cId="3635595752" sldId="545"/>
        </pc:sldMkLst>
        <pc:picChg chg="del">
          <ac:chgData name="Aleena Lida Surenian" userId="S::als0813@ads.northwestern.edu::e2fd0e4e-6417-49b0-ab16-0ba26a1719f0" providerId="AD" clId="Web-{5DE63E3B-4DFC-BF24-AF99-6382A4D106A3}" dt="2023-11-10T15:45:22.318" v="2"/>
          <ac:picMkLst>
            <pc:docMk/>
            <pc:sldMk cId="3635595752" sldId="545"/>
            <ac:picMk id="4" creationId="{6982FC6C-870A-2D17-4241-681C88EEE4A9}"/>
          </ac:picMkLst>
        </pc:picChg>
      </pc:sldChg>
      <pc:sldChg chg="delSp modSp">
        <pc:chgData name="Aleena Lida Surenian" userId="S::als0813@ads.northwestern.edu::e2fd0e4e-6417-49b0-ab16-0ba26a1719f0" providerId="AD" clId="Web-{5DE63E3B-4DFC-BF24-AF99-6382A4D106A3}" dt="2023-11-10T15:45:51.115" v="4"/>
        <pc:sldMkLst>
          <pc:docMk/>
          <pc:sldMk cId="2443892533" sldId="643"/>
        </pc:sldMkLst>
        <pc:spChg chg="mod">
          <ac:chgData name="Aleena Lida Surenian" userId="S::als0813@ads.northwestern.edu::e2fd0e4e-6417-49b0-ab16-0ba26a1719f0" providerId="AD" clId="Web-{5DE63E3B-4DFC-BF24-AF99-6382A4D106A3}" dt="2023-11-10T15:45:50.381" v="3" actId="20577"/>
          <ac:spMkLst>
            <pc:docMk/>
            <pc:sldMk cId="2443892533" sldId="643"/>
            <ac:spMk id="3" creationId="{E7ECD19B-85BC-6652-2856-676802964CFA}"/>
          </ac:spMkLst>
        </pc:spChg>
        <pc:picChg chg="del">
          <ac:chgData name="Aleena Lida Surenian" userId="S::als0813@ads.northwestern.edu::e2fd0e4e-6417-49b0-ab16-0ba26a1719f0" providerId="AD" clId="Web-{5DE63E3B-4DFC-BF24-AF99-6382A4D106A3}" dt="2023-11-10T15:45:51.115" v="4"/>
          <ac:picMkLst>
            <pc:docMk/>
            <pc:sldMk cId="2443892533" sldId="643"/>
            <ac:picMk id="9" creationId="{EBD31F80-F4AE-0A76-9CD2-E23AD71C79DA}"/>
          </ac:picMkLst>
        </pc:picChg>
      </pc:sldChg>
    </pc:docChg>
  </pc:docChgLst>
  <pc:docChgLst>
    <pc:chgData name="Alana Rivera" userId="S::arg3669@ads.northwestern.edu::fc8b707a-b7e9-4f2a-8d71-2d76819b7881" providerId="AD" clId="Web-{64CA3CFC-DFB9-4EB2-185A-94BBCF197F69}"/>
    <pc:docChg chg="addSld modSld sldOrd">
      <pc:chgData name="Alana Rivera" userId="S::arg3669@ads.northwestern.edu::fc8b707a-b7e9-4f2a-8d71-2d76819b7881" providerId="AD" clId="Web-{64CA3CFC-DFB9-4EB2-185A-94BBCF197F69}" dt="2023-10-31T18:53:06.815" v="72"/>
      <pc:docMkLst>
        <pc:docMk/>
      </pc:docMkLst>
      <pc:sldChg chg="ord">
        <pc:chgData name="Alana Rivera" userId="S::arg3669@ads.northwestern.edu::fc8b707a-b7e9-4f2a-8d71-2d76819b7881" providerId="AD" clId="Web-{64CA3CFC-DFB9-4EB2-185A-94BBCF197F69}" dt="2023-10-31T18:53:06.815" v="72"/>
        <pc:sldMkLst>
          <pc:docMk/>
          <pc:sldMk cId="3127921386" sldId="280"/>
        </pc:sldMkLst>
      </pc:sldChg>
      <pc:sldChg chg="modNotes">
        <pc:chgData name="Alana Rivera" userId="S::arg3669@ads.northwestern.edu::fc8b707a-b7e9-4f2a-8d71-2d76819b7881" providerId="AD" clId="Web-{64CA3CFC-DFB9-4EB2-185A-94BBCF197F69}" dt="2023-10-31T18:45:22.517" v="8"/>
        <pc:sldMkLst>
          <pc:docMk/>
          <pc:sldMk cId="3067427377" sldId="560"/>
        </pc:sldMkLst>
      </pc:sldChg>
      <pc:sldChg chg="modSp">
        <pc:chgData name="Alana Rivera" userId="S::arg3669@ads.northwestern.edu::fc8b707a-b7e9-4f2a-8d71-2d76819b7881" providerId="AD" clId="Web-{64CA3CFC-DFB9-4EB2-185A-94BBCF197F69}" dt="2023-10-31T18:43:53.855" v="2"/>
        <pc:sldMkLst>
          <pc:docMk/>
          <pc:sldMk cId="3030449316" sldId="579"/>
        </pc:sldMkLst>
        <pc:spChg chg="mod">
          <ac:chgData name="Alana Rivera" userId="S::arg3669@ads.northwestern.edu::fc8b707a-b7e9-4f2a-8d71-2d76819b7881" providerId="AD" clId="Web-{64CA3CFC-DFB9-4EB2-185A-94BBCF197F69}" dt="2023-10-31T18:43:53.855" v="2"/>
          <ac:spMkLst>
            <pc:docMk/>
            <pc:sldMk cId="3030449316" sldId="579"/>
            <ac:spMk id="44" creationId="{00000000-0000-0000-0000-000000000000}"/>
          </ac:spMkLst>
        </pc:spChg>
        <pc:spChg chg="mod">
          <ac:chgData name="Alana Rivera" userId="S::arg3669@ads.northwestern.edu::fc8b707a-b7e9-4f2a-8d71-2d76819b7881" providerId="AD" clId="Web-{64CA3CFC-DFB9-4EB2-185A-94BBCF197F69}" dt="2023-10-31T18:43:35.901" v="1" actId="1076"/>
          <ac:spMkLst>
            <pc:docMk/>
            <pc:sldMk cId="3030449316" sldId="579"/>
            <ac:spMk id="46" creationId="{00000000-0000-0000-0000-000000000000}"/>
          </ac:spMkLst>
        </pc:spChg>
      </pc:sldChg>
      <pc:sldChg chg="modSp modNotes">
        <pc:chgData name="Alana Rivera" userId="S::arg3669@ads.northwestern.edu::fc8b707a-b7e9-4f2a-8d71-2d76819b7881" providerId="AD" clId="Web-{64CA3CFC-DFB9-4EB2-185A-94BBCF197F69}" dt="2023-10-31T18:44:53.640" v="7"/>
        <pc:sldMkLst>
          <pc:docMk/>
          <pc:sldMk cId="3809547791" sldId="586"/>
        </pc:sldMkLst>
        <pc:spChg chg="mod">
          <ac:chgData name="Alana Rivera" userId="S::arg3669@ads.northwestern.edu::fc8b707a-b7e9-4f2a-8d71-2d76819b7881" providerId="AD" clId="Web-{64CA3CFC-DFB9-4EB2-185A-94BBCF197F69}" dt="2023-10-31T18:44:42.343" v="6" actId="1076"/>
          <ac:spMkLst>
            <pc:docMk/>
            <pc:sldMk cId="3809547791" sldId="586"/>
            <ac:spMk id="39" creationId="{00000000-0000-0000-0000-000000000000}"/>
          </ac:spMkLst>
        </pc:spChg>
        <pc:grpChg chg="mod">
          <ac:chgData name="Alana Rivera" userId="S::arg3669@ads.northwestern.edu::fc8b707a-b7e9-4f2a-8d71-2d76819b7881" providerId="AD" clId="Web-{64CA3CFC-DFB9-4EB2-185A-94BBCF197F69}" dt="2023-10-31T18:44:27.482" v="5" actId="14100"/>
          <ac:grpSpMkLst>
            <pc:docMk/>
            <pc:sldMk cId="3809547791" sldId="586"/>
            <ac:grpSpMk id="20" creationId="{00000000-0000-0000-0000-000000000000}"/>
          </ac:grpSpMkLst>
        </pc:grpChg>
      </pc:sldChg>
      <pc:sldChg chg="modNotes">
        <pc:chgData name="Alana Rivera" userId="S::arg3669@ads.northwestern.edu::fc8b707a-b7e9-4f2a-8d71-2d76819b7881" providerId="AD" clId="Web-{64CA3CFC-DFB9-4EB2-185A-94BBCF197F69}" dt="2023-10-31T18:41:46.987" v="0"/>
        <pc:sldMkLst>
          <pc:docMk/>
          <pc:sldMk cId="629433230" sldId="591"/>
        </pc:sldMkLst>
      </pc:sldChg>
      <pc:sldChg chg="modNotes">
        <pc:chgData name="Alana Rivera" userId="S::arg3669@ads.northwestern.edu::fc8b707a-b7e9-4f2a-8d71-2d76819b7881" providerId="AD" clId="Web-{64CA3CFC-DFB9-4EB2-185A-94BBCF197F69}" dt="2023-10-31T18:46:56.883" v="66"/>
        <pc:sldMkLst>
          <pc:docMk/>
          <pc:sldMk cId="2443892533" sldId="643"/>
        </pc:sldMkLst>
      </pc:sldChg>
      <pc:sldChg chg="ord">
        <pc:chgData name="Alana Rivera" userId="S::arg3669@ads.northwestern.edu::fc8b707a-b7e9-4f2a-8d71-2d76819b7881" providerId="AD" clId="Web-{64CA3CFC-DFB9-4EB2-185A-94BBCF197F69}" dt="2023-10-31T18:52:01.904" v="70"/>
        <pc:sldMkLst>
          <pc:docMk/>
          <pc:sldMk cId="641611787" sldId="648"/>
        </pc:sldMkLst>
      </pc:sldChg>
      <pc:sldChg chg="new ord">
        <pc:chgData name="Alana Rivera" userId="S::arg3669@ads.northwestern.edu::fc8b707a-b7e9-4f2a-8d71-2d76819b7881" providerId="AD" clId="Web-{64CA3CFC-DFB9-4EB2-185A-94BBCF197F69}" dt="2023-10-31T18:49:12.533" v="68"/>
        <pc:sldMkLst>
          <pc:docMk/>
          <pc:sldMk cId="1112761221" sldId="649"/>
        </pc:sldMkLst>
      </pc:sldChg>
    </pc:docChg>
  </pc:docChgLst>
  <pc:docChgLst>
    <pc:chgData name="Alana Rivera" userId="S::arg3669@ads.northwestern.edu::fc8b707a-b7e9-4f2a-8d71-2d76819b7881" providerId="AD" clId="Web-{300BD813-CD9C-8649-0637-C0ACE24151DD}"/>
    <pc:docChg chg="addSld delSld modSld sldOrd">
      <pc:chgData name="Alana Rivera" userId="S::arg3669@ads.northwestern.edu::fc8b707a-b7e9-4f2a-8d71-2d76819b7881" providerId="AD" clId="Web-{300BD813-CD9C-8649-0637-C0ACE24151DD}" dt="2023-10-26T17:23:46.185" v="32" actId="20577"/>
      <pc:docMkLst>
        <pc:docMk/>
      </pc:docMkLst>
      <pc:sldChg chg="del">
        <pc:chgData name="Alana Rivera" userId="S::arg3669@ads.northwestern.edu::fc8b707a-b7e9-4f2a-8d71-2d76819b7881" providerId="AD" clId="Web-{300BD813-CD9C-8649-0637-C0ACE24151DD}" dt="2023-10-26T17:18:35.956" v="18"/>
        <pc:sldMkLst>
          <pc:docMk/>
          <pc:sldMk cId="2997078466" sldId="557"/>
        </pc:sldMkLst>
      </pc:sldChg>
      <pc:sldChg chg="add del ord">
        <pc:chgData name="Alana Rivera" userId="S::arg3669@ads.northwestern.edu::fc8b707a-b7e9-4f2a-8d71-2d76819b7881" providerId="AD" clId="Web-{300BD813-CD9C-8649-0637-C0ACE24151DD}" dt="2023-10-26T17:21:29.055" v="25"/>
        <pc:sldMkLst>
          <pc:docMk/>
          <pc:sldMk cId="2564870475" sldId="566"/>
        </pc:sldMkLst>
      </pc:sldChg>
      <pc:sldChg chg="add del ord">
        <pc:chgData name="Alana Rivera" userId="S::arg3669@ads.northwestern.edu::fc8b707a-b7e9-4f2a-8d71-2d76819b7881" providerId="AD" clId="Web-{300BD813-CD9C-8649-0637-C0ACE24151DD}" dt="2023-10-26T17:21:29.055" v="24"/>
        <pc:sldMkLst>
          <pc:docMk/>
          <pc:sldMk cId="3419957415" sldId="577"/>
        </pc:sldMkLst>
      </pc:sldChg>
      <pc:sldChg chg="add">
        <pc:chgData name="Alana Rivera" userId="S::arg3669@ads.northwestern.edu::fc8b707a-b7e9-4f2a-8d71-2d76819b7881" providerId="AD" clId="Web-{300BD813-CD9C-8649-0637-C0ACE24151DD}" dt="2023-10-26T17:04:53.337" v="0"/>
        <pc:sldMkLst>
          <pc:docMk/>
          <pc:sldMk cId="785115983" sldId="578"/>
        </pc:sldMkLst>
      </pc:sldChg>
      <pc:sldChg chg="add">
        <pc:chgData name="Alana Rivera" userId="S::arg3669@ads.northwestern.edu::fc8b707a-b7e9-4f2a-8d71-2d76819b7881" providerId="AD" clId="Web-{300BD813-CD9C-8649-0637-C0ACE24151DD}" dt="2023-10-26T17:04:54.196" v="1"/>
        <pc:sldMkLst>
          <pc:docMk/>
          <pc:sldMk cId="3030449316" sldId="579"/>
        </pc:sldMkLst>
      </pc:sldChg>
      <pc:sldChg chg="add">
        <pc:chgData name="Alana Rivera" userId="S::arg3669@ads.northwestern.edu::fc8b707a-b7e9-4f2a-8d71-2d76819b7881" providerId="AD" clId="Web-{300BD813-CD9C-8649-0637-C0ACE24151DD}" dt="2023-10-26T17:04:56.431" v="2"/>
        <pc:sldMkLst>
          <pc:docMk/>
          <pc:sldMk cId="4283907660" sldId="580"/>
        </pc:sldMkLst>
      </pc:sldChg>
      <pc:sldChg chg="add">
        <pc:chgData name="Alana Rivera" userId="S::arg3669@ads.northwestern.edu::fc8b707a-b7e9-4f2a-8d71-2d76819b7881" providerId="AD" clId="Web-{300BD813-CD9C-8649-0637-C0ACE24151DD}" dt="2023-10-26T17:04:59.978" v="3"/>
        <pc:sldMkLst>
          <pc:docMk/>
          <pc:sldMk cId="3429940818" sldId="581"/>
        </pc:sldMkLst>
      </pc:sldChg>
      <pc:sldChg chg="add">
        <pc:chgData name="Alana Rivera" userId="S::arg3669@ads.northwestern.edu::fc8b707a-b7e9-4f2a-8d71-2d76819b7881" providerId="AD" clId="Web-{300BD813-CD9C-8649-0637-C0ACE24151DD}" dt="2023-10-26T17:05:01.665" v="4"/>
        <pc:sldMkLst>
          <pc:docMk/>
          <pc:sldMk cId="4156128006" sldId="582"/>
        </pc:sldMkLst>
      </pc:sldChg>
      <pc:sldChg chg="modSp add">
        <pc:chgData name="Alana Rivera" userId="S::arg3669@ads.northwestern.edu::fc8b707a-b7e9-4f2a-8d71-2d76819b7881" providerId="AD" clId="Web-{300BD813-CD9C-8649-0637-C0ACE24151DD}" dt="2023-10-26T17:23:46.185" v="32" actId="20577"/>
        <pc:sldMkLst>
          <pc:docMk/>
          <pc:sldMk cId="3870927286" sldId="583"/>
        </pc:sldMkLst>
        <pc:spChg chg="mod">
          <ac:chgData name="Alana Rivera" userId="S::arg3669@ads.northwestern.edu::fc8b707a-b7e9-4f2a-8d71-2d76819b7881" providerId="AD" clId="Web-{300BD813-CD9C-8649-0637-C0ACE24151DD}" dt="2023-10-26T17:23:46.185" v="32" actId="20577"/>
          <ac:spMkLst>
            <pc:docMk/>
            <pc:sldMk cId="3870927286" sldId="583"/>
            <ac:spMk id="2" creationId="{00000000-0000-0000-0000-000000000000}"/>
          </ac:spMkLst>
        </pc:spChg>
        <pc:spChg chg="mod">
          <ac:chgData name="Alana Rivera" userId="S::arg3669@ads.northwestern.edu::fc8b707a-b7e9-4f2a-8d71-2d76819b7881" providerId="AD" clId="Web-{300BD813-CD9C-8649-0637-C0ACE24151DD}" dt="2023-10-26T17:18:03.096" v="14" actId="14100"/>
          <ac:spMkLst>
            <pc:docMk/>
            <pc:sldMk cId="3870927286" sldId="583"/>
            <ac:spMk id="13" creationId="{00000000-0000-0000-0000-000000000000}"/>
          </ac:spMkLst>
        </pc:spChg>
        <pc:spChg chg="mod">
          <ac:chgData name="Alana Rivera" userId="S::arg3669@ads.northwestern.edu::fc8b707a-b7e9-4f2a-8d71-2d76819b7881" providerId="AD" clId="Web-{300BD813-CD9C-8649-0637-C0ACE24151DD}" dt="2023-10-26T17:18:12.878" v="15" actId="1076"/>
          <ac:spMkLst>
            <pc:docMk/>
            <pc:sldMk cId="3870927286" sldId="583"/>
            <ac:spMk id="40" creationId="{00000000-0000-0000-0000-000000000000}"/>
          </ac:spMkLst>
        </pc:spChg>
        <pc:grpChg chg="mod">
          <ac:chgData name="Alana Rivera" userId="S::arg3669@ads.northwestern.edu::fc8b707a-b7e9-4f2a-8d71-2d76819b7881" providerId="AD" clId="Web-{300BD813-CD9C-8649-0637-C0ACE24151DD}" dt="2023-10-26T17:18:02.987" v="13" actId="14100"/>
          <ac:grpSpMkLst>
            <pc:docMk/>
            <pc:sldMk cId="3870927286" sldId="583"/>
            <ac:grpSpMk id="6" creationId="{00000000-0000-0000-0000-000000000000}"/>
          </ac:grpSpMkLst>
        </pc:grpChg>
        <pc:grpChg chg="mod">
          <ac:chgData name="Alana Rivera" userId="S::arg3669@ads.northwestern.edu::fc8b707a-b7e9-4f2a-8d71-2d76819b7881" providerId="AD" clId="Web-{300BD813-CD9C-8649-0637-C0ACE24151DD}" dt="2023-10-26T17:18:22.550" v="17" actId="14100"/>
          <ac:grpSpMkLst>
            <pc:docMk/>
            <pc:sldMk cId="3870927286" sldId="583"/>
            <ac:grpSpMk id="15" creationId="{00000000-0000-0000-0000-000000000000}"/>
          </ac:grpSpMkLst>
        </pc:grpChg>
        <pc:grpChg chg="mod">
          <ac:chgData name="Alana Rivera" userId="S::arg3669@ads.northwestern.edu::fc8b707a-b7e9-4f2a-8d71-2d76819b7881" providerId="AD" clId="Web-{300BD813-CD9C-8649-0637-C0ACE24151DD}" dt="2023-10-26T17:17:40.751" v="10" actId="14100"/>
          <ac:grpSpMkLst>
            <pc:docMk/>
            <pc:sldMk cId="3870927286" sldId="583"/>
            <ac:grpSpMk id="33" creationId="{00000000-0000-0000-0000-000000000000}"/>
          </ac:grpSpMkLst>
        </pc:grpChg>
      </pc:sldChg>
      <pc:sldChg chg="add">
        <pc:chgData name="Alana Rivera" userId="S::arg3669@ads.northwestern.edu::fc8b707a-b7e9-4f2a-8d71-2d76819b7881" providerId="AD" clId="Web-{300BD813-CD9C-8649-0637-C0ACE24151DD}" dt="2023-10-26T17:18:48.004" v="19"/>
        <pc:sldMkLst>
          <pc:docMk/>
          <pc:sldMk cId="3573947264" sldId="584"/>
        </pc:sldMkLst>
      </pc:sldChg>
    </pc:docChg>
  </pc:docChgLst>
  <pc:docChgLst>
    <pc:chgData name="Eileen Fleming Suse" userId="S::efs3844@ads.northwestern.edu::725c94ef-d051-42d7-9d33-8572765d592b" providerId="AD" clId="Web-{11980D98-74D1-71E7-E86A-19E64303BD27}"/>
    <pc:docChg chg="modSld sldOrd">
      <pc:chgData name="Eileen Fleming Suse" userId="S::efs3844@ads.northwestern.edu::725c94ef-d051-42d7-9d33-8572765d592b" providerId="AD" clId="Web-{11980D98-74D1-71E7-E86A-19E64303BD27}" dt="2023-10-30T16:12:53.918" v="90" actId="1076"/>
      <pc:docMkLst>
        <pc:docMk/>
      </pc:docMkLst>
      <pc:sldChg chg="delSp modSp">
        <pc:chgData name="Eileen Fleming Suse" userId="S::efs3844@ads.northwestern.edu::725c94ef-d051-42d7-9d33-8572765d592b" providerId="AD" clId="Web-{11980D98-74D1-71E7-E86A-19E64303BD27}" dt="2023-10-30T15:54:09.163" v="65" actId="1076"/>
        <pc:sldMkLst>
          <pc:docMk/>
          <pc:sldMk cId="3472964082" sldId="550"/>
        </pc:sldMkLst>
        <pc:spChg chg="mod">
          <ac:chgData name="Eileen Fleming Suse" userId="S::efs3844@ads.northwestern.edu::725c94ef-d051-42d7-9d33-8572765d592b" providerId="AD" clId="Web-{11980D98-74D1-71E7-E86A-19E64303BD27}" dt="2023-10-30T15:52:44.895" v="41" actId="20577"/>
          <ac:spMkLst>
            <pc:docMk/>
            <pc:sldMk cId="3472964082" sldId="550"/>
            <ac:spMk id="20" creationId="{00000000-0000-0000-0000-000000000000}"/>
          </ac:spMkLst>
        </pc:spChg>
        <pc:spChg chg="mod">
          <ac:chgData name="Eileen Fleming Suse" userId="S::efs3844@ads.northwestern.edu::725c94ef-d051-42d7-9d33-8572765d592b" providerId="AD" clId="Web-{11980D98-74D1-71E7-E86A-19E64303BD27}" dt="2023-10-30T15:54:09.163" v="65" actId="1076"/>
          <ac:spMkLst>
            <pc:docMk/>
            <pc:sldMk cId="3472964082" sldId="550"/>
            <ac:spMk id="23" creationId="{00000000-0000-0000-0000-000000000000}"/>
          </ac:spMkLst>
        </pc:spChg>
        <pc:spChg chg="mod">
          <ac:chgData name="Eileen Fleming Suse" userId="S::efs3844@ads.northwestern.edu::725c94ef-d051-42d7-9d33-8572765d592b" providerId="AD" clId="Web-{11980D98-74D1-71E7-E86A-19E64303BD27}" dt="2023-10-30T15:53:06.724" v="46"/>
          <ac:spMkLst>
            <pc:docMk/>
            <pc:sldMk cId="3472964082" sldId="550"/>
            <ac:spMk id="31" creationId="{00000000-0000-0000-0000-000000000000}"/>
          </ac:spMkLst>
        </pc:spChg>
        <pc:spChg chg="del">
          <ac:chgData name="Eileen Fleming Suse" userId="S::efs3844@ads.northwestern.edu::725c94ef-d051-42d7-9d33-8572765d592b" providerId="AD" clId="Web-{11980D98-74D1-71E7-E86A-19E64303BD27}" dt="2023-10-30T15:50:43.361" v="19"/>
          <ac:spMkLst>
            <pc:docMk/>
            <pc:sldMk cId="3472964082" sldId="550"/>
            <ac:spMk id="32" creationId="{00000000-0000-0000-0000-000000000000}"/>
          </ac:spMkLst>
        </pc:spChg>
        <pc:spChg chg="mod">
          <ac:chgData name="Eileen Fleming Suse" userId="S::efs3844@ads.northwestern.edu::725c94ef-d051-42d7-9d33-8572765d592b" providerId="AD" clId="Web-{11980D98-74D1-71E7-E86A-19E64303BD27}" dt="2023-10-30T15:53:06.084" v="42" actId="1076"/>
          <ac:spMkLst>
            <pc:docMk/>
            <pc:sldMk cId="3472964082" sldId="550"/>
            <ac:spMk id="51" creationId="{00000000-0000-0000-0000-000000000000}"/>
          </ac:spMkLst>
        </pc:spChg>
        <pc:spChg chg="mod">
          <ac:chgData name="Eileen Fleming Suse" userId="S::efs3844@ads.northwestern.edu::725c94ef-d051-42d7-9d33-8572765d592b" providerId="AD" clId="Web-{11980D98-74D1-71E7-E86A-19E64303BD27}" dt="2023-10-30T15:54:07.460" v="64" actId="1076"/>
          <ac:spMkLst>
            <pc:docMk/>
            <pc:sldMk cId="3472964082" sldId="550"/>
            <ac:spMk id="53" creationId="{00000000-0000-0000-0000-000000000000}"/>
          </ac:spMkLst>
        </pc:spChg>
        <pc:grpChg chg="mod">
          <ac:chgData name="Eileen Fleming Suse" userId="S::efs3844@ads.northwestern.edu::725c94ef-d051-42d7-9d33-8572765d592b" providerId="AD" clId="Web-{11980D98-74D1-71E7-E86A-19E64303BD27}" dt="2023-10-30T15:53:09.115" v="47" actId="1076"/>
          <ac:grpSpMkLst>
            <pc:docMk/>
            <pc:sldMk cId="3472964082" sldId="550"/>
            <ac:grpSpMk id="55" creationId="{00000000-0000-0000-0000-000000000000}"/>
          </ac:grpSpMkLst>
        </pc:grpChg>
      </pc:sldChg>
      <pc:sldChg chg="modSp ord">
        <pc:chgData name="Eileen Fleming Suse" userId="S::efs3844@ads.northwestern.edu::725c94ef-d051-42d7-9d33-8572765d592b" providerId="AD" clId="Web-{11980D98-74D1-71E7-E86A-19E64303BD27}" dt="2023-10-30T15:55:23.587" v="88" actId="14100"/>
        <pc:sldMkLst>
          <pc:docMk/>
          <pc:sldMk cId="2562283095" sldId="551"/>
        </pc:sldMkLst>
        <pc:spChg chg="mod">
          <ac:chgData name="Eileen Fleming Suse" userId="S::efs3844@ads.northwestern.edu::725c94ef-d051-42d7-9d33-8572765d592b" providerId="AD" clId="Web-{11980D98-74D1-71E7-E86A-19E64303BD27}" dt="2023-10-30T15:54:18.289" v="66" actId="20577"/>
          <ac:spMkLst>
            <pc:docMk/>
            <pc:sldMk cId="2562283095" sldId="551"/>
            <ac:spMk id="20" creationId="{00000000-0000-0000-0000-000000000000}"/>
          </ac:spMkLst>
        </pc:spChg>
        <pc:spChg chg="mod">
          <ac:chgData name="Eileen Fleming Suse" userId="S::efs3844@ads.northwestern.edu::725c94ef-d051-42d7-9d33-8572765d592b" providerId="AD" clId="Web-{11980D98-74D1-71E7-E86A-19E64303BD27}" dt="2023-10-30T15:54:40.430" v="72" actId="20577"/>
          <ac:spMkLst>
            <pc:docMk/>
            <pc:sldMk cId="2562283095" sldId="551"/>
            <ac:spMk id="23" creationId="{00000000-0000-0000-0000-000000000000}"/>
          </ac:spMkLst>
        </pc:spChg>
        <pc:spChg chg="mod">
          <ac:chgData name="Eileen Fleming Suse" userId="S::efs3844@ads.northwestern.edu::725c94ef-d051-42d7-9d33-8572765d592b" providerId="AD" clId="Web-{11980D98-74D1-71E7-E86A-19E64303BD27}" dt="2023-10-30T15:55:23.587" v="88" actId="14100"/>
          <ac:spMkLst>
            <pc:docMk/>
            <pc:sldMk cId="2562283095" sldId="551"/>
            <ac:spMk id="31" creationId="{00000000-0000-0000-0000-000000000000}"/>
          </ac:spMkLst>
        </pc:spChg>
        <pc:spChg chg="mod">
          <ac:chgData name="Eileen Fleming Suse" userId="S::efs3844@ads.northwestern.edu::725c94ef-d051-42d7-9d33-8572765d592b" providerId="AD" clId="Web-{11980D98-74D1-71E7-E86A-19E64303BD27}" dt="2023-10-30T15:54:28.242" v="69" actId="1076"/>
          <ac:spMkLst>
            <pc:docMk/>
            <pc:sldMk cId="2562283095" sldId="551"/>
            <ac:spMk id="51" creationId="{00000000-0000-0000-0000-000000000000}"/>
          </ac:spMkLst>
        </pc:spChg>
        <pc:spChg chg="mod">
          <ac:chgData name="Eileen Fleming Suse" userId="S::efs3844@ads.northwestern.edu::725c94ef-d051-42d7-9d33-8572765d592b" providerId="AD" clId="Web-{11980D98-74D1-71E7-E86A-19E64303BD27}" dt="2023-10-30T15:55:07.384" v="82"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11980D98-74D1-71E7-E86A-19E64303BD27}" dt="2023-10-30T16:12:53.918" v="90" actId="1076"/>
        <pc:sldMkLst>
          <pc:docMk/>
          <pc:sldMk cId="1141815353" sldId="562"/>
        </pc:sldMkLst>
        <pc:spChg chg="mod">
          <ac:chgData name="Eileen Fleming Suse" userId="S::efs3844@ads.northwestern.edu::725c94ef-d051-42d7-9d33-8572765d592b" providerId="AD" clId="Web-{11980D98-74D1-71E7-E86A-19E64303BD27}" dt="2023-10-30T16:12:53.918" v="90" actId="1076"/>
          <ac:spMkLst>
            <pc:docMk/>
            <pc:sldMk cId="1141815353" sldId="562"/>
            <ac:spMk id="13" creationId="{2FC08365-C48A-7DB8-BBA6-D9EB552FFD55}"/>
          </ac:spMkLst>
        </pc:spChg>
        <pc:graphicFrameChg chg="mod">
          <ac:chgData name="Eileen Fleming Suse" userId="S::efs3844@ads.northwestern.edu::725c94ef-d051-42d7-9d33-8572765d592b" providerId="AD" clId="Web-{11980D98-74D1-71E7-E86A-19E64303BD27}" dt="2023-10-30T16:12:27.854" v="89" actId="1076"/>
          <ac:graphicFrameMkLst>
            <pc:docMk/>
            <pc:sldMk cId="1141815353" sldId="562"/>
            <ac:graphicFrameMk id="137" creationId="{61D68665-D38F-2DB1-AAFC-535C715B7F9F}"/>
          </ac:graphicFrameMkLst>
        </pc:graphicFrameChg>
      </pc:sldChg>
    </pc:docChg>
  </pc:docChgLst>
  <pc:docChgLst>
    <pc:chgData name="Isabel Rose Gippo" userId="S::irg9370@ads.northwestern.edu::b10bfe7e-55b9-46dd-9add-2eb52cb66d3b" providerId="AD" clId="Web-{4159E2D1-1878-F778-C779-F53B58D257B9}"/>
    <pc:docChg chg="addSld delSld modSld">
      <pc:chgData name="Isabel Rose Gippo" userId="S::irg9370@ads.northwestern.edu::b10bfe7e-55b9-46dd-9add-2eb52cb66d3b" providerId="AD" clId="Web-{4159E2D1-1878-F778-C779-F53B58D257B9}" dt="2023-10-27T17:39:04.029" v="47" actId="1076"/>
      <pc:docMkLst>
        <pc:docMk/>
      </pc:docMkLst>
      <pc:sldChg chg="del">
        <pc:chgData name="Isabel Rose Gippo" userId="S::irg9370@ads.northwestern.edu::b10bfe7e-55b9-46dd-9add-2eb52cb66d3b" providerId="AD" clId="Web-{4159E2D1-1878-F778-C779-F53B58D257B9}" dt="2023-10-27T17:35:16.904" v="10"/>
        <pc:sldMkLst>
          <pc:docMk/>
          <pc:sldMk cId="3969440120" sldId="593"/>
        </pc:sldMkLst>
      </pc:sldChg>
      <pc:sldChg chg="del">
        <pc:chgData name="Isabel Rose Gippo" userId="S::irg9370@ads.northwestern.edu::b10bfe7e-55b9-46dd-9add-2eb52cb66d3b" providerId="AD" clId="Web-{4159E2D1-1878-F778-C779-F53B58D257B9}" dt="2023-10-27T17:35:13.185" v="9"/>
        <pc:sldMkLst>
          <pc:docMk/>
          <pc:sldMk cId="2412661198" sldId="594"/>
        </pc:sldMkLst>
      </pc:sldChg>
      <pc:sldChg chg="del">
        <pc:chgData name="Isabel Rose Gippo" userId="S::irg9370@ads.northwestern.edu::b10bfe7e-55b9-46dd-9add-2eb52cb66d3b" providerId="AD" clId="Web-{4159E2D1-1878-F778-C779-F53B58D257B9}" dt="2023-10-27T17:35:10.638" v="8"/>
        <pc:sldMkLst>
          <pc:docMk/>
          <pc:sldMk cId="3516145000" sldId="595"/>
        </pc:sldMkLst>
      </pc:sldChg>
      <pc:sldChg chg="del">
        <pc:chgData name="Isabel Rose Gippo" userId="S::irg9370@ads.northwestern.edu::b10bfe7e-55b9-46dd-9add-2eb52cb66d3b" providerId="AD" clId="Web-{4159E2D1-1878-F778-C779-F53B58D257B9}" dt="2023-10-27T17:35:06.920" v="7"/>
        <pc:sldMkLst>
          <pc:docMk/>
          <pc:sldMk cId="2417460478" sldId="596"/>
        </pc:sldMkLst>
      </pc:sldChg>
      <pc:sldChg chg="modSp add">
        <pc:chgData name="Isabel Rose Gippo" userId="S::irg9370@ads.northwestern.edu::b10bfe7e-55b9-46dd-9add-2eb52cb66d3b" providerId="AD" clId="Web-{4159E2D1-1878-F778-C779-F53B58D257B9}" dt="2023-10-27T17:35:02.779" v="6" actId="14100"/>
        <pc:sldMkLst>
          <pc:docMk/>
          <pc:sldMk cId="2628065282" sldId="597"/>
        </pc:sldMkLst>
        <pc:spChg chg="mod">
          <ac:chgData name="Isabel Rose Gippo" userId="S::irg9370@ads.northwestern.edu::b10bfe7e-55b9-46dd-9add-2eb52cb66d3b" providerId="AD" clId="Web-{4159E2D1-1878-F778-C779-F53B58D257B9}" dt="2023-10-27T17:35:02.779" v="6" actId="14100"/>
          <ac:spMkLst>
            <pc:docMk/>
            <pc:sldMk cId="2628065282" sldId="597"/>
            <ac:spMk id="7" creationId="{D7D575A1-5794-5E5A-2C30-51F659D538FF}"/>
          </ac:spMkLst>
        </pc:spChg>
      </pc:sldChg>
      <pc:sldChg chg="add">
        <pc:chgData name="Isabel Rose Gippo" userId="S::irg9370@ads.northwestern.edu::b10bfe7e-55b9-46dd-9add-2eb52cb66d3b" providerId="AD" clId="Web-{4159E2D1-1878-F778-C779-F53B58D257B9}" dt="2023-10-27T17:34:19.138" v="1"/>
        <pc:sldMkLst>
          <pc:docMk/>
          <pc:sldMk cId="1478149357" sldId="598"/>
        </pc:sldMkLst>
      </pc:sldChg>
      <pc:sldChg chg="add">
        <pc:chgData name="Isabel Rose Gippo" userId="S::irg9370@ads.northwestern.edu::b10bfe7e-55b9-46dd-9add-2eb52cb66d3b" providerId="AD" clId="Web-{4159E2D1-1878-F778-C779-F53B58D257B9}" dt="2023-10-27T17:34:48.717" v="2"/>
        <pc:sldMkLst>
          <pc:docMk/>
          <pc:sldMk cId="2470795492" sldId="599"/>
        </pc:sldMkLst>
      </pc:sldChg>
      <pc:sldChg chg="add">
        <pc:chgData name="Isabel Rose Gippo" userId="S::irg9370@ads.northwestern.edu::b10bfe7e-55b9-46dd-9add-2eb52cb66d3b" providerId="AD" clId="Web-{4159E2D1-1878-F778-C779-F53B58D257B9}" dt="2023-10-27T17:34:49.404" v="3"/>
        <pc:sldMkLst>
          <pc:docMk/>
          <pc:sldMk cId="2592767400" sldId="600"/>
        </pc:sldMkLst>
      </pc:sldChg>
      <pc:sldChg chg="add">
        <pc:chgData name="Isabel Rose Gippo" userId="S::irg9370@ads.northwestern.edu::b10bfe7e-55b9-46dd-9add-2eb52cb66d3b" providerId="AD" clId="Web-{4159E2D1-1878-F778-C779-F53B58D257B9}" dt="2023-10-27T17:34:50.092" v="4"/>
        <pc:sldMkLst>
          <pc:docMk/>
          <pc:sldMk cId="3023536423" sldId="601"/>
        </pc:sldMkLst>
      </pc:sldChg>
      <pc:sldChg chg="add">
        <pc:chgData name="Isabel Rose Gippo" userId="S::irg9370@ads.northwestern.edu::b10bfe7e-55b9-46dd-9add-2eb52cb66d3b" providerId="AD" clId="Web-{4159E2D1-1878-F778-C779-F53B58D257B9}" dt="2023-10-27T17:34:50.779" v="5"/>
        <pc:sldMkLst>
          <pc:docMk/>
          <pc:sldMk cId="1011826885" sldId="602"/>
        </pc:sldMkLst>
      </pc:sldChg>
      <pc:sldChg chg="add">
        <pc:chgData name="Isabel Rose Gippo" userId="S::irg9370@ads.northwestern.edu::b10bfe7e-55b9-46dd-9add-2eb52cb66d3b" providerId="AD" clId="Web-{4159E2D1-1878-F778-C779-F53B58D257B9}" dt="2023-10-27T17:35:26.013" v="11"/>
        <pc:sldMkLst>
          <pc:docMk/>
          <pc:sldMk cId="600547746" sldId="603"/>
        </pc:sldMkLst>
      </pc:sldChg>
      <pc:sldChg chg="add addCm">
        <pc:chgData name="Isabel Rose Gippo" userId="S::irg9370@ads.northwestern.edu::b10bfe7e-55b9-46dd-9add-2eb52cb66d3b" providerId="AD" clId="Web-{4159E2D1-1878-F778-C779-F53B58D257B9}" dt="2023-10-27T17:36:25.967" v="14"/>
        <pc:sldMkLst>
          <pc:docMk/>
          <pc:sldMk cId="3355787309" sldId="60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4159E2D1-1878-F778-C779-F53B58D257B9}" dt="2023-10-27T17:36:25.967" v="14"/>
              <pc2:cmMkLst xmlns:pc2="http://schemas.microsoft.com/office/powerpoint/2019/9/main/command">
                <pc:docMk/>
                <pc:sldMk cId="3355787309" sldId="604"/>
                <pc2:cmMk id="{5635E0A6-AC69-4FB6-B7FE-9DA078BBCAEE}"/>
              </pc2:cmMkLst>
            </pc226:cmChg>
          </p:ext>
        </pc:extLst>
      </pc:sldChg>
      <pc:sldChg chg="add">
        <pc:chgData name="Isabel Rose Gippo" userId="S::irg9370@ads.northwestern.edu::b10bfe7e-55b9-46dd-9add-2eb52cb66d3b" providerId="AD" clId="Web-{4159E2D1-1878-F778-C779-F53B58D257B9}" dt="2023-10-27T17:35:27.435" v="13"/>
        <pc:sldMkLst>
          <pc:docMk/>
          <pc:sldMk cId="1452140663" sldId="605"/>
        </pc:sldMkLst>
      </pc:sldChg>
      <pc:sldChg chg="add">
        <pc:chgData name="Isabel Rose Gippo" userId="S::irg9370@ads.northwestern.edu::b10bfe7e-55b9-46dd-9add-2eb52cb66d3b" providerId="AD" clId="Web-{4159E2D1-1878-F778-C779-F53B58D257B9}" dt="2023-10-27T17:36:48.201" v="15"/>
        <pc:sldMkLst>
          <pc:docMk/>
          <pc:sldMk cId="1937423064" sldId="606"/>
        </pc:sldMkLst>
      </pc:sldChg>
      <pc:sldChg chg="add">
        <pc:chgData name="Isabel Rose Gippo" userId="S::irg9370@ads.northwestern.edu::b10bfe7e-55b9-46dd-9add-2eb52cb66d3b" providerId="AD" clId="Web-{4159E2D1-1878-F778-C779-F53B58D257B9}" dt="2023-10-27T17:36:48.920" v="16"/>
        <pc:sldMkLst>
          <pc:docMk/>
          <pc:sldMk cId="3774016129" sldId="607"/>
        </pc:sldMkLst>
      </pc:sldChg>
      <pc:sldChg chg="add">
        <pc:chgData name="Isabel Rose Gippo" userId="S::irg9370@ads.northwestern.edu::b10bfe7e-55b9-46dd-9add-2eb52cb66d3b" providerId="AD" clId="Web-{4159E2D1-1878-F778-C779-F53B58D257B9}" dt="2023-10-27T17:36:49.623" v="17"/>
        <pc:sldMkLst>
          <pc:docMk/>
          <pc:sldMk cId="3226012611" sldId="608"/>
        </pc:sldMkLst>
      </pc:sldChg>
      <pc:sldChg chg="add">
        <pc:chgData name="Isabel Rose Gippo" userId="S::irg9370@ads.northwestern.edu::b10bfe7e-55b9-46dd-9add-2eb52cb66d3b" providerId="AD" clId="Web-{4159E2D1-1878-F778-C779-F53B58D257B9}" dt="2023-10-27T17:36:50.295" v="18"/>
        <pc:sldMkLst>
          <pc:docMk/>
          <pc:sldMk cId="2003568291" sldId="609"/>
        </pc:sldMkLst>
      </pc:sldChg>
      <pc:sldChg chg="add replId modNotes">
        <pc:chgData name="Isabel Rose Gippo" userId="S::irg9370@ads.northwestern.edu::b10bfe7e-55b9-46dd-9add-2eb52cb66d3b" providerId="AD" clId="Web-{4159E2D1-1878-F778-C779-F53B58D257B9}" dt="2023-10-27T17:37:46.435" v="26"/>
        <pc:sldMkLst>
          <pc:docMk/>
          <pc:sldMk cId="761656701" sldId="610"/>
        </pc:sldMkLst>
      </pc:sldChg>
      <pc:sldChg chg="add replId modNotes">
        <pc:chgData name="Isabel Rose Gippo" userId="S::irg9370@ads.northwestern.edu::b10bfe7e-55b9-46dd-9add-2eb52cb66d3b" providerId="AD" clId="Web-{4159E2D1-1878-F778-C779-F53B58D257B9}" dt="2023-10-27T17:38:01.529" v="31"/>
        <pc:sldMkLst>
          <pc:docMk/>
          <pc:sldMk cId="2881039477" sldId="611"/>
        </pc:sldMkLst>
      </pc:sldChg>
      <pc:sldChg chg="new modNotes">
        <pc:chgData name="Isabel Rose Gippo" userId="S::irg9370@ads.northwestern.edu::b10bfe7e-55b9-46dd-9add-2eb52cb66d3b" providerId="AD" clId="Web-{4159E2D1-1878-F778-C779-F53B58D257B9}" dt="2023-10-27T17:38:59.920" v="43"/>
        <pc:sldMkLst>
          <pc:docMk/>
          <pc:sldMk cId="2453854057" sldId="612"/>
        </pc:sldMkLst>
      </pc:sldChg>
      <pc:sldChg chg="new modNotes">
        <pc:chgData name="Isabel Rose Gippo" userId="S::irg9370@ads.northwestern.edu::b10bfe7e-55b9-46dd-9add-2eb52cb66d3b" providerId="AD" clId="Web-{4159E2D1-1878-F778-C779-F53B58D257B9}" dt="2023-10-27T17:38:25.201" v="40"/>
        <pc:sldMkLst>
          <pc:docMk/>
          <pc:sldMk cId="2100949110" sldId="613"/>
        </pc:sldMkLst>
      </pc:sldChg>
      <pc:sldChg chg="modSp new modNotes">
        <pc:chgData name="Isabel Rose Gippo" userId="S::irg9370@ads.northwestern.edu::b10bfe7e-55b9-46dd-9add-2eb52cb66d3b" providerId="AD" clId="Web-{4159E2D1-1878-F778-C779-F53B58D257B9}" dt="2023-10-27T17:39:04.029" v="47" actId="1076"/>
        <pc:sldMkLst>
          <pc:docMk/>
          <pc:sldMk cId="2272124241" sldId="614"/>
        </pc:sldMkLst>
        <pc:spChg chg="mod">
          <ac:chgData name="Isabel Rose Gippo" userId="S::irg9370@ads.northwestern.edu::b10bfe7e-55b9-46dd-9add-2eb52cb66d3b" providerId="AD" clId="Web-{4159E2D1-1878-F778-C779-F53B58D257B9}" dt="2023-10-27T17:39:04.029" v="47" actId="1076"/>
          <ac:spMkLst>
            <pc:docMk/>
            <pc:sldMk cId="2272124241" sldId="614"/>
            <ac:spMk id="5" creationId="{C0418939-1E64-B1E2-A591-B2119343AE0C}"/>
          </ac:spMkLst>
        </pc:spChg>
      </pc:sldChg>
    </pc:docChg>
  </pc:docChgLst>
  <pc:docChgLst>
    <pc:chgData name="Eileen Fleming Suse" userId="S::efs3844@ads.northwestern.edu::725c94ef-d051-42d7-9d33-8572765d592b" providerId="AD" clId="Web-{9DE0ADE9-A0A8-D2EA-1EF2-AD3C089DDA7A}"/>
    <pc:docChg chg="addSld delSld modSld addMainMaster">
      <pc:chgData name="Eileen Fleming Suse" userId="S::efs3844@ads.northwestern.edu::725c94ef-d051-42d7-9d33-8572765d592b" providerId="AD" clId="Web-{9DE0ADE9-A0A8-D2EA-1EF2-AD3C089DDA7A}" dt="2023-10-19T17:41:58.437" v="223"/>
      <pc:docMkLst>
        <pc:docMk/>
      </pc:docMkLst>
      <pc:sldChg chg="modSp">
        <pc:chgData name="Eileen Fleming Suse" userId="S::efs3844@ads.northwestern.edu::725c94ef-d051-42d7-9d33-8572765d592b" providerId="AD" clId="Web-{9DE0ADE9-A0A8-D2EA-1EF2-AD3C089DDA7A}" dt="2023-10-19T17:15:26.480" v="60" actId="20577"/>
        <pc:sldMkLst>
          <pc:docMk/>
          <pc:sldMk cId="3127921386" sldId="280"/>
        </pc:sldMkLst>
        <pc:spChg chg="mod">
          <ac:chgData name="Eileen Fleming Suse" userId="S::efs3844@ads.northwestern.edu::725c94ef-d051-42d7-9d33-8572765d592b" providerId="AD" clId="Web-{9DE0ADE9-A0A8-D2EA-1EF2-AD3C089DDA7A}" dt="2023-10-19T17:14:04.384" v="2" actId="20577"/>
          <ac:spMkLst>
            <pc:docMk/>
            <pc:sldMk cId="3127921386" sldId="280"/>
            <ac:spMk id="3" creationId="{1D742501-F937-8041-84E5-748F96AE991B}"/>
          </ac:spMkLst>
        </pc:spChg>
        <pc:spChg chg="mod">
          <ac:chgData name="Eileen Fleming Suse" userId="S::efs3844@ads.northwestern.edu::725c94ef-d051-42d7-9d33-8572765d592b" providerId="AD" clId="Web-{9DE0ADE9-A0A8-D2EA-1EF2-AD3C089DDA7A}" dt="2023-10-19T17:15:26.480" v="60" actId="20577"/>
          <ac:spMkLst>
            <pc:docMk/>
            <pc:sldMk cId="3127921386" sldId="280"/>
            <ac:spMk id="4" creationId="{19922563-64D6-2A4E-B048-13AC25DB45AD}"/>
          </ac:spMkLst>
        </pc:spChg>
      </pc:sldChg>
      <pc:sldChg chg="modSp">
        <pc:chgData name="Eileen Fleming Suse" userId="S::efs3844@ads.northwestern.edu::725c94ef-d051-42d7-9d33-8572765d592b" providerId="AD" clId="Web-{9DE0ADE9-A0A8-D2EA-1EF2-AD3C089DDA7A}" dt="2023-10-19T17:31:26.808" v="220" actId="20577"/>
        <pc:sldMkLst>
          <pc:docMk/>
          <pc:sldMk cId="4044691067" sldId="283"/>
        </pc:sldMkLst>
        <pc:spChg chg="mod">
          <ac:chgData name="Eileen Fleming Suse" userId="S::efs3844@ads.northwestern.edu::725c94ef-d051-42d7-9d33-8572765d592b" providerId="AD" clId="Web-{9DE0ADE9-A0A8-D2EA-1EF2-AD3C089DDA7A}" dt="2023-10-19T17:20:28.099" v="150" actId="20577"/>
          <ac:spMkLst>
            <pc:docMk/>
            <pc:sldMk cId="4044691067" sldId="283"/>
            <ac:spMk id="3" creationId="{00000000-0000-0000-0000-000000000000}"/>
          </ac:spMkLst>
        </pc:spChg>
        <pc:spChg chg="mod">
          <ac:chgData name="Eileen Fleming Suse" userId="S::efs3844@ads.northwestern.edu::725c94ef-d051-42d7-9d33-8572765d592b" providerId="AD" clId="Web-{9DE0ADE9-A0A8-D2EA-1EF2-AD3C089DDA7A}" dt="2023-10-19T17:31:26.808" v="220"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9DE0ADE9-A0A8-D2EA-1EF2-AD3C089DDA7A}" dt="2023-10-19T17:14:36.276" v="18"/>
        <pc:sldMkLst>
          <pc:docMk/>
          <pc:sldMk cId="2069350649" sldId="284"/>
        </pc:sldMkLst>
      </pc:sldChg>
      <pc:sldChg chg="del">
        <pc:chgData name="Eileen Fleming Suse" userId="S::efs3844@ads.northwestern.edu::725c94ef-d051-42d7-9d33-8572765d592b" providerId="AD" clId="Web-{9DE0ADE9-A0A8-D2EA-1EF2-AD3C089DDA7A}" dt="2023-10-19T17:14:43.713" v="23"/>
        <pc:sldMkLst>
          <pc:docMk/>
          <pc:sldMk cId="2092144123" sldId="285"/>
        </pc:sldMkLst>
      </pc:sldChg>
      <pc:sldChg chg="del">
        <pc:chgData name="Eileen Fleming Suse" userId="S::efs3844@ads.northwestern.edu::725c94ef-d051-42d7-9d33-8572765d592b" providerId="AD" clId="Web-{9DE0ADE9-A0A8-D2EA-1EF2-AD3C089DDA7A}" dt="2023-10-19T17:14:35.369" v="17"/>
        <pc:sldMkLst>
          <pc:docMk/>
          <pc:sldMk cId="1536630639" sldId="286"/>
        </pc:sldMkLst>
      </pc:sldChg>
      <pc:sldChg chg="del">
        <pc:chgData name="Eileen Fleming Suse" userId="S::efs3844@ads.northwestern.edu::725c94ef-d051-42d7-9d33-8572765d592b" providerId="AD" clId="Web-{9DE0ADE9-A0A8-D2EA-1EF2-AD3C089DDA7A}" dt="2023-10-19T17:14:37.760" v="19"/>
        <pc:sldMkLst>
          <pc:docMk/>
          <pc:sldMk cId="837706999" sldId="287"/>
        </pc:sldMkLst>
      </pc:sldChg>
      <pc:sldChg chg="del">
        <pc:chgData name="Eileen Fleming Suse" userId="S::efs3844@ads.northwestern.edu::725c94ef-d051-42d7-9d33-8572765d592b" providerId="AD" clId="Web-{9DE0ADE9-A0A8-D2EA-1EF2-AD3C089DDA7A}" dt="2023-10-19T17:14:38.151" v="20"/>
        <pc:sldMkLst>
          <pc:docMk/>
          <pc:sldMk cId="593652294" sldId="289"/>
        </pc:sldMkLst>
      </pc:sldChg>
      <pc:sldChg chg="del">
        <pc:chgData name="Eileen Fleming Suse" userId="S::efs3844@ads.northwestern.edu::725c94ef-d051-42d7-9d33-8572765d592b" providerId="AD" clId="Web-{9DE0ADE9-A0A8-D2EA-1EF2-AD3C089DDA7A}" dt="2023-10-19T17:14:24.494" v="5"/>
        <pc:sldMkLst>
          <pc:docMk/>
          <pc:sldMk cId="2453140522" sldId="291"/>
        </pc:sldMkLst>
      </pc:sldChg>
      <pc:sldChg chg="del">
        <pc:chgData name="Eileen Fleming Suse" userId="S::efs3844@ads.northwestern.edu::725c94ef-d051-42d7-9d33-8572765d592b" providerId="AD" clId="Web-{9DE0ADE9-A0A8-D2EA-1EF2-AD3C089DDA7A}" dt="2023-10-19T17:14:26.275" v="6"/>
        <pc:sldMkLst>
          <pc:docMk/>
          <pc:sldMk cId="1209325080" sldId="292"/>
        </pc:sldMkLst>
      </pc:sldChg>
      <pc:sldChg chg="del">
        <pc:chgData name="Eileen Fleming Suse" userId="S::efs3844@ads.northwestern.edu::725c94ef-d051-42d7-9d33-8572765d592b" providerId="AD" clId="Web-{9DE0ADE9-A0A8-D2EA-1EF2-AD3C089DDA7A}" dt="2023-10-19T17:14:42.213" v="22"/>
        <pc:sldMkLst>
          <pc:docMk/>
          <pc:sldMk cId="2487210000" sldId="294"/>
        </pc:sldMkLst>
      </pc:sldChg>
      <pc:sldChg chg="del">
        <pc:chgData name="Eileen Fleming Suse" userId="S::efs3844@ads.northwestern.edu::725c94ef-d051-42d7-9d33-8572765d592b" providerId="AD" clId="Web-{9DE0ADE9-A0A8-D2EA-1EF2-AD3C089DDA7A}" dt="2023-10-19T17:14:55.589" v="52"/>
        <pc:sldMkLst>
          <pc:docMk/>
          <pc:sldMk cId="2040509865" sldId="295"/>
        </pc:sldMkLst>
      </pc:sldChg>
      <pc:sldChg chg="del">
        <pc:chgData name="Eileen Fleming Suse" userId="S::efs3844@ads.northwestern.edu::725c94ef-d051-42d7-9d33-8572765d592b" providerId="AD" clId="Web-{9DE0ADE9-A0A8-D2EA-1EF2-AD3C089DDA7A}" dt="2023-10-19T17:14:55.417" v="35"/>
        <pc:sldMkLst>
          <pc:docMk/>
          <pc:sldMk cId="3613951002" sldId="299"/>
        </pc:sldMkLst>
      </pc:sldChg>
      <pc:sldChg chg="del">
        <pc:chgData name="Eileen Fleming Suse" userId="S::efs3844@ads.northwestern.edu::725c94ef-d051-42d7-9d33-8572765d592b" providerId="AD" clId="Web-{9DE0ADE9-A0A8-D2EA-1EF2-AD3C089DDA7A}" dt="2023-10-19T17:14:48.120" v="29"/>
        <pc:sldMkLst>
          <pc:docMk/>
          <pc:sldMk cId="426344767" sldId="300"/>
        </pc:sldMkLst>
      </pc:sldChg>
      <pc:sldChg chg="del">
        <pc:chgData name="Eileen Fleming Suse" userId="S::efs3844@ads.northwestern.edu::725c94ef-d051-42d7-9d33-8572765d592b" providerId="AD" clId="Web-{9DE0ADE9-A0A8-D2EA-1EF2-AD3C089DDA7A}" dt="2023-10-19T17:14:55.495" v="46"/>
        <pc:sldMkLst>
          <pc:docMk/>
          <pc:sldMk cId="1677014618" sldId="302"/>
        </pc:sldMkLst>
      </pc:sldChg>
      <pc:sldChg chg="del">
        <pc:chgData name="Eileen Fleming Suse" userId="S::efs3844@ads.northwestern.edu::725c94ef-d051-42d7-9d33-8572765d592b" providerId="AD" clId="Web-{9DE0ADE9-A0A8-D2EA-1EF2-AD3C089DDA7A}" dt="2023-10-19T17:14:55.526" v="48"/>
        <pc:sldMkLst>
          <pc:docMk/>
          <pc:sldMk cId="708289948" sldId="303"/>
        </pc:sldMkLst>
      </pc:sldChg>
      <pc:sldChg chg="del">
        <pc:chgData name="Eileen Fleming Suse" userId="S::efs3844@ads.northwestern.edu::725c94ef-d051-42d7-9d33-8572765d592b" providerId="AD" clId="Web-{9DE0ADE9-A0A8-D2EA-1EF2-AD3C089DDA7A}" dt="2023-10-19T17:14:55.511" v="47"/>
        <pc:sldMkLst>
          <pc:docMk/>
          <pc:sldMk cId="2653032575" sldId="304"/>
        </pc:sldMkLst>
      </pc:sldChg>
      <pc:sldChg chg="del">
        <pc:chgData name="Eileen Fleming Suse" userId="S::efs3844@ads.northwestern.edu::725c94ef-d051-42d7-9d33-8572765d592b" providerId="AD" clId="Web-{9DE0ADE9-A0A8-D2EA-1EF2-AD3C089DDA7A}" dt="2023-10-19T17:14:55.542" v="49"/>
        <pc:sldMkLst>
          <pc:docMk/>
          <pc:sldMk cId="1372958822" sldId="305"/>
        </pc:sldMkLst>
      </pc:sldChg>
      <pc:sldChg chg="del">
        <pc:chgData name="Eileen Fleming Suse" userId="S::efs3844@ads.northwestern.edu::725c94ef-d051-42d7-9d33-8572765d592b" providerId="AD" clId="Web-{9DE0ADE9-A0A8-D2EA-1EF2-AD3C089DDA7A}" dt="2023-10-19T17:14:55.479" v="45"/>
        <pc:sldMkLst>
          <pc:docMk/>
          <pc:sldMk cId="780409547" sldId="307"/>
        </pc:sldMkLst>
      </pc:sldChg>
      <pc:sldChg chg="del">
        <pc:chgData name="Eileen Fleming Suse" userId="S::efs3844@ads.northwestern.edu::725c94ef-d051-42d7-9d33-8572765d592b" providerId="AD" clId="Web-{9DE0ADE9-A0A8-D2EA-1EF2-AD3C089DDA7A}" dt="2023-10-19T17:14:55.589" v="53"/>
        <pc:sldMkLst>
          <pc:docMk/>
          <pc:sldMk cId="329125591" sldId="308"/>
        </pc:sldMkLst>
      </pc:sldChg>
      <pc:sldChg chg="del">
        <pc:chgData name="Eileen Fleming Suse" userId="S::efs3844@ads.northwestern.edu::725c94ef-d051-42d7-9d33-8572765d592b" providerId="AD" clId="Web-{9DE0ADE9-A0A8-D2EA-1EF2-AD3C089DDA7A}" dt="2023-10-19T17:14:44.213" v="24"/>
        <pc:sldMkLst>
          <pc:docMk/>
          <pc:sldMk cId="2033640025" sldId="309"/>
        </pc:sldMkLst>
      </pc:sldChg>
      <pc:sldChg chg="del">
        <pc:chgData name="Eileen Fleming Suse" userId="S::efs3844@ads.northwestern.edu::725c94ef-d051-42d7-9d33-8572765d592b" providerId="AD" clId="Web-{9DE0ADE9-A0A8-D2EA-1EF2-AD3C089DDA7A}" dt="2023-10-19T17:14:45.901" v="26"/>
        <pc:sldMkLst>
          <pc:docMk/>
          <pc:sldMk cId="1888859321" sldId="310"/>
        </pc:sldMkLst>
      </pc:sldChg>
      <pc:sldChg chg="del">
        <pc:chgData name="Eileen Fleming Suse" userId="S::efs3844@ads.northwestern.edu::725c94ef-d051-42d7-9d33-8572765d592b" providerId="AD" clId="Web-{9DE0ADE9-A0A8-D2EA-1EF2-AD3C089DDA7A}" dt="2023-10-19T17:14:46.573" v="27"/>
        <pc:sldMkLst>
          <pc:docMk/>
          <pc:sldMk cId="2782366363" sldId="311"/>
        </pc:sldMkLst>
      </pc:sldChg>
      <pc:sldChg chg="del">
        <pc:chgData name="Eileen Fleming Suse" userId="S::efs3844@ads.northwestern.edu::725c94ef-d051-42d7-9d33-8572765d592b" providerId="AD" clId="Web-{9DE0ADE9-A0A8-D2EA-1EF2-AD3C089DDA7A}" dt="2023-10-19T17:14:47.167" v="28"/>
        <pc:sldMkLst>
          <pc:docMk/>
          <pc:sldMk cId="1780623164" sldId="312"/>
        </pc:sldMkLst>
      </pc:sldChg>
      <pc:sldChg chg="del">
        <pc:chgData name="Eileen Fleming Suse" userId="S::efs3844@ads.northwestern.edu::725c94ef-d051-42d7-9d33-8572765d592b" providerId="AD" clId="Web-{9DE0ADE9-A0A8-D2EA-1EF2-AD3C089DDA7A}" dt="2023-10-19T17:14:48.479" v="30"/>
        <pc:sldMkLst>
          <pc:docMk/>
          <pc:sldMk cId="1724020679" sldId="313"/>
        </pc:sldMkLst>
      </pc:sldChg>
      <pc:sldChg chg="del">
        <pc:chgData name="Eileen Fleming Suse" userId="S::efs3844@ads.northwestern.edu::725c94ef-d051-42d7-9d33-8572765d592b" providerId="AD" clId="Web-{9DE0ADE9-A0A8-D2EA-1EF2-AD3C089DDA7A}" dt="2023-10-19T17:14:49.104" v="31"/>
        <pc:sldMkLst>
          <pc:docMk/>
          <pc:sldMk cId="201651367" sldId="314"/>
        </pc:sldMkLst>
      </pc:sldChg>
      <pc:sldChg chg="del">
        <pc:chgData name="Eileen Fleming Suse" userId="S::efs3844@ads.northwestern.edu::725c94ef-d051-42d7-9d33-8572765d592b" providerId="AD" clId="Web-{9DE0ADE9-A0A8-D2EA-1EF2-AD3C089DDA7A}" dt="2023-10-19T17:14:55.589" v="55"/>
        <pc:sldMkLst>
          <pc:docMk/>
          <pc:sldMk cId="1008592618" sldId="315"/>
        </pc:sldMkLst>
      </pc:sldChg>
      <pc:sldChg chg="del">
        <pc:chgData name="Eileen Fleming Suse" userId="S::efs3844@ads.northwestern.edu::725c94ef-d051-42d7-9d33-8572765d592b" providerId="AD" clId="Web-{9DE0ADE9-A0A8-D2EA-1EF2-AD3C089DDA7A}" dt="2023-10-19T17:14:55.432" v="38"/>
        <pc:sldMkLst>
          <pc:docMk/>
          <pc:sldMk cId="1410612689" sldId="316"/>
        </pc:sldMkLst>
      </pc:sldChg>
      <pc:sldChg chg="del">
        <pc:chgData name="Eileen Fleming Suse" userId="S::efs3844@ads.northwestern.edu::725c94ef-d051-42d7-9d33-8572765d592b" providerId="AD" clId="Web-{9DE0ADE9-A0A8-D2EA-1EF2-AD3C089DDA7A}" dt="2023-10-19T17:14:55.589" v="54"/>
        <pc:sldMkLst>
          <pc:docMk/>
          <pc:sldMk cId="3358066547" sldId="317"/>
        </pc:sldMkLst>
      </pc:sldChg>
      <pc:sldChg chg="del">
        <pc:chgData name="Eileen Fleming Suse" userId="S::efs3844@ads.northwestern.edu::725c94ef-d051-42d7-9d33-8572765d592b" providerId="AD" clId="Web-{9DE0ADE9-A0A8-D2EA-1EF2-AD3C089DDA7A}" dt="2023-10-19T17:14:55.464" v="41"/>
        <pc:sldMkLst>
          <pc:docMk/>
          <pc:sldMk cId="749448274" sldId="318"/>
        </pc:sldMkLst>
      </pc:sldChg>
      <pc:sldChg chg="del">
        <pc:chgData name="Eileen Fleming Suse" userId="S::efs3844@ads.northwestern.edu::725c94ef-d051-42d7-9d33-8572765d592b" providerId="AD" clId="Web-{9DE0ADE9-A0A8-D2EA-1EF2-AD3C089DDA7A}" dt="2023-10-19T17:14:55.417" v="33"/>
        <pc:sldMkLst>
          <pc:docMk/>
          <pc:sldMk cId="2641713020" sldId="325"/>
        </pc:sldMkLst>
      </pc:sldChg>
      <pc:sldChg chg="del">
        <pc:chgData name="Eileen Fleming Suse" userId="S::efs3844@ads.northwestern.edu::725c94ef-d051-42d7-9d33-8572765d592b" providerId="AD" clId="Web-{9DE0ADE9-A0A8-D2EA-1EF2-AD3C089DDA7A}" dt="2023-10-19T17:14:28.307" v="7"/>
        <pc:sldMkLst>
          <pc:docMk/>
          <pc:sldMk cId="730283329" sldId="327"/>
        </pc:sldMkLst>
      </pc:sldChg>
      <pc:sldChg chg="del">
        <pc:chgData name="Eileen Fleming Suse" userId="S::efs3844@ads.northwestern.edu::725c94ef-d051-42d7-9d33-8572765d592b" providerId="AD" clId="Web-{9DE0ADE9-A0A8-D2EA-1EF2-AD3C089DDA7A}" dt="2023-10-19T17:14:55.464" v="43"/>
        <pc:sldMkLst>
          <pc:docMk/>
          <pc:sldMk cId="3398525892" sldId="328"/>
        </pc:sldMkLst>
      </pc:sldChg>
      <pc:sldChg chg="del">
        <pc:chgData name="Eileen Fleming Suse" userId="S::efs3844@ads.northwestern.edu::725c94ef-d051-42d7-9d33-8572765d592b" providerId="AD" clId="Web-{9DE0ADE9-A0A8-D2EA-1EF2-AD3C089DDA7A}" dt="2023-10-19T17:14:55.448" v="39"/>
        <pc:sldMkLst>
          <pc:docMk/>
          <pc:sldMk cId="1461223329" sldId="331"/>
        </pc:sldMkLst>
      </pc:sldChg>
      <pc:sldChg chg="del">
        <pc:chgData name="Eileen Fleming Suse" userId="S::efs3844@ads.northwestern.edu::725c94ef-d051-42d7-9d33-8572765d592b" providerId="AD" clId="Web-{9DE0ADE9-A0A8-D2EA-1EF2-AD3C089DDA7A}" dt="2023-10-19T17:14:29.853" v="9"/>
        <pc:sldMkLst>
          <pc:docMk/>
          <pc:sldMk cId="3139445884" sldId="332"/>
        </pc:sldMkLst>
      </pc:sldChg>
      <pc:sldChg chg="del">
        <pc:chgData name="Eileen Fleming Suse" userId="S::efs3844@ads.northwestern.edu::725c94ef-d051-42d7-9d33-8572765d592b" providerId="AD" clId="Web-{9DE0ADE9-A0A8-D2EA-1EF2-AD3C089DDA7A}" dt="2023-10-19T17:14:30.604" v="10"/>
        <pc:sldMkLst>
          <pc:docMk/>
          <pc:sldMk cId="633263341" sldId="333"/>
        </pc:sldMkLst>
      </pc:sldChg>
      <pc:sldChg chg="del">
        <pc:chgData name="Eileen Fleming Suse" userId="S::efs3844@ads.northwestern.edu::725c94ef-d051-42d7-9d33-8572765d592b" providerId="AD" clId="Web-{9DE0ADE9-A0A8-D2EA-1EF2-AD3C089DDA7A}" dt="2023-10-19T17:14:30.619" v="11"/>
        <pc:sldMkLst>
          <pc:docMk/>
          <pc:sldMk cId="609043565" sldId="334"/>
        </pc:sldMkLst>
      </pc:sldChg>
      <pc:sldChg chg="del">
        <pc:chgData name="Eileen Fleming Suse" userId="S::efs3844@ads.northwestern.edu::725c94ef-d051-42d7-9d33-8572765d592b" providerId="AD" clId="Web-{9DE0ADE9-A0A8-D2EA-1EF2-AD3C089DDA7A}" dt="2023-10-19T17:14:30.791" v="12"/>
        <pc:sldMkLst>
          <pc:docMk/>
          <pc:sldMk cId="3127513769" sldId="335"/>
        </pc:sldMkLst>
      </pc:sldChg>
      <pc:sldChg chg="del">
        <pc:chgData name="Eileen Fleming Suse" userId="S::efs3844@ads.northwestern.edu::725c94ef-d051-42d7-9d33-8572765d592b" providerId="AD" clId="Web-{9DE0ADE9-A0A8-D2EA-1EF2-AD3C089DDA7A}" dt="2023-10-19T17:13:45.415" v="0"/>
        <pc:sldMkLst>
          <pc:docMk/>
          <pc:sldMk cId="2155738570" sldId="336"/>
        </pc:sldMkLst>
      </pc:sldChg>
      <pc:sldChg chg="del">
        <pc:chgData name="Eileen Fleming Suse" userId="S::efs3844@ads.northwestern.edu::725c94ef-d051-42d7-9d33-8572765d592b" providerId="AD" clId="Web-{9DE0ADE9-A0A8-D2EA-1EF2-AD3C089DDA7A}" dt="2023-10-19T17:14:29.166" v="8"/>
        <pc:sldMkLst>
          <pc:docMk/>
          <pc:sldMk cId="3482793899" sldId="337"/>
        </pc:sldMkLst>
      </pc:sldChg>
      <pc:sldChg chg="del">
        <pc:chgData name="Eileen Fleming Suse" userId="S::efs3844@ads.northwestern.edu::725c94ef-d051-42d7-9d33-8572765d592b" providerId="AD" clId="Web-{9DE0ADE9-A0A8-D2EA-1EF2-AD3C089DDA7A}" dt="2023-10-19T17:14:55.417" v="37"/>
        <pc:sldMkLst>
          <pc:docMk/>
          <pc:sldMk cId="2871307081" sldId="338"/>
        </pc:sldMkLst>
      </pc:sldChg>
      <pc:sldChg chg="del">
        <pc:chgData name="Eileen Fleming Suse" userId="S::efs3844@ads.northwestern.edu::725c94ef-d051-42d7-9d33-8572765d592b" providerId="AD" clId="Web-{9DE0ADE9-A0A8-D2EA-1EF2-AD3C089DDA7A}" dt="2023-10-19T17:14:32.510" v="14"/>
        <pc:sldMkLst>
          <pc:docMk/>
          <pc:sldMk cId="2459589232" sldId="341"/>
        </pc:sldMkLst>
      </pc:sldChg>
      <pc:sldChg chg="del">
        <pc:chgData name="Eileen Fleming Suse" userId="S::efs3844@ads.northwestern.edu::725c94ef-d051-42d7-9d33-8572765d592b" providerId="AD" clId="Web-{9DE0ADE9-A0A8-D2EA-1EF2-AD3C089DDA7A}" dt="2023-10-19T17:14:45.088" v="25"/>
        <pc:sldMkLst>
          <pc:docMk/>
          <pc:sldMk cId="52189943" sldId="343"/>
        </pc:sldMkLst>
      </pc:sldChg>
      <pc:sldChg chg="del">
        <pc:chgData name="Eileen Fleming Suse" userId="S::efs3844@ads.northwestern.edu::725c94ef-d051-42d7-9d33-8572765d592b" providerId="AD" clId="Web-{9DE0ADE9-A0A8-D2EA-1EF2-AD3C089DDA7A}" dt="2023-10-19T17:14:19.447" v="3"/>
        <pc:sldMkLst>
          <pc:docMk/>
          <pc:sldMk cId="1572642716" sldId="344"/>
        </pc:sldMkLst>
      </pc:sldChg>
      <pc:sldChg chg="del">
        <pc:chgData name="Eileen Fleming Suse" userId="S::efs3844@ads.northwestern.edu::725c94ef-d051-42d7-9d33-8572765d592b" providerId="AD" clId="Web-{9DE0ADE9-A0A8-D2EA-1EF2-AD3C089DDA7A}" dt="2023-10-19T17:14:21.775" v="4"/>
        <pc:sldMkLst>
          <pc:docMk/>
          <pc:sldMk cId="2965993848" sldId="345"/>
        </pc:sldMkLst>
      </pc:sldChg>
      <pc:sldChg chg="del">
        <pc:chgData name="Eileen Fleming Suse" userId="S::efs3844@ads.northwestern.edu::725c94ef-d051-42d7-9d33-8572765d592b" providerId="AD" clId="Web-{9DE0ADE9-A0A8-D2EA-1EF2-AD3C089DDA7A}" dt="2023-10-19T17:14:55.542" v="50"/>
        <pc:sldMkLst>
          <pc:docMk/>
          <pc:sldMk cId="388018185" sldId="346"/>
        </pc:sldMkLst>
      </pc:sldChg>
      <pc:sldChg chg="del">
        <pc:chgData name="Eileen Fleming Suse" userId="S::efs3844@ads.northwestern.edu::725c94ef-d051-42d7-9d33-8572765d592b" providerId="AD" clId="Web-{9DE0ADE9-A0A8-D2EA-1EF2-AD3C089DDA7A}" dt="2023-10-19T17:14:55.464" v="44"/>
        <pc:sldMkLst>
          <pc:docMk/>
          <pc:sldMk cId="4266118864" sldId="347"/>
        </pc:sldMkLst>
      </pc:sldChg>
      <pc:sldChg chg="del">
        <pc:chgData name="Eileen Fleming Suse" userId="S::efs3844@ads.northwestern.edu::725c94ef-d051-42d7-9d33-8572765d592b" providerId="AD" clId="Web-{9DE0ADE9-A0A8-D2EA-1EF2-AD3C089DDA7A}" dt="2023-10-19T17:14:55.464" v="42"/>
        <pc:sldMkLst>
          <pc:docMk/>
          <pc:sldMk cId="1250040188" sldId="348"/>
        </pc:sldMkLst>
      </pc:sldChg>
      <pc:sldChg chg="del">
        <pc:chgData name="Eileen Fleming Suse" userId="S::efs3844@ads.northwestern.edu::725c94ef-d051-42d7-9d33-8572765d592b" providerId="AD" clId="Web-{9DE0ADE9-A0A8-D2EA-1EF2-AD3C089DDA7A}" dt="2023-10-19T17:14:55.464" v="40"/>
        <pc:sldMkLst>
          <pc:docMk/>
          <pc:sldMk cId="3133961592" sldId="352"/>
        </pc:sldMkLst>
      </pc:sldChg>
      <pc:sldChg chg="del">
        <pc:chgData name="Eileen Fleming Suse" userId="S::efs3844@ads.northwestern.edu::725c94ef-d051-42d7-9d33-8572765d592b" providerId="AD" clId="Web-{9DE0ADE9-A0A8-D2EA-1EF2-AD3C089DDA7A}" dt="2023-10-19T17:20:30.896" v="151"/>
        <pc:sldMkLst>
          <pc:docMk/>
          <pc:sldMk cId="330467900" sldId="353"/>
        </pc:sldMkLst>
      </pc:sldChg>
      <pc:sldChg chg="del">
        <pc:chgData name="Eileen Fleming Suse" userId="S::efs3844@ads.northwestern.edu::725c94ef-d051-42d7-9d33-8572765d592b" providerId="AD" clId="Web-{9DE0ADE9-A0A8-D2EA-1EF2-AD3C089DDA7A}" dt="2023-10-19T17:14:33.525" v="15"/>
        <pc:sldMkLst>
          <pc:docMk/>
          <pc:sldMk cId="699425124" sldId="354"/>
        </pc:sldMkLst>
      </pc:sldChg>
      <pc:sldChg chg="del">
        <pc:chgData name="Eileen Fleming Suse" userId="S::efs3844@ads.northwestern.edu::725c94ef-d051-42d7-9d33-8572765d592b" providerId="AD" clId="Web-{9DE0ADE9-A0A8-D2EA-1EF2-AD3C089DDA7A}" dt="2023-10-19T17:14:34.307" v="16"/>
        <pc:sldMkLst>
          <pc:docMk/>
          <pc:sldMk cId="4105287340" sldId="463"/>
        </pc:sldMkLst>
      </pc:sldChg>
      <pc:sldChg chg="del">
        <pc:chgData name="Eileen Fleming Suse" userId="S::efs3844@ads.northwestern.edu::725c94ef-d051-42d7-9d33-8572765d592b" providerId="AD" clId="Web-{9DE0ADE9-A0A8-D2EA-1EF2-AD3C089DDA7A}" dt="2023-10-19T17:14:38.463" v="21"/>
        <pc:sldMkLst>
          <pc:docMk/>
          <pc:sldMk cId="1189510057" sldId="464"/>
        </pc:sldMkLst>
      </pc:sldChg>
      <pc:sldChg chg="del">
        <pc:chgData name="Eileen Fleming Suse" userId="S::efs3844@ads.northwestern.edu::725c94ef-d051-42d7-9d33-8572765d592b" providerId="AD" clId="Web-{9DE0ADE9-A0A8-D2EA-1EF2-AD3C089DDA7A}" dt="2023-10-19T17:20:33.303" v="152"/>
        <pc:sldMkLst>
          <pc:docMk/>
          <pc:sldMk cId="343871943" sldId="465"/>
        </pc:sldMkLst>
      </pc:sldChg>
      <pc:sldChg chg="del">
        <pc:chgData name="Eileen Fleming Suse" userId="S::efs3844@ads.northwestern.edu::725c94ef-d051-42d7-9d33-8572765d592b" providerId="AD" clId="Web-{9DE0ADE9-A0A8-D2EA-1EF2-AD3C089DDA7A}" dt="2023-10-19T17:14:31.541" v="13"/>
        <pc:sldMkLst>
          <pc:docMk/>
          <pc:sldMk cId="3919580005" sldId="524"/>
        </pc:sldMkLst>
      </pc:sldChg>
      <pc:sldChg chg="del">
        <pc:chgData name="Eileen Fleming Suse" userId="S::efs3844@ads.northwestern.edu::725c94ef-d051-42d7-9d33-8572765d592b" providerId="AD" clId="Web-{9DE0ADE9-A0A8-D2EA-1EF2-AD3C089DDA7A}" dt="2023-10-19T17:14:55.573" v="51"/>
        <pc:sldMkLst>
          <pc:docMk/>
          <pc:sldMk cId="2681042564" sldId="539"/>
        </pc:sldMkLst>
      </pc:sldChg>
      <pc:sldChg chg="del">
        <pc:chgData name="Eileen Fleming Suse" userId="S::efs3844@ads.northwestern.edu::725c94ef-d051-42d7-9d33-8572765d592b" providerId="AD" clId="Web-{9DE0ADE9-A0A8-D2EA-1EF2-AD3C089DDA7A}" dt="2023-10-19T17:14:49.120" v="32"/>
        <pc:sldMkLst>
          <pc:docMk/>
          <pc:sldMk cId="135391450" sldId="540"/>
        </pc:sldMkLst>
      </pc:sldChg>
      <pc:sldChg chg="del">
        <pc:chgData name="Eileen Fleming Suse" userId="S::efs3844@ads.northwestern.edu::725c94ef-d051-42d7-9d33-8572765d592b" providerId="AD" clId="Web-{9DE0ADE9-A0A8-D2EA-1EF2-AD3C089DDA7A}" dt="2023-10-19T17:14:55.417" v="36"/>
        <pc:sldMkLst>
          <pc:docMk/>
          <pc:sldMk cId="4191297091" sldId="541"/>
        </pc:sldMkLst>
      </pc:sldChg>
      <pc:sldChg chg="del">
        <pc:chgData name="Eileen Fleming Suse" userId="S::efs3844@ads.northwestern.edu::725c94ef-d051-42d7-9d33-8572765d592b" providerId="AD" clId="Web-{9DE0ADE9-A0A8-D2EA-1EF2-AD3C089DDA7A}" dt="2023-10-19T17:14:55.417" v="34"/>
        <pc:sldMkLst>
          <pc:docMk/>
          <pc:sldMk cId="2724813039" sldId="542"/>
        </pc:sldMkLst>
      </pc:sldChg>
      <pc:sldChg chg="del">
        <pc:chgData name="Eileen Fleming Suse" userId="S::efs3844@ads.northwestern.edu::725c94ef-d051-42d7-9d33-8572765d592b" providerId="AD" clId="Web-{9DE0ADE9-A0A8-D2EA-1EF2-AD3C089DDA7A}" dt="2023-10-19T17:22:12.181" v="194"/>
        <pc:sldMkLst>
          <pc:docMk/>
          <pc:sldMk cId="2874996303" sldId="543"/>
        </pc:sldMkLst>
      </pc:sldChg>
      <pc:sldChg chg="modSp new">
        <pc:chgData name="Eileen Fleming Suse" userId="S::efs3844@ads.northwestern.edu::725c94ef-d051-42d7-9d33-8572765d592b" providerId="AD" clId="Web-{9DE0ADE9-A0A8-D2EA-1EF2-AD3C089DDA7A}" dt="2023-10-19T17:20:46.975" v="157" actId="20577"/>
        <pc:sldMkLst>
          <pc:docMk/>
          <pc:sldMk cId="2351229145" sldId="544"/>
        </pc:sldMkLst>
        <pc:spChg chg="mod">
          <ac:chgData name="Eileen Fleming Suse" userId="S::efs3844@ads.northwestern.edu::725c94ef-d051-42d7-9d33-8572765d592b" providerId="AD" clId="Web-{9DE0ADE9-A0A8-D2EA-1EF2-AD3C089DDA7A}" dt="2023-10-19T17:20:46.975" v="157" actId="20577"/>
          <ac:spMkLst>
            <pc:docMk/>
            <pc:sldMk cId="2351229145" sldId="544"/>
            <ac:spMk id="2" creationId="{545C7D6E-31BC-C716-C845-E52002A3A9B8}"/>
          </ac:spMkLst>
        </pc:spChg>
      </pc:sldChg>
      <pc:sldChg chg="modSp new">
        <pc:chgData name="Eileen Fleming Suse" userId="S::efs3844@ads.northwestern.edu::725c94ef-d051-42d7-9d33-8572765d592b" providerId="AD" clId="Web-{9DE0ADE9-A0A8-D2EA-1EF2-AD3C089DDA7A}" dt="2023-10-19T17:31:31.308" v="221" actId="20577"/>
        <pc:sldMkLst>
          <pc:docMk/>
          <pc:sldMk cId="3635595752" sldId="545"/>
        </pc:sldMkLst>
        <pc:spChg chg="mod">
          <ac:chgData name="Eileen Fleming Suse" userId="S::efs3844@ads.northwestern.edu::725c94ef-d051-42d7-9d33-8572765d592b" providerId="AD" clId="Web-{9DE0ADE9-A0A8-D2EA-1EF2-AD3C089DDA7A}" dt="2023-10-19T17:31:31.308" v="221" actId="20577"/>
          <ac:spMkLst>
            <pc:docMk/>
            <pc:sldMk cId="3635595752" sldId="545"/>
            <ac:spMk id="2" creationId="{39AAB3FF-760A-B654-5F1B-78AD5BEB6B57}"/>
          </ac:spMkLst>
        </pc:spChg>
      </pc:sldChg>
      <pc:sldChg chg="modSp new">
        <pc:chgData name="Eileen Fleming Suse" userId="S::efs3844@ads.northwestern.edu::725c94ef-d051-42d7-9d33-8572765d592b" providerId="AD" clId="Web-{9DE0ADE9-A0A8-D2EA-1EF2-AD3C089DDA7A}" dt="2023-10-19T17:21:35.383" v="174" actId="20577"/>
        <pc:sldMkLst>
          <pc:docMk/>
          <pc:sldMk cId="1036043289" sldId="546"/>
        </pc:sldMkLst>
        <pc:spChg chg="mod">
          <ac:chgData name="Eileen Fleming Suse" userId="S::efs3844@ads.northwestern.edu::725c94ef-d051-42d7-9d33-8572765d592b" providerId="AD" clId="Web-{9DE0ADE9-A0A8-D2EA-1EF2-AD3C089DDA7A}" dt="2023-10-19T17:21:35.383" v="174" actId="20577"/>
          <ac:spMkLst>
            <pc:docMk/>
            <pc:sldMk cId="1036043289" sldId="546"/>
            <ac:spMk id="2" creationId="{67E16CF5-47C8-BEAD-25F8-81514DC0AF8B}"/>
          </ac:spMkLst>
        </pc:spChg>
      </pc:sldChg>
      <pc:sldChg chg="modSp new">
        <pc:chgData name="Eileen Fleming Suse" userId="S::efs3844@ads.northwestern.edu::725c94ef-d051-42d7-9d33-8572765d592b" providerId="AD" clId="Web-{9DE0ADE9-A0A8-D2EA-1EF2-AD3C089DDA7A}" dt="2023-10-19T17:21:45.039" v="180" actId="20577"/>
        <pc:sldMkLst>
          <pc:docMk/>
          <pc:sldMk cId="4024842338" sldId="547"/>
        </pc:sldMkLst>
        <pc:spChg chg="mod">
          <ac:chgData name="Eileen Fleming Suse" userId="S::efs3844@ads.northwestern.edu::725c94ef-d051-42d7-9d33-8572765d592b" providerId="AD" clId="Web-{9DE0ADE9-A0A8-D2EA-1EF2-AD3C089DDA7A}" dt="2023-10-19T17:21:45.039" v="180" actId="20577"/>
          <ac:spMkLst>
            <pc:docMk/>
            <pc:sldMk cId="4024842338" sldId="547"/>
            <ac:spMk id="2" creationId="{D3E8E3F8-686B-F051-66F8-5F0BEC66ED61}"/>
          </ac:spMkLst>
        </pc:spChg>
      </pc:sldChg>
      <pc:sldChg chg="modSp new">
        <pc:chgData name="Eileen Fleming Suse" userId="S::efs3844@ads.northwestern.edu::725c94ef-d051-42d7-9d33-8572765d592b" providerId="AD" clId="Web-{9DE0ADE9-A0A8-D2EA-1EF2-AD3C089DDA7A}" dt="2023-10-19T17:21:59.868" v="193" actId="20577"/>
        <pc:sldMkLst>
          <pc:docMk/>
          <pc:sldMk cId="3745706804" sldId="548"/>
        </pc:sldMkLst>
        <pc:spChg chg="mod">
          <ac:chgData name="Eileen Fleming Suse" userId="S::efs3844@ads.northwestern.edu::725c94ef-d051-42d7-9d33-8572765d592b" providerId="AD" clId="Web-{9DE0ADE9-A0A8-D2EA-1EF2-AD3C089DDA7A}" dt="2023-10-19T17:21:59.868" v="193" actId="20577"/>
          <ac:spMkLst>
            <pc:docMk/>
            <pc:sldMk cId="3745706804" sldId="548"/>
            <ac:spMk id="2" creationId="{C2B429CC-FC8C-ECA7-15C8-7563C27BFB95}"/>
          </ac:spMkLst>
        </pc:spChg>
      </pc:sldChg>
      <pc:sldChg chg="modSp new">
        <pc:chgData name="Eileen Fleming Suse" userId="S::efs3844@ads.northwestern.edu::725c94ef-d051-42d7-9d33-8572765d592b" providerId="AD" clId="Web-{9DE0ADE9-A0A8-D2EA-1EF2-AD3C089DDA7A}" dt="2023-10-19T17:22:57.260" v="218" actId="20577"/>
        <pc:sldMkLst>
          <pc:docMk/>
          <pc:sldMk cId="3962270618" sldId="549"/>
        </pc:sldMkLst>
        <pc:spChg chg="mod">
          <ac:chgData name="Eileen Fleming Suse" userId="S::efs3844@ads.northwestern.edu::725c94ef-d051-42d7-9d33-8572765d592b" providerId="AD" clId="Web-{9DE0ADE9-A0A8-D2EA-1EF2-AD3C089DDA7A}" dt="2023-10-19T17:22:57.260" v="218" actId="20577"/>
          <ac:spMkLst>
            <pc:docMk/>
            <pc:sldMk cId="3962270618" sldId="549"/>
            <ac:spMk id="2" creationId="{D2A51686-B2DC-CDBE-63AE-C97B6B0DBD66}"/>
          </ac:spMkLst>
        </pc:spChg>
      </pc:sldChg>
      <pc:sldChg chg="add">
        <pc:chgData name="Eileen Fleming Suse" userId="S::efs3844@ads.northwestern.edu::725c94ef-d051-42d7-9d33-8572765d592b" providerId="AD" clId="Web-{9DE0ADE9-A0A8-D2EA-1EF2-AD3C089DDA7A}" dt="2023-10-19T17:41:57.671" v="222"/>
        <pc:sldMkLst>
          <pc:docMk/>
          <pc:sldMk cId="3472964082" sldId="550"/>
        </pc:sldMkLst>
      </pc:sldChg>
      <pc:sldChg chg="add">
        <pc:chgData name="Eileen Fleming Suse" userId="S::efs3844@ads.northwestern.edu::725c94ef-d051-42d7-9d33-8572765d592b" providerId="AD" clId="Web-{9DE0ADE9-A0A8-D2EA-1EF2-AD3C089DDA7A}" dt="2023-10-19T17:41:58.437" v="223"/>
        <pc:sldMkLst>
          <pc:docMk/>
          <pc:sldMk cId="2562283095" sldId="551"/>
        </pc:sldMkLst>
      </pc:sldChg>
      <pc:sldMasterChg chg="add addSldLayout">
        <pc:chgData name="Eileen Fleming Suse" userId="S::efs3844@ads.northwestern.edu::725c94ef-d051-42d7-9d33-8572765d592b" providerId="AD" clId="Web-{9DE0ADE9-A0A8-D2EA-1EF2-AD3C089DDA7A}" dt="2023-10-19T17:41:57.671" v="222"/>
        <pc:sldMasterMkLst>
          <pc:docMk/>
          <pc:sldMasterMk cId="0" sldId="2147483648"/>
        </pc:sldMasterMkLst>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49"/>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0"/>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1"/>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2"/>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3"/>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4"/>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5"/>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6"/>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7"/>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8"/>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9"/>
          </pc:sldLayoutMkLst>
        </pc:sldLayoutChg>
      </pc:sldMasterChg>
    </pc:docChg>
  </pc:docChgLst>
  <pc:docChgLst>
    <pc:chgData name="Eileen Fleming Suse" userId="S::efs3844@ads.northwestern.edu::725c94ef-d051-42d7-9d33-8572765d592b" providerId="AD" clId="Web-{8024C570-7E9A-022B-CE90-C0FD861720C1}"/>
    <pc:docChg chg="addSld modSld">
      <pc:chgData name="Eileen Fleming Suse" userId="S::efs3844@ads.northwestern.edu::725c94ef-d051-42d7-9d33-8572765d592b" providerId="AD" clId="Web-{8024C570-7E9A-022B-CE90-C0FD861720C1}" dt="2023-10-23T23:03:50.878" v="517"/>
      <pc:docMkLst>
        <pc:docMk/>
      </pc:docMkLst>
      <pc:sldChg chg="modSp">
        <pc:chgData name="Eileen Fleming Suse" userId="S::efs3844@ads.northwestern.edu::725c94ef-d051-42d7-9d33-8572765d592b" providerId="AD" clId="Web-{8024C570-7E9A-022B-CE90-C0FD861720C1}" dt="2023-10-23T22:30:55.096" v="1" actId="20577"/>
        <pc:sldMkLst>
          <pc:docMk/>
          <pc:sldMk cId="3127921386" sldId="280"/>
        </pc:sldMkLst>
        <pc:spChg chg="mod">
          <ac:chgData name="Eileen Fleming Suse" userId="S::efs3844@ads.northwestern.edu::725c94ef-d051-42d7-9d33-8572765d592b" providerId="AD" clId="Web-{8024C570-7E9A-022B-CE90-C0FD861720C1}" dt="2023-10-23T22:30:55.096" v="1" actId="20577"/>
          <ac:spMkLst>
            <pc:docMk/>
            <pc:sldMk cId="3127921386" sldId="280"/>
            <ac:spMk id="4" creationId="{19922563-64D6-2A4E-B048-13AC25DB45AD}"/>
          </ac:spMkLst>
        </pc:spChg>
      </pc:sldChg>
      <pc:sldChg chg="modSp">
        <pc:chgData name="Eileen Fleming Suse" userId="S::efs3844@ads.northwestern.edu::725c94ef-d051-42d7-9d33-8572765d592b" providerId="AD" clId="Web-{8024C570-7E9A-022B-CE90-C0FD861720C1}" dt="2023-10-23T23:01:55.094" v="478" actId="20577"/>
        <pc:sldMkLst>
          <pc:docMk/>
          <pc:sldMk cId="4044691067" sldId="283"/>
        </pc:sldMkLst>
        <pc:spChg chg="mod">
          <ac:chgData name="Eileen Fleming Suse" userId="S::efs3844@ads.northwestern.edu::725c94ef-d051-42d7-9d33-8572765d592b" providerId="AD" clId="Web-{8024C570-7E9A-022B-CE90-C0FD861720C1}" dt="2023-10-23T23:01:55.094" v="478" actId="20577"/>
          <ac:spMkLst>
            <pc:docMk/>
            <pc:sldMk cId="4044691067" sldId="283"/>
            <ac:spMk id="16387" creationId="{00000000-0000-0000-0000-000000000000}"/>
          </ac:spMkLst>
        </pc:spChg>
      </pc:sldChg>
      <pc:sldChg chg="delCm">
        <pc:chgData name="Eileen Fleming Suse" userId="S::efs3844@ads.northwestern.edu::725c94ef-d051-42d7-9d33-8572765d592b" providerId="AD" clId="Web-{8024C570-7E9A-022B-CE90-C0FD861720C1}" dt="2023-10-23T22:43:45.317" v="154"/>
        <pc:sldMkLst>
          <pc:docMk/>
          <pc:sldMk cId="1231844700" sldId="55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8024C570-7E9A-022B-CE90-C0FD861720C1}" dt="2023-10-23T22:43:45.317" v="154"/>
              <pc2:cmMkLst xmlns:pc2="http://schemas.microsoft.com/office/powerpoint/2019/9/main/command">
                <pc:docMk/>
                <pc:sldMk cId="1231844700" sldId="554"/>
                <pc2:cmMk id="{30D146EB-BFA1-4AFA-93C4-FA1954A298F6}"/>
              </pc2:cmMkLst>
            </pc226:cmChg>
          </p:ext>
        </pc:extLst>
      </pc:sldChg>
      <pc:sldChg chg="addSp modSp">
        <pc:chgData name="Eileen Fleming Suse" userId="S::efs3844@ads.northwestern.edu::725c94ef-d051-42d7-9d33-8572765d592b" providerId="AD" clId="Web-{8024C570-7E9A-022B-CE90-C0FD861720C1}" dt="2023-10-23T22:43:34.286" v="153" actId="20577"/>
        <pc:sldMkLst>
          <pc:docMk/>
          <pc:sldMk cId="1522616096" sldId="555"/>
        </pc:sldMkLst>
        <pc:spChg chg="mod">
          <ac:chgData name="Eileen Fleming Suse" userId="S::efs3844@ads.northwestern.edu::725c94ef-d051-42d7-9d33-8572765d592b" providerId="AD" clId="Web-{8024C570-7E9A-022B-CE90-C0FD861720C1}" dt="2023-10-23T22:43:34.286" v="153" actId="20577"/>
          <ac:spMkLst>
            <pc:docMk/>
            <pc:sldMk cId="1522616096" sldId="555"/>
            <ac:spMk id="2" creationId="{F40AE700-1499-46B3-C70A-C723802CD680}"/>
          </ac:spMkLst>
        </pc:spChg>
        <pc:spChg chg="add mod">
          <ac:chgData name="Eileen Fleming Suse" userId="S::efs3844@ads.northwestern.edu::725c94ef-d051-42d7-9d33-8572765d592b" providerId="AD" clId="Web-{8024C570-7E9A-022B-CE90-C0FD861720C1}" dt="2023-10-23T22:40:06.844" v="76" actId="1076"/>
          <ac:spMkLst>
            <pc:docMk/>
            <pc:sldMk cId="1522616096" sldId="555"/>
            <ac:spMk id="3" creationId="{1C814D25-66C5-ACFC-3102-DB1C47E8E790}"/>
          </ac:spMkLst>
        </pc:spChg>
        <pc:spChg chg="add mod">
          <ac:chgData name="Eileen Fleming Suse" userId="S::efs3844@ads.northwestern.edu::725c94ef-d051-42d7-9d33-8572765d592b" providerId="AD" clId="Web-{8024C570-7E9A-022B-CE90-C0FD861720C1}" dt="2023-10-23T22:40:01.390" v="74" actId="1076"/>
          <ac:spMkLst>
            <pc:docMk/>
            <pc:sldMk cId="1522616096" sldId="555"/>
            <ac:spMk id="4" creationId="{3D49CA6C-78ED-3124-7EE3-BBDDC9988910}"/>
          </ac:spMkLst>
        </pc:spChg>
        <pc:spChg chg="add mod">
          <ac:chgData name="Eileen Fleming Suse" userId="S::efs3844@ads.northwestern.edu::725c94ef-d051-42d7-9d33-8572765d592b" providerId="AD" clId="Web-{8024C570-7E9A-022B-CE90-C0FD861720C1}" dt="2023-10-23T22:41:37.408" v="150" actId="14100"/>
          <ac:spMkLst>
            <pc:docMk/>
            <pc:sldMk cId="1522616096" sldId="555"/>
            <ac:spMk id="5" creationId="{19C1D751-08DD-BD76-1181-C434C9849C27}"/>
          </ac:spMkLst>
        </pc:spChg>
        <pc:spChg chg="mod">
          <ac:chgData name="Eileen Fleming Suse" userId="S::efs3844@ads.northwestern.edu::725c94ef-d051-42d7-9d33-8572765d592b" providerId="AD" clId="Web-{8024C570-7E9A-022B-CE90-C0FD861720C1}" dt="2023-10-23T22:39:53.359" v="70" actId="1076"/>
          <ac:spMkLst>
            <pc:docMk/>
            <pc:sldMk cId="1522616096" sldId="555"/>
            <ac:spMk id="6" creationId="{055E55DF-27B4-B9A8-84BB-DC4C1522901C}"/>
          </ac:spMkLst>
        </pc:spChg>
        <pc:spChg chg="mod">
          <ac:chgData name="Eileen Fleming Suse" userId="S::efs3844@ads.northwestern.edu::725c94ef-d051-42d7-9d33-8572765d592b" providerId="AD" clId="Web-{8024C570-7E9A-022B-CE90-C0FD861720C1}" dt="2023-10-23T22:39:53.296" v="64" actId="1076"/>
          <ac:spMkLst>
            <pc:docMk/>
            <pc:sldMk cId="1522616096" sldId="555"/>
            <ac:spMk id="7" creationId="{98AEAD99-3E06-8D3F-3F0C-CDC9176523B6}"/>
          </ac:spMkLst>
        </pc:spChg>
        <pc:spChg chg="add mod">
          <ac:chgData name="Eileen Fleming Suse" userId="S::efs3844@ads.northwestern.edu::725c94ef-d051-42d7-9d33-8572765d592b" providerId="AD" clId="Web-{8024C570-7E9A-022B-CE90-C0FD861720C1}" dt="2023-10-23T22:41:47.846" v="152" actId="14100"/>
          <ac:spMkLst>
            <pc:docMk/>
            <pc:sldMk cId="1522616096" sldId="555"/>
            <ac:spMk id="8" creationId="{6E760B7B-BD6C-24E2-33A9-EF4A040B086A}"/>
          </ac:spMkLst>
        </pc:spChg>
        <pc:spChg chg="mod">
          <ac:chgData name="Eileen Fleming Suse" userId="S::efs3844@ads.northwestern.edu::725c94ef-d051-42d7-9d33-8572765d592b" providerId="AD" clId="Web-{8024C570-7E9A-022B-CE90-C0FD861720C1}" dt="2023-10-23T22:39:53.312" v="65" actId="1076"/>
          <ac:spMkLst>
            <pc:docMk/>
            <pc:sldMk cId="1522616096" sldId="555"/>
            <ac:spMk id="9" creationId="{6DCB2364-A5B2-FB37-162C-58D7616BFAA3}"/>
          </ac:spMkLst>
        </pc:spChg>
        <pc:spChg chg="mod">
          <ac:chgData name="Eileen Fleming Suse" userId="S::efs3844@ads.northwestern.edu::725c94ef-d051-42d7-9d33-8572765d592b" providerId="AD" clId="Web-{8024C570-7E9A-022B-CE90-C0FD861720C1}" dt="2023-10-23T22:39:53.312" v="66" actId="1076"/>
          <ac:spMkLst>
            <pc:docMk/>
            <pc:sldMk cId="1522616096" sldId="555"/>
            <ac:spMk id="11" creationId="{33B71E7D-B0CF-32BF-4481-78C694C53404}"/>
          </ac:spMkLst>
        </pc:spChg>
        <pc:spChg chg="mod">
          <ac:chgData name="Eileen Fleming Suse" userId="S::efs3844@ads.northwestern.edu::725c94ef-d051-42d7-9d33-8572765d592b" providerId="AD" clId="Web-{8024C570-7E9A-022B-CE90-C0FD861720C1}" dt="2023-10-23T22:39:53.328" v="67" actId="1076"/>
          <ac:spMkLst>
            <pc:docMk/>
            <pc:sldMk cId="1522616096" sldId="555"/>
            <ac:spMk id="13" creationId="{50A7250D-02AB-B054-06E1-32E9F8FC55C0}"/>
          </ac:spMkLst>
        </pc:spChg>
        <pc:spChg chg="mod">
          <ac:chgData name="Eileen Fleming Suse" userId="S::efs3844@ads.northwestern.edu::725c94ef-d051-42d7-9d33-8572765d592b" providerId="AD" clId="Web-{8024C570-7E9A-022B-CE90-C0FD861720C1}" dt="2023-10-23T22:39:53.343" v="68" actId="1076"/>
          <ac:spMkLst>
            <pc:docMk/>
            <pc:sldMk cId="1522616096" sldId="555"/>
            <ac:spMk id="15" creationId="{63237A5A-8FBE-2248-7DAF-97A8D25F57D1}"/>
          </ac:spMkLst>
        </pc:spChg>
        <pc:spChg chg="mod">
          <ac:chgData name="Eileen Fleming Suse" userId="S::efs3844@ads.northwestern.edu::725c94ef-d051-42d7-9d33-8572765d592b" providerId="AD" clId="Web-{8024C570-7E9A-022B-CE90-C0FD861720C1}" dt="2023-10-23T22:39:53.343" v="69" actId="1076"/>
          <ac:spMkLst>
            <pc:docMk/>
            <pc:sldMk cId="1522616096" sldId="555"/>
            <ac:spMk id="17" creationId="{9694707D-377A-FF99-AFDB-26A575A618C3}"/>
          </ac:spMkLst>
        </pc:spChg>
      </pc:sldChg>
      <pc:sldChg chg="delSp modSp add replId">
        <pc:chgData name="Eileen Fleming Suse" userId="S::efs3844@ads.northwestern.edu::725c94ef-d051-42d7-9d33-8572765d592b" providerId="AD" clId="Web-{8024C570-7E9A-022B-CE90-C0FD861720C1}" dt="2023-10-23T22:53:11.409" v="475" actId="1076"/>
        <pc:sldMkLst>
          <pc:docMk/>
          <pc:sldMk cId="773696652" sldId="558"/>
        </pc:sldMkLst>
        <pc:spChg chg="mod">
          <ac:chgData name="Eileen Fleming Suse" userId="S::efs3844@ads.northwestern.edu::725c94ef-d051-42d7-9d33-8572765d592b" providerId="AD" clId="Web-{8024C570-7E9A-022B-CE90-C0FD861720C1}" dt="2023-10-23T22:53:09.534" v="474" actId="1076"/>
          <ac:spMkLst>
            <pc:docMk/>
            <pc:sldMk cId="773696652" sldId="558"/>
            <ac:spMk id="3" creationId="{1C814D25-66C5-ACFC-3102-DB1C47E8E790}"/>
          </ac:spMkLst>
        </pc:spChg>
        <pc:spChg chg="del">
          <ac:chgData name="Eileen Fleming Suse" userId="S::efs3844@ads.northwestern.edu::725c94ef-d051-42d7-9d33-8572765d592b" providerId="AD" clId="Web-{8024C570-7E9A-022B-CE90-C0FD861720C1}" dt="2023-10-23T22:44:50.569" v="171"/>
          <ac:spMkLst>
            <pc:docMk/>
            <pc:sldMk cId="773696652" sldId="558"/>
            <ac:spMk id="4" creationId="{3D49CA6C-78ED-3124-7EE3-BBDDC9988910}"/>
          </ac:spMkLst>
        </pc:spChg>
        <pc:spChg chg="mod">
          <ac:chgData name="Eileen Fleming Suse" userId="S::efs3844@ads.northwestern.edu::725c94ef-d051-42d7-9d33-8572765d592b" providerId="AD" clId="Web-{8024C570-7E9A-022B-CE90-C0FD861720C1}" dt="2023-10-23T22:53:11.409" v="475" actId="1076"/>
          <ac:spMkLst>
            <pc:docMk/>
            <pc:sldMk cId="773696652" sldId="558"/>
            <ac:spMk id="5" creationId="{19C1D751-08DD-BD76-1181-C434C9849C27}"/>
          </ac:spMkLst>
        </pc:spChg>
        <pc:spChg chg="mod">
          <ac:chgData name="Eileen Fleming Suse" userId="S::efs3844@ads.northwestern.edu::725c94ef-d051-42d7-9d33-8572765d592b" providerId="AD" clId="Web-{8024C570-7E9A-022B-CE90-C0FD861720C1}" dt="2023-10-23T22:46:54.150" v="251" actId="1076"/>
          <ac:spMkLst>
            <pc:docMk/>
            <pc:sldMk cId="773696652" sldId="558"/>
            <ac:spMk id="6" creationId="{055E55DF-27B4-B9A8-84BB-DC4C1522901C}"/>
          </ac:spMkLst>
        </pc:spChg>
        <pc:spChg chg="mod">
          <ac:chgData name="Eileen Fleming Suse" userId="S::efs3844@ads.northwestern.edu::725c94ef-d051-42d7-9d33-8572765d592b" providerId="AD" clId="Web-{8024C570-7E9A-022B-CE90-C0FD861720C1}" dt="2023-10-23T22:46:54.119" v="245" actId="1076"/>
          <ac:spMkLst>
            <pc:docMk/>
            <pc:sldMk cId="773696652" sldId="558"/>
            <ac:spMk id="7" creationId="{98AEAD99-3E06-8D3F-3F0C-CDC9176523B6}"/>
          </ac:spMkLst>
        </pc:spChg>
        <pc:spChg chg="del">
          <ac:chgData name="Eileen Fleming Suse" userId="S::efs3844@ads.northwestern.edu::725c94ef-d051-42d7-9d33-8572765d592b" providerId="AD" clId="Web-{8024C570-7E9A-022B-CE90-C0FD861720C1}" dt="2023-10-23T22:44:48.491" v="170"/>
          <ac:spMkLst>
            <pc:docMk/>
            <pc:sldMk cId="773696652" sldId="558"/>
            <ac:spMk id="8" creationId="{6E760B7B-BD6C-24E2-33A9-EF4A040B086A}"/>
          </ac:spMkLst>
        </pc:spChg>
        <pc:spChg chg="mod">
          <ac:chgData name="Eileen Fleming Suse" userId="S::efs3844@ads.northwestern.edu::725c94ef-d051-42d7-9d33-8572765d592b" providerId="AD" clId="Web-{8024C570-7E9A-022B-CE90-C0FD861720C1}" dt="2023-10-23T22:46:54.119" v="246" actId="1076"/>
          <ac:spMkLst>
            <pc:docMk/>
            <pc:sldMk cId="773696652" sldId="558"/>
            <ac:spMk id="9" creationId="{6DCB2364-A5B2-FB37-162C-58D7616BFAA3}"/>
          </ac:spMkLst>
        </pc:spChg>
        <pc:spChg chg="mod">
          <ac:chgData name="Eileen Fleming Suse" userId="S::efs3844@ads.northwestern.edu::725c94ef-d051-42d7-9d33-8572765d592b" providerId="AD" clId="Web-{8024C570-7E9A-022B-CE90-C0FD861720C1}" dt="2023-10-23T22:46:54.119" v="247" actId="1076"/>
          <ac:spMkLst>
            <pc:docMk/>
            <pc:sldMk cId="773696652" sldId="558"/>
            <ac:spMk id="11" creationId="{33B71E7D-B0CF-32BF-4481-78C694C53404}"/>
          </ac:spMkLst>
        </pc:spChg>
        <pc:spChg chg="mod">
          <ac:chgData name="Eileen Fleming Suse" userId="S::efs3844@ads.northwestern.edu::725c94ef-d051-42d7-9d33-8572765d592b" providerId="AD" clId="Web-{8024C570-7E9A-022B-CE90-C0FD861720C1}" dt="2023-10-23T22:46:54.134" v="248" actId="1076"/>
          <ac:spMkLst>
            <pc:docMk/>
            <pc:sldMk cId="773696652" sldId="558"/>
            <ac:spMk id="13" creationId="{50A7250D-02AB-B054-06E1-32E9F8FC55C0}"/>
          </ac:spMkLst>
        </pc:spChg>
        <pc:spChg chg="mod">
          <ac:chgData name="Eileen Fleming Suse" userId="S::efs3844@ads.northwestern.edu::725c94ef-d051-42d7-9d33-8572765d592b" providerId="AD" clId="Web-{8024C570-7E9A-022B-CE90-C0FD861720C1}" dt="2023-10-23T22:46:54.134" v="249" actId="1076"/>
          <ac:spMkLst>
            <pc:docMk/>
            <pc:sldMk cId="773696652" sldId="558"/>
            <ac:spMk id="15" creationId="{63237A5A-8FBE-2248-7DAF-97A8D25F57D1}"/>
          </ac:spMkLst>
        </pc:spChg>
        <pc:spChg chg="mod">
          <ac:chgData name="Eileen Fleming Suse" userId="S::efs3844@ads.northwestern.edu::725c94ef-d051-42d7-9d33-8572765d592b" providerId="AD" clId="Web-{8024C570-7E9A-022B-CE90-C0FD861720C1}" dt="2023-10-23T22:46:54.150" v="250" actId="1076"/>
          <ac:spMkLst>
            <pc:docMk/>
            <pc:sldMk cId="773696652" sldId="558"/>
            <ac:spMk id="17" creationId="{9694707D-377A-FF99-AFDB-26A575A618C3}"/>
          </ac:spMkLst>
        </pc:spChg>
      </pc:sldChg>
      <pc:sldChg chg="addSp delSp modSp new mod setBg">
        <pc:chgData name="Eileen Fleming Suse" userId="S::efs3844@ads.northwestern.edu::725c94ef-d051-42d7-9d33-8572765d592b" providerId="AD" clId="Web-{8024C570-7E9A-022B-CE90-C0FD861720C1}" dt="2023-10-23T23:03:50.878" v="517"/>
        <pc:sldMkLst>
          <pc:docMk/>
          <pc:sldMk cId="202185053" sldId="559"/>
        </pc:sldMkLst>
        <pc:spChg chg="mod">
          <ac:chgData name="Eileen Fleming Suse" userId="S::efs3844@ads.northwestern.edu::725c94ef-d051-42d7-9d33-8572765d592b" providerId="AD" clId="Web-{8024C570-7E9A-022B-CE90-C0FD861720C1}" dt="2023-10-23T23:03:50.878" v="517"/>
          <ac:spMkLst>
            <pc:docMk/>
            <pc:sldMk cId="202185053" sldId="559"/>
            <ac:spMk id="2" creationId="{4DA6F726-268B-D1E3-168E-B1D635F770C9}"/>
          </ac:spMkLst>
        </pc:spChg>
        <pc:spChg chg="del mod">
          <ac:chgData name="Eileen Fleming Suse" userId="S::efs3844@ads.northwestern.edu::725c94ef-d051-42d7-9d33-8572765d592b" providerId="AD" clId="Web-{8024C570-7E9A-022B-CE90-C0FD861720C1}" dt="2023-10-23T23:03:50.878" v="517"/>
          <ac:spMkLst>
            <pc:docMk/>
            <pc:sldMk cId="202185053" sldId="559"/>
            <ac:spMk id="3" creationId="{97C35C3F-414A-0BEC-2B1F-CEADE5601055}"/>
          </ac:spMkLst>
        </pc:spChg>
        <pc:spChg chg="add">
          <ac:chgData name="Eileen Fleming Suse" userId="S::efs3844@ads.northwestern.edu::725c94ef-d051-42d7-9d33-8572765d592b" providerId="AD" clId="Web-{8024C570-7E9A-022B-CE90-C0FD861720C1}" dt="2023-10-23T23:03:50.878" v="517"/>
          <ac:spMkLst>
            <pc:docMk/>
            <pc:sldMk cId="202185053" sldId="559"/>
            <ac:spMk id="9" creationId="{35DB3719-6FDC-4E5D-891D-FF40B7300F64}"/>
          </ac:spMkLst>
        </pc:spChg>
        <pc:spChg chg="add">
          <ac:chgData name="Eileen Fleming Suse" userId="S::efs3844@ads.northwestern.edu::725c94ef-d051-42d7-9d33-8572765d592b" providerId="AD" clId="Web-{8024C570-7E9A-022B-CE90-C0FD861720C1}" dt="2023-10-23T23:03:50.878" v="517"/>
          <ac:spMkLst>
            <pc:docMk/>
            <pc:sldMk cId="202185053" sldId="559"/>
            <ac:spMk id="11" creationId="{E0CBAC23-2E3F-4A90-BA59-F8299F6A5439}"/>
          </ac:spMkLst>
        </pc:spChg>
        <pc:graphicFrameChg chg="add">
          <ac:chgData name="Eileen Fleming Suse" userId="S::efs3844@ads.northwestern.edu::725c94ef-d051-42d7-9d33-8572765d592b" providerId="AD" clId="Web-{8024C570-7E9A-022B-CE90-C0FD861720C1}" dt="2023-10-23T23:03:50.878" v="517"/>
          <ac:graphicFrameMkLst>
            <pc:docMk/>
            <pc:sldMk cId="202185053" sldId="559"/>
            <ac:graphicFrameMk id="5" creationId="{6E278A11-E295-101C-28FB-746B039E4D18}"/>
          </ac:graphicFrameMkLst>
        </pc:graphicFrameChg>
      </pc:sldChg>
    </pc:docChg>
  </pc:docChgLst>
  <pc:docChgLst>
    <pc:chgData name="Caldarelli, Leslie" userId="S::lcaldarelli_luriechildrens.org#ext#@nuwildcat.onmicrosoft.com::cd79b54d-c14e-4199-a04a-39c6f592e710" providerId="AD" clId="Web-{96B049F1-23A1-EFBD-700B-2889CC878206}"/>
    <pc:docChg chg="addSld delSld modSld">
      <pc:chgData name="Caldarelli, Leslie" userId="S::lcaldarelli_luriechildrens.org#ext#@nuwildcat.onmicrosoft.com::cd79b54d-c14e-4199-a04a-39c6f592e710" providerId="AD" clId="Web-{96B049F1-23A1-EFBD-700B-2889CC878206}" dt="2023-10-31T04:45:48.858" v="115"/>
      <pc:docMkLst>
        <pc:docMk/>
      </pc:docMkLst>
      <pc:sldChg chg="modSp">
        <pc:chgData name="Caldarelli, Leslie" userId="S::lcaldarelli_luriechildrens.org#ext#@nuwildcat.onmicrosoft.com::cd79b54d-c14e-4199-a04a-39c6f592e710" providerId="AD" clId="Web-{96B049F1-23A1-EFBD-700B-2889CC878206}" dt="2023-10-31T04:36:15.700" v="10" actId="1076"/>
        <pc:sldMkLst>
          <pc:docMk/>
          <pc:sldMk cId="3472964082" sldId="550"/>
        </pc:sldMkLst>
        <pc:spChg chg="mod">
          <ac:chgData name="Caldarelli, Leslie" userId="S::lcaldarelli_luriechildrens.org#ext#@nuwildcat.onmicrosoft.com::cd79b54d-c14e-4199-a04a-39c6f592e710" providerId="AD" clId="Web-{96B049F1-23A1-EFBD-700B-2889CC878206}" dt="2023-10-31T04:36:15.700" v="10" actId="1076"/>
          <ac:spMkLst>
            <pc:docMk/>
            <pc:sldMk cId="3472964082" sldId="550"/>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6:05.231" v="8" actId="14100"/>
        <pc:sldMkLst>
          <pc:docMk/>
          <pc:sldMk cId="2562283095" sldId="551"/>
        </pc:sldMkLst>
        <pc:spChg chg="mod">
          <ac:chgData name="Caldarelli, Leslie" userId="S::lcaldarelli_luriechildrens.org#ext#@nuwildcat.onmicrosoft.com::cd79b54d-c14e-4199-a04a-39c6f592e710" providerId="AD" clId="Web-{96B049F1-23A1-EFBD-700B-2889CC878206}" dt="2023-10-31T04:36:05.231" v="8" actId="14100"/>
          <ac:spMkLst>
            <pc:docMk/>
            <pc:sldMk cId="2562283095" sldId="551"/>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8:09.080" v="32" actId="1076"/>
        <pc:sldMkLst>
          <pc:docMk/>
          <pc:sldMk cId="714682852" sldId="552"/>
        </pc:sldMkLst>
        <pc:spChg chg="mod">
          <ac:chgData name="Caldarelli, Leslie" userId="S::lcaldarelli_luriechildrens.org#ext#@nuwildcat.onmicrosoft.com::cd79b54d-c14e-4199-a04a-39c6f592e710" providerId="AD" clId="Web-{96B049F1-23A1-EFBD-700B-2889CC878206}" dt="2023-10-31T04:38:09.080" v="32" actId="1076"/>
          <ac:spMkLst>
            <pc:docMk/>
            <pc:sldMk cId="714682852" sldId="552"/>
            <ac:spMk id="6" creationId="{D07E332C-4452-C8D5-59CC-C21023DE9083}"/>
          </ac:spMkLst>
        </pc:spChg>
      </pc:sldChg>
      <pc:sldChg chg="del">
        <pc:chgData name="Caldarelli, Leslie" userId="S::lcaldarelli_luriechildrens.org#ext#@nuwildcat.onmicrosoft.com::cd79b54d-c14e-4199-a04a-39c6f592e710" providerId="AD" clId="Web-{96B049F1-23A1-EFBD-700B-2889CC878206}" dt="2023-10-31T04:43:40.230" v="99"/>
        <pc:sldMkLst>
          <pc:docMk/>
          <pc:sldMk cId="613071383" sldId="561"/>
        </pc:sldMkLst>
      </pc:sldChg>
      <pc:sldChg chg="modSp modNotes">
        <pc:chgData name="Caldarelli, Leslie" userId="S::lcaldarelli_luriechildrens.org#ext#@nuwildcat.onmicrosoft.com::cd79b54d-c14e-4199-a04a-39c6f592e710" providerId="AD" clId="Web-{96B049F1-23A1-EFBD-700B-2889CC878206}" dt="2023-10-31T04:44:16.840" v="109"/>
        <pc:sldMkLst>
          <pc:docMk/>
          <pc:sldMk cId="1141815353" sldId="562"/>
        </pc:sldMkLst>
        <pc:spChg chg="mod">
          <ac:chgData name="Caldarelli, Leslie" userId="S::lcaldarelli_luriechildrens.org#ext#@nuwildcat.onmicrosoft.com::cd79b54d-c14e-4199-a04a-39c6f592e710" providerId="AD" clId="Web-{96B049F1-23A1-EFBD-700B-2889CC878206}" dt="2023-10-31T04:44:11.074" v="108" actId="1076"/>
          <ac:spMkLst>
            <pc:docMk/>
            <pc:sldMk cId="1141815353" sldId="562"/>
            <ac:spMk id="2" creationId="{05579FEB-3306-A04E-6516-F16994F3B0F9}"/>
          </ac:spMkLst>
        </pc:spChg>
      </pc:sldChg>
      <pc:sldChg chg="modSp">
        <pc:chgData name="Caldarelli, Leslie" userId="S::lcaldarelli_luriechildrens.org#ext#@nuwildcat.onmicrosoft.com::cd79b54d-c14e-4199-a04a-39c6f592e710" providerId="AD" clId="Web-{96B049F1-23A1-EFBD-700B-2889CC878206}" dt="2023-10-31T04:35:14.683" v="3" actId="14100"/>
        <pc:sldMkLst>
          <pc:docMk/>
          <pc:sldMk cId="3561966490" sldId="585"/>
        </pc:sldMkLst>
        <pc:spChg chg="mod">
          <ac:chgData name="Caldarelli, Leslie" userId="S::lcaldarelli_luriechildrens.org#ext#@nuwildcat.onmicrosoft.com::cd79b54d-c14e-4199-a04a-39c6f592e710" providerId="AD" clId="Web-{96B049F1-23A1-EFBD-700B-2889CC878206}" dt="2023-10-31T04:35:14.683" v="3" actId="14100"/>
          <ac:spMkLst>
            <pc:docMk/>
            <pc:sldMk cId="3561966490" sldId="585"/>
            <ac:spMk id="19"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5:05.339" v="1" actId="1076"/>
        <pc:sldMkLst>
          <pc:docMk/>
          <pc:sldMk cId="3809547791" sldId="586"/>
        </pc:sldMkLst>
        <pc:spChg chg="mod">
          <ac:chgData name="Caldarelli, Leslie" userId="S::lcaldarelli_luriechildrens.org#ext#@nuwildcat.onmicrosoft.com::cd79b54d-c14e-4199-a04a-39c6f592e710" providerId="AD" clId="Web-{96B049F1-23A1-EFBD-700B-2889CC878206}" dt="2023-10-31T04:34:57.432" v="0" actId="1076"/>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96B049F1-23A1-EFBD-700B-2889CC878206}" dt="2023-10-31T04:35:05.339" v="1" actId="1076"/>
          <ac:spMkLst>
            <pc:docMk/>
            <pc:sldMk cId="3809547791" sldId="586"/>
            <ac:spMk id="47" creationId="{B8E0B5F5-B6A2-711D-2F6F-422E5E01B221}"/>
          </ac:spMkLst>
        </pc:spChg>
      </pc:sldChg>
      <pc:sldChg chg="modNotes">
        <pc:chgData name="Caldarelli, Leslie" userId="S::lcaldarelli_luriechildrens.org#ext#@nuwildcat.onmicrosoft.com::cd79b54d-c14e-4199-a04a-39c6f592e710" providerId="AD" clId="Web-{96B049F1-23A1-EFBD-700B-2889CC878206}" dt="2023-10-31T04:45:48.858" v="115"/>
        <pc:sldMkLst>
          <pc:docMk/>
          <pc:sldMk cId="3557549611" sldId="639"/>
        </pc:sldMkLst>
      </pc:sldChg>
      <pc:sldChg chg="addSp delSp modSp">
        <pc:chgData name="Caldarelli, Leslie" userId="S::lcaldarelli_luriechildrens.org#ext#@nuwildcat.onmicrosoft.com::cd79b54d-c14e-4199-a04a-39c6f592e710" providerId="AD" clId="Web-{96B049F1-23A1-EFBD-700B-2889CC878206}" dt="2023-10-31T04:38:59.597" v="37" actId="1076"/>
        <pc:sldMkLst>
          <pc:docMk/>
          <pc:sldMk cId="2443892533" sldId="643"/>
        </pc:sldMkLst>
        <pc:spChg chg="add del">
          <ac:chgData name="Caldarelli, Leslie" userId="S::lcaldarelli_luriechildrens.org#ext#@nuwildcat.onmicrosoft.com::cd79b54d-c14e-4199-a04a-39c6f592e710" providerId="AD" clId="Web-{96B049F1-23A1-EFBD-700B-2889CC878206}" dt="2023-10-31T04:38:46.097" v="35"/>
          <ac:spMkLst>
            <pc:docMk/>
            <pc:sldMk cId="2443892533" sldId="643"/>
            <ac:spMk id="11" creationId="{581D0C8D-2C93-30F9-7F42-CCAD53566229}"/>
          </ac:spMkLst>
        </pc:spChg>
        <pc:picChg chg="del">
          <ac:chgData name="Caldarelli, Leslie" userId="S::lcaldarelli_luriechildrens.org#ext#@nuwildcat.onmicrosoft.com::cd79b54d-c14e-4199-a04a-39c6f592e710" providerId="AD" clId="Web-{96B049F1-23A1-EFBD-700B-2889CC878206}" dt="2023-10-31T04:38:37.643" v="34"/>
          <ac:picMkLst>
            <pc:docMk/>
            <pc:sldMk cId="2443892533" sldId="643"/>
            <ac:picMk id="6" creationId="{3066B4FD-BDBD-74CF-7224-C3F9CDFF7807}"/>
          </ac:picMkLst>
        </pc:picChg>
        <pc:picChg chg="add mod">
          <ac:chgData name="Caldarelli, Leslie" userId="S::lcaldarelli_luriechildrens.org#ext#@nuwildcat.onmicrosoft.com::cd79b54d-c14e-4199-a04a-39c6f592e710" providerId="AD" clId="Web-{96B049F1-23A1-EFBD-700B-2889CC878206}" dt="2023-10-31T04:38:59.597" v="37" actId="1076"/>
          <ac:picMkLst>
            <pc:docMk/>
            <pc:sldMk cId="2443892533" sldId="643"/>
            <ac:picMk id="12" creationId="{9D8440DA-935D-14D8-8E90-E43A542C29BF}"/>
          </ac:picMkLst>
        </pc:picChg>
      </pc:sldChg>
      <pc:sldChg chg="new del modNotes">
        <pc:chgData name="Caldarelli, Leslie" userId="S::lcaldarelli_luriechildrens.org#ext#@nuwildcat.onmicrosoft.com::cd79b54d-c14e-4199-a04a-39c6f592e710" providerId="AD" clId="Web-{96B049F1-23A1-EFBD-700B-2889CC878206}" dt="2023-10-31T04:40:30.584" v="55"/>
        <pc:sldMkLst>
          <pc:docMk/>
          <pc:sldMk cId="1086780328" sldId="644"/>
        </pc:sldMkLst>
      </pc:sldChg>
      <pc:sldChg chg="new del modNotes">
        <pc:chgData name="Caldarelli, Leslie" userId="S::lcaldarelli_luriechildrens.org#ext#@nuwildcat.onmicrosoft.com::cd79b54d-c14e-4199-a04a-39c6f592e710" providerId="AD" clId="Web-{96B049F1-23A1-EFBD-700B-2889CC878206}" dt="2023-10-31T04:43:35.714" v="98"/>
        <pc:sldMkLst>
          <pc:docMk/>
          <pc:sldMk cId="97814466" sldId="645"/>
        </pc:sldMkLst>
      </pc:sldChg>
      <pc:sldChg chg="modSp add replId modNotes">
        <pc:chgData name="Caldarelli, Leslie" userId="S::lcaldarelli_luriechildrens.org#ext#@nuwildcat.onmicrosoft.com::cd79b54d-c14e-4199-a04a-39c6f592e710" providerId="AD" clId="Web-{96B049F1-23A1-EFBD-700B-2889CC878206}" dt="2023-10-31T04:43:27.510" v="97" actId="20577"/>
        <pc:sldMkLst>
          <pc:docMk/>
          <pc:sldMk cId="226321953" sldId="646"/>
        </pc:sldMkLst>
        <pc:spChg chg="mod">
          <ac:chgData name="Caldarelli, Leslie" userId="S::lcaldarelli_luriechildrens.org#ext#@nuwildcat.onmicrosoft.com::cd79b54d-c14e-4199-a04a-39c6f592e710" providerId="AD" clId="Web-{96B049F1-23A1-EFBD-700B-2889CC878206}" dt="2023-10-31T04:43:27.510" v="97" actId="20577"/>
          <ac:spMkLst>
            <pc:docMk/>
            <pc:sldMk cId="226321953" sldId="646"/>
            <ac:spMk id="2" creationId="{966FAC69-62AA-D40E-C4BD-DAD5BF599C69}"/>
          </ac:spMkLst>
        </pc:spChg>
      </pc:sldChg>
      <pc:sldChg chg="add replId">
        <pc:chgData name="Caldarelli, Leslie" userId="S::lcaldarelli_luriechildrens.org#ext#@nuwildcat.onmicrosoft.com::cd79b54d-c14e-4199-a04a-39c6f592e710" providerId="AD" clId="Web-{96B049F1-23A1-EFBD-700B-2889CC878206}" dt="2023-10-31T04:41:40.695" v="84"/>
        <pc:sldMkLst>
          <pc:docMk/>
          <pc:sldMk cId="1661337475" sldId="647"/>
        </pc:sldMkLst>
      </pc:sldChg>
      <pc:sldChg chg="add replId">
        <pc:chgData name="Caldarelli, Leslie" userId="S::lcaldarelli_luriechildrens.org#ext#@nuwildcat.onmicrosoft.com::cd79b54d-c14e-4199-a04a-39c6f592e710" providerId="AD" clId="Web-{96B049F1-23A1-EFBD-700B-2889CC878206}" dt="2023-10-31T04:42:47.353" v="85"/>
        <pc:sldMkLst>
          <pc:docMk/>
          <pc:sldMk cId="641611787" sldId="648"/>
        </pc:sldMkLst>
      </pc:sldChg>
    </pc:docChg>
  </pc:docChgLst>
  <pc:docChgLst>
    <pc:chgData name="Eileen Fleming Suse" userId="S::efs3844@ads.northwestern.edu::725c94ef-d051-42d7-9d33-8572765d592b" providerId="AD" clId="Web-{0341ED96-5143-9562-5248-833DF36573A1}"/>
    <pc:docChg chg="delSld">
      <pc:chgData name="Eileen Fleming Suse" userId="S::efs3844@ads.northwestern.edu::725c94ef-d051-42d7-9d33-8572765d592b" providerId="AD" clId="Web-{0341ED96-5143-9562-5248-833DF36573A1}" dt="2023-10-23T23:48:58.023" v="0"/>
      <pc:docMkLst>
        <pc:docMk/>
      </pc:docMkLst>
      <pc:sldChg chg="del">
        <pc:chgData name="Eileen Fleming Suse" userId="S::efs3844@ads.northwestern.edu::725c94ef-d051-42d7-9d33-8572765d592b" providerId="AD" clId="Web-{0341ED96-5143-9562-5248-833DF36573A1}" dt="2023-10-23T23:48:58.023" v="0"/>
        <pc:sldMkLst>
          <pc:docMk/>
          <pc:sldMk cId="202185053" sldId="559"/>
        </pc:sldMkLst>
      </pc:sldChg>
    </pc:docChg>
  </pc:docChgLst>
  <pc:docChgLst>
    <pc:chgData name="Isabel Rose Gippo" userId="S::irg9370@ads.northwestern.edu::b10bfe7e-55b9-46dd-9add-2eb52cb66d3b" providerId="AD" clId="Web-{DC570ED0-804E-A0E2-5D93-D510896DFB64}"/>
    <pc:docChg chg="addSld modSld">
      <pc:chgData name="Isabel Rose Gippo" userId="S::irg9370@ads.northwestern.edu::b10bfe7e-55b9-46dd-9add-2eb52cb66d3b" providerId="AD" clId="Web-{DC570ED0-804E-A0E2-5D93-D510896DFB64}" dt="2023-10-24T14:25:12.957" v="624"/>
      <pc:docMkLst>
        <pc:docMk/>
      </pc:docMkLst>
      <pc:sldChg chg="addSp delSp modSp add replId">
        <pc:chgData name="Isabel Rose Gippo" userId="S::irg9370@ads.northwestern.edu::b10bfe7e-55b9-46dd-9add-2eb52cb66d3b" providerId="AD" clId="Web-{DC570ED0-804E-A0E2-5D93-D510896DFB64}" dt="2023-10-24T13:50:42.643" v="314" actId="20577"/>
        <pc:sldMkLst>
          <pc:docMk/>
          <pc:sldMk cId="3090389772" sldId="568"/>
        </pc:sldMkLst>
        <pc:spChg chg="del">
          <ac:chgData name="Isabel Rose Gippo" userId="S::irg9370@ads.northwestern.edu::b10bfe7e-55b9-46dd-9add-2eb52cb66d3b" providerId="AD" clId="Web-{DC570ED0-804E-A0E2-5D93-D510896DFB64}" dt="2023-10-24T13:23:11.220" v="1"/>
          <ac:spMkLst>
            <pc:docMk/>
            <pc:sldMk cId="3090389772" sldId="568"/>
            <ac:spMk id="2" creationId="{00000000-0000-0000-0000-000000000000}"/>
          </ac:spMkLst>
        </pc:spChg>
        <pc:spChg chg="del">
          <ac:chgData name="Isabel Rose Gippo" userId="S::irg9370@ads.northwestern.edu::b10bfe7e-55b9-46dd-9add-2eb52cb66d3b" providerId="AD" clId="Web-{DC570ED0-804E-A0E2-5D93-D510896DFB64}" dt="2023-10-24T13:23:17.877" v="2"/>
          <ac:spMkLst>
            <pc:docMk/>
            <pc:sldMk cId="3090389772" sldId="568"/>
            <ac:spMk id="3" creationId="{00000000-0000-0000-0000-000000000000}"/>
          </ac:spMkLst>
        </pc:spChg>
        <pc:spChg chg="add del mod">
          <ac:chgData name="Isabel Rose Gippo" userId="S::irg9370@ads.northwestern.edu::b10bfe7e-55b9-46dd-9add-2eb52cb66d3b" providerId="AD" clId="Web-{DC570ED0-804E-A0E2-5D93-D510896DFB64}" dt="2023-10-24T13:29:49.501" v="23"/>
          <ac:spMkLst>
            <pc:docMk/>
            <pc:sldMk cId="3090389772" sldId="568"/>
            <ac:spMk id="6" creationId="{595990F9-94FA-9087-B8D0-01F767817104}"/>
          </ac:spMkLst>
        </pc:spChg>
        <pc:spChg chg="add del mod">
          <ac:chgData name="Isabel Rose Gippo" userId="S::irg9370@ads.northwestern.edu::b10bfe7e-55b9-46dd-9add-2eb52cb66d3b" providerId="AD" clId="Web-{DC570ED0-804E-A0E2-5D93-D510896DFB64}" dt="2023-10-24T13:32:00.913" v="82"/>
          <ac:spMkLst>
            <pc:docMk/>
            <pc:sldMk cId="3090389772" sldId="568"/>
            <ac:spMk id="8" creationId="{4B95CBD6-6501-8155-A01B-E05B42CCEA51}"/>
          </ac:spMkLst>
        </pc:spChg>
        <pc:spChg chg="add del mod">
          <ac:chgData name="Isabel Rose Gippo" userId="S::irg9370@ads.northwestern.edu::b10bfe7e-55b9-46dd-9add-2eb52cb66d3b" providerId="AD" clId="Web-{DC570ED0-804E-A0E2-5D93-D510896DFB64}" dt="2023-10-24T13:32:07.725" v="84"/>
          <ac:spMkLst>
            <pc:docMk/>
            <pc:sldMk cId="3090389772" sldId="568"/>
            <ac:spMk id="10" creationId="{F8479F00-3CC7-E2BA-FDD4-47B34220F1E9}"/>
          </ac:spMkLst>
        </pc:spChg>
        <pc:spChg chg="add mod">
          <ac:chgData name="Isabel Rose Gippo" userId="S::irg9370@ads.northwestern.edu::b10bfe7e-55b9-46dd-9add-2eb52cb66d3b" providerId="AD" clId="Web-{DC570ED0-804E-A0E2-5D93-D510896DFB64}" dt="2023-10-24T13:41:13.449" v="218" actId="1076"/>
          <ac:spMkLst>
            <pc:docMk/>
            <pc:sldMk cId="3090389772" sldId="568"/>
            <ac:spMk id="11" creationId="{13896302-555C-1A80-C459-6D1ACE663F72}"/>
          </ac:spMkLst>
        </pc:spChg>
        <pc:spChg chg="add mod">
          <ac:chgData name="Isabel Rose Gippo" userId="S::irg9370@ads.northwestern.edu::b10bfe7e-55b9-46dd-9add-2eb52cb66d3b" providerId="AD" clId="Web-{DC570ED0-804E-A0E2-5D93-D510896DFB64}" dt="2023-10-24T13:50:14.611" v="310"/>
          <ac:spMkLst>
            <pc:docMk/>
            <pc:sldMk cId="3090389772" sldId="568"/>
            <ac:spMk id="15" creationId="{CA00A902-9377-5B4A-9651-129D059BB685}"/>
          </ac:spMkLst>
        </pc:spChg>
        <pc:spChg chg="add mod">
          <ac:chgData name="Isabel Rose Gippo" userId="S::irg9370@ads.northwestern.edu::b10bfe7e-55b9-46dd-9add-2eb52cb66d3b" providerId="AD" clId="Web-{DC570ED0-804E-A0E2-5D93-D510896DFB64}" dt="2023-10-24T13:50:23.752" v="311" actId="1076"/>
          <ac:spMkLst>
            <pc:docMk/>
            <pc:sldMk cId="3090389772" sldId="568"/>
            <ac:spMk id="17" creationId="{C4FB321D-7C09-3587-1451-1763097B5C30}"/>
          </ac:spMkLst>
        </pc:spChg>
        <pc:spChg chg="add mod">
          <ac:chgData name="Isabel Rose Gippo" userId="S::irg9370@ads.northwestern.edu::b10bfe7e-55b9-46dd-9add-2eb52cb66d3b" providerId="AD" clId="Web-{DC570ED0-804E-A0E2-5D93-D510896DFB64}" dt="2023-10-24T13:50:42.643" v="314" actId="20577"/>
          <ac:spMkLst>
            <pc:docMk/>
            <pc:sldMk cId="3090389772" sldId="568"/>
            <ac:spMk id="19" creationId="{F49C1F1A-614A-5749-1A3F-78980B65ADBC}"/>
          </ac:spMkLst>
        </pc:spChg>
        <pc:spChg chg="mod">
          <ac:chgData name="Isabel Rose Gippo" userId="S::irg9370@ads.northwestern.edu::b10bfe7e-55b9-46dd-9add-2eb52cb66d3b" providerId="AD" clId="Web-{DC570ED0-804E-A0E2-5D93-D510896DFB64}" dt="2023-10-24T13:43:41.971" v="242" actId="20577"/>
          <ac:spMkLst>
            <pc:docMk/>
            <pc:sldMk cId="3090389772" sldId="568"/>
            <ac:spMk id="16386" creationId="{00000000-0000-0000-0000-000000000000}"/>
          </ac:spMkLst>
        </pc:spChg>
        <pc:spChg chg="del mod">
          <ac:chgData name="Isabel Rose Gippo" userId="S::irg9370@ads.northwestern.edu::b10bfe7e-55b9-46dd-9add-2eb52cb66d3b" providerId="AD" clId="Web-{DC570ED0-804E-A0E2-5D93-D510896DFB64}" dt="2023-10-24T13:29:24.219" v="18"/>
          <ac:spMkLst>
            <pc:docMk/>
            <pc:sldMk cId="3090389772" sldId="568"/>
            <ac:spMk id="16387" creationId="{00000000-0000-0000-0000-000000000000}"/>
          </ac:spMkLst>
        </pc:spChg>
        <pc:picChg chg="add del mod modCrop">
          <ac:chgData name="Isabel Rose Gippo" userId="S::irg9370@ads.northwestern.edu::b10bfe7e-55b9-46dd-9add-2eb52cb66d3b" providerId="AD" clId="Web-{DC570ED0-804E-A0E2-5D93-D510896DFB64}" dt="2023-10-24T13:36:48.470" v="138"/>
          <ac:picMkLst>
            <pc:docMk/>
            <pc:sldMk cId="3090389772" sldId="568"/>
            <ac:picMk id="4" creationId="{7C4A6C95-34AE-C8E6-1DCF-F6079B87A6AC}"/>
          </ac:picMkLst>
        </pc:picChg>
        <pc:picChg chg="add del mod ord">
          <ac:chgData name="Isabel Rose Gippo" userId="S::irg9370@ads.northwestern.edu::b10bfe7e-55b9-46dd-9add-2eb52cb66d3b" providerId="AD" clId="Web-{DC570ED0-804E-A0E2-5D93-D510896DFB64}" dt="2023-10-24T13:37:31.425" v="146"/>
          <ac:picMkLst>
            <pc:docMk/>
            <pc:sldMk cId="3090389772" sldId="568"/>
            <ac:picMk id="12" creationId="{1157BB9A-851C-C255-0310-D42AC336B66F}"/>
          </ac:picMkLst>
        </pc:picChg>
        <pc:picChg chg="add del mod">
          <ac:chgData name="Isabel Rose Gippo" userId="S::irg9370@ads.northwestern.edu::b10bfe7e-55b9-46dd-9add-2eb52cb66d3b" providerId="AD" clId="Web-{DC570ED0-804E-A0E2-5D93-D510896DFB64}" dt="2023-10-24T13:40:56.449" v="211"/>
          <ac:picMkLst>
            <pc:docMk/>
            <pc:sldMk cId="3090389772" sldId="568"/>
            <ac:picMk id="13" creationId="{80A9386E-A3C6-98A2-026F-0D769C360E01}"/>
          </ac:picMkLst>
        </pc:picChg>
        <pc:picChg chg="add mod ord">
          <ac:chgData name="Isabel Rose Gippo" userId="S::irg9370@ads.northwestern.edu::b10bfe7e-55b9-46dd-9add-2eb52cb66d3b" providerId="AD" clId="Web-{DC570ED0-804E-A0E2-5D93-D510896DFB64}" dt="2023-10-24T13:49:48.203" v="305" actId="1076"/>
          <ac:picMkLst>
            <pc:docMk/>
            <pc:sldMk cId="3090389772" sldId="568"/>
            <ac:picMk id="14" creationId="{557B5DD0-CAF3-34F4-E916-20658CE8833E}"/>
          </ac:picMkLst>
        </pc:picChg>
        <pc:picChg chg="add mod">
          <ac:chgData name="Isabel Rose Gippo" userId="S::irg9370@ads.northwestern.edu::b10bfe7e-55b9-46dd-9add-2eb52cb66d3b" providerId="AD" clId="Web-{DC570ED0-804E-A0E2-5D93-D510896DFB64}" dt="2023-10-24T13:41:06.387" v="215" actId="14100"/>
          <ac:picMkLst>
            <pc:docMk/>
            <pc:sldMk cId="3090389772" sldId="568"/>
            <ac:picMk id="16" creationId="{EFDCBE94-658B-EA5C-C848-56FA88C493AB}"/>
          </ac:picMkLst>
        </pc:picChg>
        <pc:picChg chg="add del mod">
          <ac:chgData name="Isabel Rose Gippo" userId="S::irg9370@ads.northwestern.edu::b10bfe7e-55b9-46dd-9add-2eb52cb66d3b" providerId="AD" clId="Web-{DC570ED0-804E-A0E2-5D93-D510896DFB64}" dt="2023-10-24T13:46:05.070" v="270"/>
          <ac:picMkLst>
            <pc:docMk/>
            <pc:sldMk cId="3090389772" sldId="568"/>
            <ac:picMk id="18" creationId="{45BD3714-27F2-FE16-2BFB-D745A0BC2166}"/>
          </ac:picMkLst>
        </pc:picChg>
        <pc:picChg chg="add del mod">
          <ac:chgData name="Isabel Rose Gippo" userId="S::irg9370@ads.northwestern.edu::b10bfe7e-55b9-46dd-9add-2eb52cb66d3b" providerId="AD" clId="Web-{DC570ED0-804E-A0E2-5D93-D510896DFB64}" dt="2023-10-24T13:48:36.576" v="287"/>
          <ac:picMkLst>
            <pc:docMk/>
            <pc:sldMk cId="3090389772" sldId="568"/>
            <ac:picMk id="20" creationId="{323A1FF1-1E09-F17F-231B-8C8A872B941D}"/>
          </ac:picMkLst>
        </pc:picChg>
        <pc:picChg chg="add mod">
          <ac:chgData name="Isabel Rose Gippo" userId="S::irg9370@ads.northwestern.edu::b10bfe7e-55b9-46dd-9add-2eb52cb66d3b" providerId="AD" clId="Web-{DC570ED0-804E-A0E2-5D93-D510896DFB64}" dt="2023-10-24T13:49:32.953" v="303" actId="1076"/>
          <ac:picMkLst>
            <pc:docMk/>
            <pc:sldMk cId="3090389772" sldId="568"/>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3:56:07.781" v="380"/>
        <pc:sldMkLst>
          <pc:docMk/>
          <pc:sldMk cId="1088329954" sldId="569"/>
        </pc:sldMkLst>
        <pc:spChg chg="del mod">
          <ac:chgData name="Isabel Rose Gippo" userId="S::irg9370@ads.northwestern.edu::b10bfe7e-55b9-46dd-9add-2eb52cb66d3b" providerId="AD" clId="Web-{DC570ED0-804E-A0E2-5D93-D510896DFB64}" dt="2023-10-24T13:51:45.942" v="335"/>
          <ac:spMkLst>
            <pc:docMk/>
            <pc:sldMk cId="1088329954" sldId="569"/>
            <ac:spMk id="11" creationId="{13896302-555C-1A80-C459-6D1ACE663F72}"/>
          </ac:spMkLst>
        </pc:spChg>
        <pc:spChg chg="del">
          <ac:chgData name="Isabel Rose Gippo" userId="S::irg9370@ads.northwestern.edu::b10bfe7e-55b9-46dd-9add-2eb52cb66d3b" providerId="AD" clId="Web-{DC570ED0-804E-A0E2-5D93-D510896DFB64}" dt="2023-10-24T13:51:39.333" v="332"/>
          <ac:spMkLst>
            <pc:docMk/>
            <pc:sldMk cId="1088329954" sldId="569"/>
            <ac:spMk id="15" creationId="{CA00A902-9377-5B4A-9651-129D059BB685}"/>
          </ac:spMkLst>
        </pc:spChg>
        <pc:spChg chg="del">
          <ac:chgData name="Isabel Rose Gippo" userId="S::irg9370@ads.northwestern.edu::b10bfe7e-55b9-46dd-9add-2eb52cb66d3b" providerId="AD" clId="Web-{DC570ED0-804E-A0E2-5D93-D510896DFB64}" dt="2023-10-24T13:51:29.442" v="329"/>
          <ac:spMkLst>
            <pc:docMk/>
            <pc:sldMk cId="1088329954" sldId="569"/>
            <ac:spMk id="17" creationId="{C4FB321D-7C09-3587-1451-1763097B5C30}"/>
          </ac:spMkLst>
        </pc:spChg>
        <pc:spChg chg="add del mod">
          <ac:chgData name="Isabel Rose Gippo" userId="S::irg9370@ads.northwestern.edu::b10bfe7e-55b9-46dd-9add-2eb52cb66d3b" providerId="AD" clId="Web-{DC570ED0-804E-A0E2-5D93-D510896DFB64}" dt="2023-10-24T13:55:21.716" v="376" actId="1076"/>
          <ac:spMkLst>
            <pc:docMk/>
            <pc:sldMk cId="1088329954" sldId="569"/>
            <ac:spMk id="19" creationId="{F49C1F1A-614A-5749-1A3F-78980B65ADBC}"/>
          </ac:spMkLst>
        </pc:spChg>
        <pc:spChg chg="mod">
          <ac:chgData name="Isabel Rose Gippo" userId="S::irg9370@ads.northwestern.edu::b10bfe7e-55b9-46dd-9add-2eb52cb66d3b" providerId="AD" clId="Web-{DC570ED0-804E-A0E2-5D93-D510896DFB64}" dt="2023-10-24T13:53:46.478" v="349" actId="20577"/>
          <ac:spMkLst>
            <pc:docMk/>
            <pc:sldMk cId="1088329954" sldId="569"/>
            <ac:spMk id="16386" creationId="{00000000-0000-0000-0000-000000000000}"/>
          </ac:spMkLst>
        </pc:spChg>
        <pc:picChg chg="add mod">
          <ac:chgData name="Isabel Rose Gippo" userId="S::irg9370@ads.northwestern.edu::b10bfe7e-55b9-46dd-9add-2eb52cb66d3b" providerId="AD" clId="Web-{DC570ED0-804E-A0E2-5D93-D510896DFB64}" dt="2023-10-24T13:56:07.781" v="380"/>
          <ac:picMkLst>
            <pc:docMk/>
            <pc:sldMk cId="1088329954" sldId="569"/>
            <ac:picMk id="2" creationId="{7088B35E-417D-2903-C144-75276D9E0FF3}"/>
          </ac:picMkLst>
        </pc:picChg>
        <pc:picChg chg="del">
          <ac:chgData name="Isabel Rose Gippo" userId="S::irg9370@ads.northwestern.edu::b10bfe7e-55b9-46dd-9add-2eb52cb66d3b" providerId="AD" clId="Web-{DC570ED0-804E-A0E2-5D93-D510896DFB64}" dt="2023-10-24T13:51:40.223" v="333"/>
          <ac:picMkLst>
            <pc:docMk/>
            <pc:sldMk cId="1088329954" sldId="569"/>
            <ac:picMk id="14" creationId="{557B5DD0-CAF3-34F4-E916-20658CE8833E}"/>
          </ac:picMkLst>
        </pc:picChg>
        <pc:picChg chg="del">
          <ac:chgData name="Isabel Rose Gippo" userId="S::irg9370@ads.northwestern.edu::b10bfe7e-55b9-46dd-9add-2eb52cb66d3b" providerId="AD" clId="Web-{DC570ED0-804E-A0E2-5D93-D510896DFB64}" dt="2023-10-24T13:51:37.551" v="331"/>
          <ac:picMkLst>
            <pc:docMk/>
            <pc:sldMk cId="1088329954" sldId="569"/>
            <ac:picMk id="16" creationId="{EFDCBE94-658B-EA5C-C848-56FA88C493AB}"/>
          </ac:picMkLst>
        </pc:picChg>
        <pc:picChg chg="del">
          <ac:chgData name="Isabel Rose Gippo" userId="S::irg9370@ads.northwestern.edu::b10bfe7e-55b9-46dd-9add-2eb52cb66d3b" providerId="AD" clId="Web-{DC570ED0-804E-A0E2-5D93-D510896DFB64}" dt="2023-10-24T13:51:27.457" v="328"/>
          <ac:picMkLst>
            <pc:docMk/>
            <pc:sldMk cId="1088329954" sldId="569"/>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4:25:12.957" v="624"/>
        <pc:sldMkLst>
          <pc:docMk/>
          <pc:sldMk cId="2849312483" sldId="570"/>
        </pc:sldMkLst>
        <pc:spChg chg="add mod">
          <ac:chgData name="Isabel Rose Gippo" userId="S::irg9370@ads.northwestern.edu::b10bfe7e-55b9-46dd-9add-2eb52cb66d3b" providerId="AD" clId="Web-{DC570ED0-804E-A0E2-5D93-D510896DFB64}" dt="2023-10-24T14:23:31.594" v="621" actId="1076"/>
          <ac:spMkLst>
            <pc:docMk/>
            <pc:sldMk cId="2849312483" sldId="570"/>
            <ac:spMk id="4" creationId="{EA09FBC4-EFF6-9AB4-25A1-D6ED252CED0D}"/>
          </ac:spMkLst>
        </pc:spChg>
        <pc:spChg chg="add mod">
          <ac:chgData name="Isabel Rose Gippo" userId="S::irg9370@ads.northwestern.edu::b10bfe7e-55b9-46dd-9add-2eb52cb66d3b" providerId="AD" clId="Web-{DC570ED0-804E-A0E2-5D93-D510896DFB64}" dt="2023-10-24T14:08:31.356" v="552" actId="1076"/>
          <ac:spMkLst>
            <pc:docMk/>
            <pc:sldMk cId="2849312483" sldId="570"/>
            <ac:spMk id="5" creationId="{E069BE35-38BF-B866-0B62-A243ACB6F110}"/>
          </ac:spMkLst>
        </pc:spChg>
        <pc:spChg chg="add mod">
          <ac:chgData name="Isabel Rose Gippo" userId="S::irg9370@ads.northwestern.edu::b10bfe7e-55b9-46dd-9add-2eb52cb66d3b" providerId="AD" clId="Web-{DC570ED0-804E-A0E2-5D93-D510896DFB64}" dt="2023-10-24T14:08:28.387" v="551" actId="1076"/>
          <ac:spMkLst>
            <pc:docMk/>
            <pc:sldMk cId="2849312483" sldId="570"/>
            <ac:spMk id="6" creationId="{137890F0-FB58-2F7F-C68D-9B504512854C}"/>
          </ac:spMkLst>
        </pc:spChg>
        <pc:spChg chg="add mod">
          <ac:chgData name="Isabel Rose Gippo" userId="S::irg9370@ads.northwestern.edu::b10bfe7e-55b9-46dd-9add-2eb52cb66d3b" providerId="AD" clId="Web-{DC570ED0-804E-A0E2-5D93-D510896DFB64}" dt="2023-10-24T14:08:47.263" v="558" actId="1076"/>
          <ac:spMkLst>
            <pc:docMk/>
            <pc:sldMk cId="2849312483" sldId="570"/>
            <ac:spMk id="7" creationId="{1F35585C-3549-CE9C-A34A-3452229F6833}"/>
          </ac:spMkLst>
        </pc:spChg>
        <pc:spChg chg="add mod">
          <ac:chgData name="Isabel Rose Gippo" userId="S::irg9370@ads.northwestern.edu::b10bfe7e-55b9-46dd-9add-2eb52cb66d3b" providerId="AD" clId="Web-{DC570ED0-804E-A0E2-5D93-D510896DFB64}" dt="2023-10-24T14:08:53.263" v="560" actId="1076"/>
          <ac:spMkLst>
            <pc:docMk/>
            <pc:sldMk cId="2849312483" sldId="570"/>
            <ac:spMk id="9" creationId="{9BD0DB87-BFB9-248F-9187-16322CEC9C89}"/>
          </ac:spMkLst>
        </pc:spChg>
        <pc:spChg chg="add mod">
          <ac:chgData name="Isabel Rose Gippo" userId="S::irg9370@ads.northwestern.edu::b10bfe7e-55b9-46dd-9add-2eb52cb66d3b" providerId="AD" clId="Web-{DC570ED0-804E-A0E2-5D93-D510896DFB64}" dt="2023-10-24T14:09:06.264" v="565" actId="1076"/>
          <ac:spMkLst>
            <pc:docMk/>
            <pc:sldMk cId="2849312483" sldId="570"/>
            <ac:spMk id="10" creationId="{C8307CA0-040F-CDB1-5F4D-16A04C6E74DF}"/>
          </ac:spMkLst>
        </pc:spChg>
        <pc:spChg chg="del mod">
          <ac:chgData name="Isabel Rose Gippo" userId="S::irg9370@ads.northwestern.edu::b10bfe7e-55b9-46dd-9add-2eb52cb66d3b" providerId="AD" clId="Web-{DC570ED0-804E-A0E2-5D93-D510896DFB64}" dt="2023-10-24T13:58:55.912" v="410"/>
          <ac:spMkLst>
            <pc:docMk/>
            <pc:sldMk cId="2849312483" sldId="570"/>
            <ac:spMk id="19" creationId="{F49C1F1A-614A-5749-1A3F-78980B65ADBC}"/>
          </ac:spMkLst>
        </pc:spChg>
        <pc:spChg chg="mod">
          <ac:chgData name="Isabel Rose Gippo" userId="S::irg9370@ads.northwestern.edu::b10bfe7e-55b9-46dd-9add-2eb52cb66d3b" providerId="AD" clId="Web-{DC570ED0-804E-A0E2-5D93-D510896DFB64}" dt="2023-10-24T13:59:10.163" v="416" actId="14100"/>
          <ac:spMkLst>
            <pc:docMk/>
            <pc:sldMk cId="2849312483" sldId="570"/>
            <ac:spMk id="16386" creationId="{00000000-0000-0000-0000-000000000000}"/>
          </ac:spMkLst>
        </pc:spChg>
        <pc:picChg chg="del">
          <ac:chgData name="Isabel Rose Gippo" userId="S::irg9370@ads.northwestern.edu::b10bfe7e-55b9-46dd-9add-2eb52cb66d3b" providerId="AD" clId="Web-{DC570ED0-804E-A0E2-5D93-D510896DFB64}" dt="2023-10-24T13:56:26.938" v="382"/>
          <ac:picMkLst>
            <pc:docMk/>
            <pc:sldMk cId="2849312483" sldId="570"/>
            <ac:picMk id="2" creationId="{7088B35E-417D-2903-C144-75276D9E0FF3}"/>
          </ac:picMkLst>
        </pc:picChg>
        <pc:picChg chg="add del mod">
          <ac:chgData name="Isabel Rose Gippo" userId="S::irg9370@ads.northwestern.edu::b10bfe7e-55b9-46dd-9add-2eb52cb66d3b" providerId="AD" clId="Web-{DC570ED0-804E-A0E2-5D93-D510896DFB64}" dt="2023-10-24T14:01:02.948" v="468"/>
          <ac:picMkLst>
            <pc:docMk/>
            <pc:sldMk cId="2849312483" sldId="570"/>
            <ac:picMk id="3" creationId="{60CCB867-B87F-D599-0728-D3845AEE0902}"/>
          </ac:picMkLst>
        </pc:picChg>
        <pc:picChg chg="add mod">
          <ac:chgData name="Isabel Rose Gippo" userId="S::irg9370@ads.northwestern.edu::b10bfe7e-55b9-46dd-9add-2eb52cb66d3b" providerId="AD" clId="Web-{DC570ED0-804E-A0E2-5D93-D510896DFB64}" dt="2023-10-24T14:08:44.372" v="557" actId="1076"/>
          <ac:picMkLst>
            <pc:docMk/>
            <pc:sldMk cId="2849312483" sldId="570"/>
            <ac:picMk id="8" creationId="{59E0F2EE-E480-541D-E8E7-5C865B35C88F}"/>
          </ac:picMkLst>
        </pc:picChg>
        <pc:picChg chg="add del mod">
          <ac:chgData name="Isabel Rose Gippo" userId="S::irg9370@ads.northwestern.edu::b10bfe7e-55b9-46dd-9add-2eb52cb66d3b" providerId="AD" clId="Web-{DC570ED0-804E-A0E2-5D93-D510896DFB64}" dt="2023-10-24T14:22:57.108" v="581"/>
          <ac:picMkLst>
            <pc:docMk/>
            <pc:sldMk cId="2849312483" sldId="570"/>
            <ac:picMk id="11" creationId="{3B324708-4939-E4F4-BA17-AB8F89FD8F8A}"/>
          </ac:picMkLst>
        </pc:picChg>
        <pc:picChg chg="add del mod">
          <ac:chgData name="Isabel Rose Gippo" userId="S::irg9370@ads.northwestern.edu::b10bfe7e-55b9-46dd-9add-2eb52cb66d3b" providerId="AD" clId="Web-{DC570ED0-804E-A0E2-5D93-D510896DFB64}" dt="2023-10-24T14:24:02.657" v="623"/>
          <ac:picMkLst>
            <pc:docMk/>
            <pc:sldMk cId="2849312483" sldId="570"/>
            <ac:picMk id="12" creationId="{9F0EA567-DB06-4C7E-2FD2-D021E131A108}"/>
          </ac:picMkLst>
        </pc:picChg>
        <pc:picChg chg="add mod">
          <ac:chgData name="Isabel Rose Gippo" userId="S::irg9370@ads.northwestern.edu::b10bfe7e-55b9-46dd-9add-2eb52cb66d3b" providerId="AD" clId="Web-{DC570ED0-804E-A0E2-5D93-D510896DFB64}" dt="2023-10-24T14:25:12.957" v="624"/>
          <ac:picMkLst>
            <pc:docMk/>
            <pc:sldMk cId="2849312483" sldId="570"/>
            <ac:picMk id="13" creationId="{03BF52CD-31EC-FC46-9A7F-3B257CCAC6A4}"/>
          </ac:picMkLst>
        </pc:picChg>
      </pc:sldChg>
    </pc:docChg>
  </pc:docChgLst>
</pc:chgInfo>
</file>

<file path=ppt/comments/modernComment_236_98E0D14B.xml><?xml version="1.0" encoding="utf-8"?>
<p188:cmLst xmlns:a="http://schemas.openxmlformats.org/drawingml/2006/main" xmlns:r="http://schemas.openxmlformats.org/officeDocument/2006/relationships" xmlns:p188="http://schemas.microsoft.com/office/powerpoint/2018/8/main">
  <p188:cm id="{2E54611F-EF9E-406A-A7DB-E8AA469FE59F}" authorId="{E5FBE01E-7B92-B9C0-0995-5C3FE74E91A1}" status="resolved" created="2023-10-24T18:05:32.641" complete="100000">
    <pc:sldMkLst xmlns:pc="http://schemas.microsoft.com/office/powerpoint/2013/main/command">
      <pc:docMk/>
      <pc:sldMk cId="2564870475" sldId="566"/>
    </pc:sldMkLst>
    <p188:txBody>
      <a:bodyPr/>
      <a:lstStyle/>
      <a:p>
        <a:r>
          <a:rPr lang="en-US"/>
          <a:t>focus on the drivers and discuss how we we roll these out quarterly???</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85CC1A42-FDF8-46A9-B88A-6C2261DFBE98}">
      <dgm:prSet phldrT="[Text]" phldr="0"/>
      <dgm:spPr/>
      <dgm:t>
        <a:bodyPr/>
        <a:lstStyle/>
        <a:p>
          <a:pPr rtl="0"/>
          <a:r>
            <a:rPr lang="en-US">
              <a:latin typeface="Calibri" panose="020F0502020204030204"/>
            </a:rPr>
            <a:t>ESSI Launch Call</a:t>
          </a:r>
          <a:endParaRPr lang="en-US"/>
        </a:p>
      </dgm:t>
    </dgm:pt>
    <dgm:pt modelId="{B192ADB6-A3CB-4806-9A0E-F890C5410D96}" type="parTrans" cxnId="{941D56BC-040C-4A64-8D00-6743618881CD}">
      <dgm:prSet/>
      <dgm:spPr/>
      <dgm:t>
        <a:bodyPr/>
        <a:lstStyle/>
        <a:p>
          <a:endParaRPr lang="en-US"/>
        </a:p>
      </dgm:t>
    </dgm:pt>
    <dgm:pt modelId="{33E39AB7-5881-408F-9ADA-F98EE7F0FB03}" type="sibTrans" cxnId="{941D56BC-040C-4A64-8D00-6743618881CD}">
      <dgm:prSet/>
      <dgm:spPr/>
      <dgm:t>
        <a:bodyPr/>
        <a:lstStyle/>
        <a:p>
          <a:endParaRPr lang="en-US"/>
        </a:p>
      </dgm:t>
    </dgm:pt>
    <dgm:pt modelId="{C1650299-81CA-4AC1-BE35-A84EEAB52047}">
      <dgm:prSet phldrT="[Text]" phldr="0"/>
      <dgm:spPr/>
      <dgm:t>
        <a:bodyPr/>
        <a:lstStyle/>
        <a:p>
          <a:pPr rtl="0"/>
          <a:r>
            <a:rPr lang="en-US">
              <a:latin typeface="Calibri" panose="020F0502020204030204"/>
            </a:rPr>
            <a:t>November 20th, 2023</a:t>
          </a:r>
        </a:p>
      </dgm:t>
    </dgm:pt>
    <dgm:pt modelId="{4D3C3644-5D89-4B8E-8E68-3C337C9870B6}" type="parTrans" cxnId="{F2958264-8941-4ED5-82D4-49FBA870C749}">
      <dgm:prSet/>
      <dgm:spPr/>
      <dgm:t>
        <a:bodyPr/>
        <a:lstStyle/>
        <a:p>
          <a:endParaRPr lang="en-US"/>
        </a:p>
      </dgm:t>
    </dgm:pt>
    <dgm:pt modelId="{B7BE8F84-8B14-4F48-9D28-434956AFD77B}" type="sibTrans" cxnId="{F2958264-8941-4ED5-82D4-49FBA870C749}">
      <dgm:prSet/>
      <dgm:spPr/>
      <dgm:t>
        <a:bodyPr/>
        <a:lstStyle/>
        <a:p>
          <a:endParaRPr lang="en-US"/>
        </a:p>
      </dgm:t>
    </dgm:pt>
    <dgm:pt modelId="{DD004FB2-A568-4C30-AA6F-36014AE077F5}">
      <dgm:prSet phldrT="[Text]" phldr="0"/>
      <dgm:spPr/>
      <dgm:t>
        <a:bodyPr/>
        <a:lstStyle/>
        <a:p>
          <a:pPr rtl="0"/>
          <a:r>
            <a:rPr lang="en-US">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a:latin typeface="Calibri" panose="020F0502020204030204"/>
            </a:rPr>
            <a:t>January 18th, 2023</a:t>
          </a:r>
          <a:endParaRPr lang="en-US"/>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17DC130-9F90-46B9-BC95-6B4655F98326}">
      <dgm:prSet phldr="0"/>
      <dgm:spPr/>
      <dgm:t>
        <a:bodyPr/>
        <a:lstStyle/>
        <a:p>
          <a:pPr rtl="0"/>
          <a:r>
            <a:rPr lang="en-US">
              <a:latin typeface="Calibri" panose="020F0502020204030204"/>
            </a:rPr>
            <a:t>December 7th, 2023</a:t>
          </a:r>
        </a:p>
      </dgm:t>
    </dgm:pt>
    <dgm:pt modelId="{3812E649-201B-4DFF-8BBC-01B4BBC59472}" type="parTrans" cxnId="{511E4CF6-5811-40F7-A02D-75BFF4F1BF21}">
      <dgm:prSet/>
      <dgm:spPr/>
    </dgm:pt>
    <dgm:pt modelId="{CC58E277-C8D2-4919-914C-61D9B04D7FA7}" type="sibTrans" cxnId="{511E4CF6-5811-40F7-A02D-75BFF4F1BF21}">
      <dgm:prSet/>
      <dgm:spPr/>
    </dgm:pt>
    <dgm:pt modelId="{A0D4E7A4-3117-4723-AAF3-8936E6B80F33}">
      <dgm:prSet phldr="0"/>
      <dgm:spPr/>
      <dgm:t>
        <a:bodyPr/>
        <a:lstStyle/>
        <a:p>
          <a:pPr rtl="0"/>
          <a:r>
            <a:rPr lang="en-US">
              <a:latin typeface="Calibri" panose="020F0502020204030204"/>
            </a:rPr>
            <a:t>QI Team Lead Support Call</a:t>
          </a:r>
        </a:p>
      </dgm:t>
    </dgm:pt>
    <dgm:pt modelId="{03EBEDE4-5DB2-4ECC-B6FB-1004FF9F36BC}" type="parTrans" cxnId="{5E59A7AB-CE34-464C-B6A2-AF34995932B4}">
      <dgm:prSet/>
      <dgm:spPr/>
    </dgm:pt>
    <dgm:pt modelId="{7A8CEC07-3094-400E-A904-2790BC6396A7}" type="sibTrans" cxnId="{5E59A7AB-CE34-464C-B6A2-AF34995932B4}">
      <dgm:prSet/>
      <dgm:spPr/>
    </dgm:pt>
    <dgm:pt modelId="{04184E62-4203-4EBA-846A-647E12EDFE7B}">
      <dgm:prSet phldr="0"/>
      <dgm:spPr/>
      <dgm:t>
        <a:bodyPr/>
        <a:lstStyle/>
        <a:p>
          <a:pPr rtl="0"/>
          <a:r>
            <a:rPr lang="en-US">
              <a:latin typeface="Calibri" panose="020F0502020204030204"/>
            </a:rPr>
            <a:t>January 11th, 2023</a:t>
          </a:r>
        </a:p>
      </dgm:t>
    </dgm:pt>
    <dgm:pt modelId="{EE4A0166-5E04-4EBC-AF62-E44395844E0C}" type="parTrans" cxnId="{EE9E9E4D-E9D0-4DF0-BDDB-06881D93649A}">
      <dgm:prSet/>
      <dgm:spPr/>
    </dgm:pt>
    <dgm:pt modelId="{2F6FE8A9-DA40-4FAB-B60D-059693FD4BA0}" type="sibTrans" cxnId="{EE9E9E4D-E9D0-4DF0-BDDB-06881D93649A}">
      <dgm:prSet/>
      <dgm:spPr/>
    </dgm:pt>
    <dgm:pt modelId="{3D132738-1FFB-47B6-A01C-0E0BA5C84AF4}">
      <dgm:prSet phldr="0"/>
      <dgm:spPr/>
      <dgm:t>
        <a:bodyPr/>
        <a:lstStyle/>
        <a:p>
          <a:pPr rtl="0"/>
          <a:r>
            <a:rPr lang="en-US">
              <a:solidFill>
                <a:srgbClr val="444444"/>
              </a:solidFill>
              <a:latin typeface="Calibri" panose="020F0502020204030204"/>
            </a:rPr>
            <a:t>January </a:t>
          </a:r>
          <a:r>
            <a:rPr lang="en-US">
              <a:latin typeface="Calibri" panose="020F0502020204030204"/>
            </a:rPr>
            <a:t>2023</a:t>
          </a:r>
        </a:p>
      </dgm:t>
    </dgm:pt>
    <dgm:pt modelId="{3702912D-5439-43E2-989F-EE84A8E59696}" type="parTrans" cxnId="{B712C632-1056-4BFA-8C71-58049149EE79}">
      <dgm:prSet/>
      <dgm:spPr/>
    </dgm:pt>
    <dgm:pt modelId="{09C5895F-1864-4560-A785-C2AF1169DC22}" type="sibTrans" cxnId="{B712C632-1056-4BFA-8C71-58049149EE79}">
      <dgm:prSet/>
      <dgm:spPr/>
    </dgm:pt>
    <dgm:pt modelId="{80CD9FC5-84A2-4119-AE4E-1AD6DC2A6A90}">
      <dgm:prSet phldr="0"/>
      <dgm:spPr/>
      <dgm:t>
        <a:bodyPr/>
        <a:lstStyle/>
        <a:p>
          <a:r>
            <a:rPr lang="en-US">
              <a:latin typeface="Calibri" panose="020F0502020204030204"/>
            </a:rPr>
            <a:t>ESSI Data Training Webinars</a:t>
          </a:r>
          <a:endParaRPr lang="en-US"/>
        </a:p>
      </dgm:t>
    </dgm:pt>
    <dgm:pt modelId="{44C892A4-16B5-4D15-B018-7008CEF3E344}" type="parTrans" cxnId="{6795C9E4-6439-4AED-8F87-57DCF0542CEC}">
      <dgm:prSet/>
      <dgm:spPr/>
    </dgm:pt>
    <dgm:pt modelId="{DD32E8B5-4713-4832-9F58-63A206E397CB}" type="sibTrans" cxnId="{6795C9E4-6439-4AED-8F87-57DCF0542CEC}">
      <dgm:prSet/>
      <dgm:spPr/>
    </dgm:pt>
    <dgm:pt modelId="{1AC9F623-2B54-4F8A-831B-0CFEB8F285F0}" type="pres">
      <dgm:prSet presAssocID="{CE31CE2D-52AD-47EE-9F57-FF0C2AB9FBB8}" presName="Name0" presStyleCnt="0">
        <dgm:presLayoutVars>
          <dgm:chPref val="3"/>
          <dgm:dir/>
          <dgm:animLvl val="lvl"/>
          <dgm:resizeHandles/>
        </dgm:presLayoutVars>
      </dgm:prSet>
      <dgm:spPr/>
    </dgm:pt>
    <dgm:pt modelId="{751995E5-85D0-4CBB-AF92-504564AB24E8}" type="pres">
      <dgm:prSet presAssocID="{85CC1A42-FDF8-46A9-B88A-6C2261DFBE98}" presName="horFlow" presStyleCnt="0"/>
      <dgm:spPr/>
    </dgm:pt>
    <dgm:pt modelId="{C4FFCDD4-E473-4802-BC82-8DE35FAAED09}" type="pres">
      <dgm:prSet presAssocID="{85CC1A42-FDF8-46A9-B88A-6C2261DFBE98}" presName="bigChev" presStyleLbl="node1" presStyleIdx="0" presStyleCnt="4"/>
      <dgm:spPr/>
    </dgm:pt>
    <dgm:pt modelId="{85F44B2C-ABD8-402A-A03C-C97F35878543}" type="pres">
      <dgm:prSet presAssocID="{4D3C3644-5D89-4B8E-8E68-3C337C9870B6}" presName="parTrans" presStyleCnt="0"/>
      <dgm:spPr/>
    </dgm:pt>
    <dgm:pt modelId="{C206DD05-0BA1-4292-9BBC-3B937EE35CB5}" type="pres">
      <dgm:prSet presAssocID="{C1650299-81CA-4AC1-BE35-A84EEAB52047}" presName="node" presStyleLbl="alignAccFollowNode1" presStyleIdx="0" presStyleCnt="5">
        <dgm:presLayoutVars>
          <dgm:bulletEnabled val="1"/>
        </dgm:presLayoutVars>
      </dgm:prSet>
      <dgm:spPr/>
    </dgm:pt>
    <dgm:pt modelId="{20964328-1F0F-4051-86D4-F865B890421D}" type="pres">
      <dgm:prSet presAssocID="{85CC1A42-FDF8-46A9-B88A-6C2261DFBE98}" presName="vSp" presStyleCnt="0"/>
      <dgm:spPr/>
    </dgm:pt>
    <dgm:pt modelId="{9396E2C7-844D-4CC0-9F68-4357429F89BF}" type="pres">
      <dgm:prSet presAssocID="{A0D4E7A4-3117-4723-AAF3-8936E6B80F33}" presName="horFlow" presStyleCnt="0"/>
      <dgm:spPr/>
    </dgm:pt>
    <dgm:pt modelId="{81B6DA4E-BFB9-43D6-AF7A-AEDE000EE248}" type="pres">
      <dgm:prSet presAssocID="{A0D4E7A4-3117-4723-AAF3-8936E6B80F33}" presName="bigChev" presStyleLbl="node1" presStyleIdx="1" presStyleCnt="4"/>
      <dgm:spPr/>
    </dgm:pt>
    <dgm:pt modelId="{D19B867F-F50F-4C70-8508-500D3527C665}" type="pres">
      <dgm:prSet presAssocID="{3812E649-201B-4DFF-8BBC-01B4BBC59472}" presName="parTrans" presStyleCnt="0"/>
      <dgm:spPr/>
    </dgm:pt>
    <dgm:pt modelId="{69A3F573-828B-4DB7-9CCF-884EA63CCE92}" type="pres">
      <dgm:prSet presAssocID="{017DC130-9F90-46B9-BC95-6B4655F98326}" presName="node" presStyleLbl="alignAccFollowNode1" presStyleIdx="1" presStyleCnt="5">
        <dgm:presLayoutVars>
          <dgm:bulletEnabled val="1"/>
        </dgm:presLayoutVars>
      </dgm:prSet>
      <dgm:spPr/>
    </dgm:pt>
    <dgm:pt modelId="{2B03031B-DEE1-43C6-B247-6312ED180B11}" type="pres">
      <dgm:prSet presAssocID="{A0D4E7A4-3117-4723-AAF3-8936E6B80F33}" presName="vSp" presStyleCnt="0"/>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2" presStyleCnt="4"/>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2" presStyleCnt="5">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3" presStyleCnt="4"/>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3" presStyleCnt="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4" presStyleCnt="5">
        <dgm:presLayoutVars>
          <dgm:bulletEnabled val="1"/>
        </dgm:presLayoutVars>
      </dgm:prSet>
      <dgm:spPr/>
    </dgm:pt>
  </dgm:ptLst>
  <dgm:cxnLst>
    <dgm:cxn modelId="{BDAB7910-D8FD-4EDE-8D8E-E497F8B527B6}" type="presOf" srcId="{017DC130-9F90-46B9-BC95-6B4655F98326}" destId="{69A3F573-828B-4DB7-9CCF-884EA63CCE92}" srcOrd="0" destOrd="0" presId="urn:microsoft.com/office/officeart/2005/8/layout/lProcess3"/>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F2958264-8941-4ED5-82D4-49FBA870C749}" srcId="{85CC1A42-FDF8-46A9-B88A-6C2261DFBE98}" destId="{C1650299-81CA-4AC1-BE35-A84EEAB52047}" srcOrd="0" destOrd="0" parTransId="{4D3C3644-5D89-4B8E-8E68-3C337C9870B6}" sibTransId="{B7BE8F84-8B14-4F48-9D28-434956AFD77B}"/>
    <dgm:cxn modelId="{3E189249-B51E-4CE4-A1B6-4178EBF15B98}" srcId="{CE31CE2D-52AD-47EE-9F57-FF0C2AB9FBB8}" destId="{DD004FB2-A568-4C30-AA6F-36014AE077F5}" srcOrd="2"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82D4537A-1D2B-4DC4-85FA-12FA56B5F801}" type="presOf" srcId="{DD004FB2-A568-4C30-AA6F-36014AE077F5}" destId="{60962599-610D-41A6-A308-3C61676FA10F}" srcOrd="0" destOrd="0" presId="urn:microsoft.com/office/officeart/2005/8/layout/lProcess3"/>
    <dgm:cxn modelId="{64137987-E82E-4069-A81F-55C7272FD118}" type="presOf" srcId="{27331272-1A14-4E80-B031-5AA5C5A02FFF}" destId="{4507A95F-1518-44E3-95D0-73A0EC79E6E5}" srcOrd="0" destOrd="0" presId="urn:microsoft.com/office/officeart/2005/8/layout/lProcess3"/>
    <dgm:cxn modelId="{49DE3DA2-09E1-4714-93B6-2DD2D749A3C6}" srcId="{80CD9FC5-84A2-4119-AE4E-1AD6DC2A6A90}" destId="{27331272-1A14-4E80-B031-5AA5C5A02FFF}" srcOrd="1" destOrd="0" parTransId="{122F1A91-902B-46B9-8338-EF09B86B28D2}" sibTransId="{D141C3BC-F34D-4A2E-BCBE-2D15C984B647}"/>
    <dgm:cxn modelId="{0D8676A2-7019-48BB-B9C9-37F63CB7F3BD}" type="presOf" srcId="{A0D4E7A4-3117-4723-AAF3-8936E6B80F33}" destId="{81B6DA4E-BFB9-43D6-AF7A-AEDE000EE248}" srcOrd="0" destOrd="0" presId="urn:microsoft.com/office/officeart/2005/8/layout/lProcess3"/>
    <dgm:cxn modelId="{5E59A7AB-CE34-464C-B6A2-AF34995932B4}" srcId="{CE31CE2D-52AD-47EE-9F57-FF0C2AB9FBB8}" destId="{A0D4E7A4-3117-4723-AAF3-8936E6B80F33}" srcOrd="1" destOrd="0" parTransId="{03EBEDE4-5DB2-4ECC-B6FB-1004FF9F36BC}" sibTransId="{7A8CEC07-3094-400E-A904-2790BC6396A7}"/>
    <dgm:cxn modelId="{1A2C8EB1-D973-4CC7-AA51-62E57F0682E8}" type="presOf" srcId="{85CC1A42-FDF8-46A9-B88A-6C2261DFBE98}" destId="{C4FFCDD4-E473-4802-BC82-8DE35FAAED09}" srcOrd="0" destOrd="0" presId="urn:microsoft.com/office/officeart/2005/8/layout/lProcess3"/>
    <dgm:cxn modelId="{941D56BC-040C-4A64-8D00-6743618881CD}" srcId="{CE31CE2D-52AD-47EE-9F57-FF0C2AB9FBB8}" destId="{85CC1A42-FDF8-46A9-B88A-6C2261DFBE98}" srcOrd="0" destOrd="0" parTransId="{B192ADB6-A3CB-4806-9A0E-F890C5410D96}" sibTransId="{33E39AB7-5881-408F-9ADA-F98EE7F0FB03}"/>
    <dgm:cxn modelId="{534CC6BE-90D0-4D02-B30B-52CCFBC6D2C9}" type="presOf" srcId="{80CD9FC5-84A2-4119-AE4E-1AD6DC2A6A90}" destId="{5D5075C0-CF76-44AB-9B25-E029186A86C7}" srcOrd="0" destOrd="0" presId="urn:microsoft.com/office/officeart/2005/8/layout/lProcess3"/>
    <dgm:cxn modelId="{E68F7CC1-5E40-4B73-9C2C-E5F65863BEDD}"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3" destOrd="0" parTransId="{44C892A4-16B5-4D15-B018-7008CEF3E344}" sibTransId="{DD32E8B5-4713-4832-9F58-63A206E397CB}"/>
    <dgm:cxn modelId="{511E4CF6-5811-40F7-A02D-75BFF4F1BF21}" srcId="{A0D4E7A4-3117-4723-AAF3-8936E6B80F33}" destId="{017DC130-9F90-46B9-BC95-6B4655F98326}" srcOrd="0" destOrd="0" parTransId="{3812E649-201B-4DFF-8BBC-01B4BBC59472}" sibTransId="{CC58E277-C8D2-4919-914C-61D9B04D7FA7}"/>
    <dgm:cxn modelId="{9FC0ACFA-D330-4375-9CA9-354007310AFE}" type="presOf" srcId="{3D132738-1FFB-47B6-A01C-0E0BA5C84AF4}" destId="{40C493D5-84C5-414A-B25E-F0516F30F1DB}" srcOrd="0" destOrd="0" presId="urn:microsoft.com/office/officeart/2005/8/layout/lProcess3"/>
    <dgm:cxn modelId="{5F29C0FD-2F13-456C-92BA-4A960A039C65}" type="presOf" srcId="{C1650299-81CA-4AC1-BE35-A84EEAB52047}" destId="{C206DD05-0BA1-4292-9BBC-3B937EE35CB5}" srcOrd="0" destOrd="0" presId="urn:microsoft.com/office/officeart/2005/8/layout/lProcess3"/>
    <dgm:cxn modelId="{C679B59D-282E-4CA5-AFE8-A23BD6958FC6}" type="presParOf" srcId="{1AC9F623-2B54-4F8A-831B-0CFEB8F285F0}" destId="{751995E5-85D0-4CBB-AF92-504564AB24E8}" srcOrd="0" destOrd="0" presId="urn:microsoft.com/office/officeart/2005/8/layout/lProcess3"/>
    <dgm:cxn modelId="{4F440973-09E7-42DE-8DE1-23A321A98420}" type="presParOf" srcId="{751995E5-85D0-4CBB-AF92-504564AB24E8}" destId="{C4FFCDD4-E473-4802-BC82-8DE35FAAED09}" srcOrd="0" destOrd="0" presId="urn:microsoft.com/office/officeart/2005/8/layout/lProcess3"/>
    <dgm:cxn modelId="{BF6F654E-AFA8-424D-AC01-F8E50827620F}" type="presParOf" srcId="{751995E5-85D0-4CBB-AF92-504564AB24E8}" destId="{85F44B2C-ABD8-402A-A03C-C97F35878543}" srcOrd="1" destOrd="0" presId="urn:microsoft.com/office/officeart/2005/8/layout/lProcess3"/>
    <dgm:cxn modelId="{9F5CF754-1CB9-4696-8DA8-4C03635FE0A9}" type="presParOf" srcId="{751995E5-85D0-4CBB-AF92-504564AB24E8}" destId="{C206DD05-0BA1-4292-9BBC-3B937EE35CB5}" srcOrd="2" destOrd="0" presId="urn:microsoft.com/office/officeart/2005/8/layout/lProcess3"/>
    <dgm:cxn modelId="{89F1248F-D6B8-41A8-90BB-67F1971A382B}" type="presParOf" srcId="{1AC9F623-2B54-4F8A-831B-0CFEB8F285F0}" destId="{20964328-1F0F-4051-86D4-F865B890421D}" srcOrd="1" destOrd="0" presId="urn:microsoft.com/office/officeart/2005/8/layout/lProcess3"/>
    <dgm:cxn modelId="{286FB61C-3FB2-4BBA-9BB4-0FB1C7771D35}" type="presParOf" srcId="{1AC9F623-2B54-4F8A-831B-0CFEB8F285F0}" destId="{9396E2C7-844D-4CC0-9F68-4357429F89BF}" srcOrd="2" destOrd="0" presId="urn:microsoft.com/office/officeart/2005/8/layout/lProcess3"/>
    <dgm:cxn modelId="{3408CAD6-42C0-4BC6-A89A-13DAF9FF005D}" type="presParOf" srcId="{9396E2C7-844D-4CC0-9F68-4357429F89BF}" destId="{81B6DA4E-BFB9-43D6-AF7A-AEDE000EE248}" srcOrd="0" destOrd="0" presId="urn:microsoft.com/office/officeart/2005/8/layout/lProcess3"/>
    <dgm:cxn modelId="{E3D1A304-79BA-4FB8-ACEB-C08BDFAA9A49}" type="presParOf" srcId="{9396E2C7-844D-4CC0-9F68-4357429F89BF}" destId="{D19B867F-F50F-4C70-8508-500D3527C665}" srcOrd="1" destOrd="0" presId="urn:microsoft.com/office/officeart/2005/8/layout/lProcess3"/>
    <dgm:cxn modelId="{776A7AB7-713C-4705-B165-2692F1FD4796}" type="presParOf" srcId="{9396E2C7-844D-4CC0-9F68-4357429F89BF}" destId="{69A3F573-828B-4DB7-9CCF-884EA63CCE92}" srcOrd="2" destOrd="0" presId="urn:microsoft.com/office/officeart/2005/8/layout/lProcess3"/>
    <dgm:cxn modelId="{423A4B8A-3518-4FED-999B-3F4664D1DDDE}" type="presParOf" srcId="{1AC9F623-2B54-4F8A-831B-0CFEB8F285F0}" destId="{2B03031B-DEE1-43C6-B247-6312ED180B11}" srcOrd="3" destOrd="0" presId="urn:microsoft.com/office/officeart/2005/8/layout/lProcess3"/>
    <dgm:cxn modelId="{CBAB0D97-2A22-4C71-9572-FFD19F505868}" type="presParOf" srcId="{1AC9F623-2B54-4F8A-831B-0CFEB8F285F0}" destId="{D3E44863-7289-4C7F-A5F9-3F338DEA58F3}" srcOrd="4" destOrd="0" presId="urn:microsoft.com/office/officeart/2005/8/layout/lProcess3"/>
    <dgm:cxn modelId="{726E8719-CD64-4FEE-912D-0C78AF99FA09}" type="presParOf" srcId="{D3E44863-7289-4C7F-A5F9-3F338DEA58F3}" destId="{60962599-610D-41A6-A308-3C61676FA10F}" srcOrd="0" destOrd="0" presId="urn:microsoft.com/office/officeart/2005/8/layout/lProcess3"/>
    <dgm:cxn modelId="{75529053-E374-4F72-92E1-CAA6A514D937}" type="presParOf" srcId="{D3E44863-7289-4C7F-A5F9-3F338DEA58F3}" destId="{7B006ADB-7AD9-4CA9-AB29-0B37917A63E6}" srcOrd="1" destOrd="0" presId="urn:microsoft.com/office/officeart/2005/8/layout/lProcess3"/>
    <dgm:cxn modelId="{FCF6E24C-C812-455F-AF3D-DF29D0FA77B1}" type="presParOf" srcId="{D3E44863-7289-4C7F-A5F9-3F338DEA58F3}" destId="{40C493D5-84C5-414A-B25E-F0516F30F1DB}" srcOrd="2" destOrd="0" presId="urn:microsoft.com/office/officeart/2005/8/layout/lProcess3"/>
    <dgm:cxn modelId="{E4D7968D-80F9-42E6-B2A7-0BD52A871463}" type="presParOf" srcId="{1AC9F623-2B54-4F8A-831B-0CFEB8F285F0}" destId="{02C85D75-F0CF-4656-9A04-F9D649821F56}" srcOrd="5" destOrd="0" presId="urn:microsoft.com/office/officeart/2005/8/layout/lProcess3"/>
    <dgm:cxn modelId="{C69E2E52-FD9C-473D-8954-1D42EEEA6C9D}" type="presParOf" srcId="{1AC9F623-2B54-4F8A-831B-0CFEB8F285F0}" destId="{A5B46316-F840-4195-86CF-FCB8623A496A}" srcOrd="6" destOrd="0" presId="urn:microsoft.com/office/officeart/2005/8/layout/lProcess3"/>
    <dgm:cxn modelId="{B94B1DFE-E295-4FD7-AA9C-DA8B54510B6A}" type="presParOf" srcId="{A5B46316-F840-4195-86CF-FCB8623A496A}" destId="{5D5075C0-CF76-44AB-9B25-E029186A86C7}" srcOrd="0" destOrd="0" presId="urn:microsoft.com/office/officeart/2005/8/layout/lProcess3"/>
    <dgm:cxn modelId="{F53B7BB6-ED74-48EA-8AC9-81D1938227F6}" type="presParOf" srcId="{A5B46316-F840-4195-86CF-FCB8623A496A}" destId="{A535F8AE-7CBE-4C20-8A04-B0949F1BDC20}" srcOrd="1" destOrd="0" presId="urn:microsoft.com/office/officeart/2005/8/layout/lProcess3"/>
    <dgm:cxn modelId="{25EFE1F9-8145-4DCD-8C22-C0773BF8430C}" type="presParOf" srcId="{A5B46316-F840-4195-86CF-FCB8623A496A}" destId="{DBA3233D-396D-4828-ABB1-05C8FA826E94}" srcOrd="2" destOrd="0" presId="urn:microsoft.com/office/officeart/2005/8/layout/lProcess3"/>
    <dgm:cxn modelId="{BA1979BE-AEEE-4651-9711-05D522321162}" type="presParOf" srcId="{A5B46316-F840-4195-86CF-FCB8623A496A}" destId="{5767BAFD-75A5-43CA-B5AA-360BDD57BF97}" srcOrd="3" destOrd="0" presId="urn:microsoft.com/office/officeart/2005/8/layout/lProcess3"/>
    <dgm:cxn modelId="{180428B1-40E1-4BE1-97BE-36B5B9FC0DA1}" type="presParOf" srcId="{A5B46316-F840-4195-86CF-FCB8623A496A}" destId="{4507A95F-1518-44E3-95D0-73A0EC79E6E5}"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FFCDD4-E473-4802-BC82-8DE35FAAED09}">
      <dsp:nvSpPr>
        <dsp:cNvPr id="0" name=""/>
        <dsp:cNvSpPr/>
      </dsp:nvSpPr>
      <dsp:spPr>
        <a:xfrm>
          <a:off x="444141" y="3126"/>
          <a:ext cx="3122399" cy="12489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rtl="0">
            <a:lnSpc>
              <a:spcPct val="90000"/>
            </a:lnSpc>
            <a:spcBef>
              <a:spcPct val="0"/>
            </a:spcBef>
            <a:spcAft>
              <a:spcPct val="35000"/>
            </a:spcAft>
            <a:buNone/>
          </a:pPr>
          <a:r>
            <a:rPr lang="en-US" sz="2800" kern="1200">
              <a:latin typeface="Calibri" panose="020F0502020204030204"/>
            </a:rPr>
            <a:t>ESSI Launch Call</a:t>
          </a:r>
          <a:endParaRPr lang="en-US" sz="2800" kern="1200"/>
        </a:p>
      </dsp:txBody>
      <dsp:txXfrm>
        <a:off x="1068621" y="3126"/>
        <a:ext cx="1873440" cy="1248959"/>
      </dsp:txXfrm>
    </dsp:sp>
    <dsp:sp modelId="{C206DD05-0BA1-4292-9BBC-3B937EE35CB5}">
      <dsp:nvSpPr>
        <dsp:cNvPr id="0" name=""/>
        <dsp:cNvSpPr/>
      </dsp:nvSpPr>
      <dsp:spPr>
        <a:xfrm>
          <a:off x="3160629" y="109288"/>
          <a:ext cx="2591591" cy="1036636"/>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17145" rIns="0" bIns="17145" numCol="1" spcCol="1270" anchor="ctr" anchorCtr="0">
          <a:noAutofit/>
        </a:bodyPr>
        <a:lstStyle/>
        <a:p>
          <a:pPr marL="0" lvl="0" indent="0" algn="ctr" defTabSz="1200150" rtl="0">
            <a:lnSpc>
              <a:spcPct val="90000"/>
            </a:lnSpc>
            <a:spcBef>
              <a:spcPct val="0"/>
            </a:spcBef>
            <a:spcAft>
              <a:spcPct val="35000"/>
            </a:spcAft>
            <a:buNone/>
          </a:pPr>
          <a:r>
            <a:rPr lang="en-US" sz="2700" kern="1200">
              <a:latin typeface="Calibri" panose="020F0502020204030204"/>
            </a:rPr>
            <a:t>November 20th, 2023</a:t>
          </a:r>
        </a:p>
      </dsp:txBody>
      <dsp:txXfrm>
        <a:off x="3678947" y="109288"/>
        <a:ext cx="1554955" cy="1036636"/>
      </dsp:txXfrm>
    </dsp:sp>
    <dsp:sp modelId="{81B6DA4E-BFB9-43D6-AF7A-AEDE000EE248}">
      <dsp:nvSpPr>
        <dsp:cNvPr id="0" name=""/>
        <dsp:cNvSpPr/>
      </dsp:nvSpPr>
      <dsp:spPr>
        <a:xfrm>
          <a:off x="444141" y="1426940"/>
          <a:ext cx="3122399" cy="12489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rtl="0">
            <a:lnSpc>
              <a:spcPct val="90000"/>
            </a:lnSpc>
            <a:spcBef>
              <a:spcPct val="0"/>
            </a:spcBef>
            <a:spcAft>
              <a:spcPct val="35000"/>
            </a:spcAft>
            <a:buNone/>
          </a:pPr>
          <a:r>
            <a:rPr lang="en-US" sz="2800" kern="1200">
              <a:latin typeface="Calibri" panose="020F0502020204030204"/>
            </a:rPr>
            <a:t>QI Team Lead Support Call</a:t>
          </a:r>
        </a:p>
      </dsp:txBody>
      <dsp:txXfrm>
        <a:off x="1068621" y="1426940"/>
        <a:ext cx="1873440" cy="1248959"/>
      </dsp:txXfrm>
    </dsp:sp>
    <dsp:sp modelId="{69A3F573-828B-4DB7-9CCF-884EA63CCE92}">
      <dsp:nvSpPr>
        <dsp:cNvPr id="0" name=""/>
        <dsp:cNvSpPr/>
      </dsp:nvSpPr>
      <dsp:spPr>
        <a:xfrm>
          <a:off x="3160629" y="1533102"/>
          <a:ext cx="2591591" cy="1036636"/>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17145" rIns="0" bIns="17145" numCol="1" spcCol="1270" anchor="ctr" anchorCtr="0">
          <a:noAutofit/>
        </a:bodyPr>
        <a:lstStyle/>
        <a:p>
          <a:pPr marL="0" lvl="0" indent="0" algn="ctr" defTabSz="1200150" rtl="0">
            <a:lnSpc>
              <a:spcPct val="90000"/>
            </a:lnSpc>
            <a:spcBef>
              <a:spcPct val="0"/>
            </a:spcBef>
            <a:spcAft>
              <a:spcPct val="35000"/>
            </a:spcAft>
            <a:buNone/>
          </a:pPr>
          <a:r>
            <a:rPr lang="en-US" sz="2700" kern="1200">
              <a:latin typeface="Calibri" panose="020F0502020204030204"/>
            </a:rPr>
            <a:t>December 7th, 2023</a:t>
          </a:r>
        </a:p>
      </dsp:txBody>
      <dsp:txXfrm>
        <a:off x="3678947" y="1533102"/>
        <a:ext cx="1554955" cy="1036636"/>
      </dsp:txXfrm>
    </dsp:sp>
    <dsp:sp modelId="{60962599-610D-41A6-A308-3C61676FA10F}">
      <dsp:nvSpPr>
        <dsp:cNvPr id="0" name=""/>
        <dsp:cNvSpPr/>
      </dsp:nvSpPr>
      <dsp:spPr>
        <a:xfrm>
          <a:off x="444141" y="2850755"/>
          <a:ext cx="3122399" cy="12489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rtl="0">
            <a:lnSpc>
              <a:spcPct val="90000"/>
            </a:lnSpc>
            <a:spcBef>
              <a:spcPct val="0"/>
            </a:spcBef>
            <a:spcAft>
              <a:spcPct val="35000"/>
            </a:spcAft>
            <a:buNone/>
          </a:pPr>
          <a:r>
            <a:rPr lang="en-US" sz="2800" kern="1200">
              <a:solidFill>
                <a:schemeClr val="bg1"/>
              </a:solidFill>
              <a:latin typeface="Calibri" panose="020F0502020204030204"/>
            </a:rPr>
            <a:t>First ESSI Monthly Webinar</a:t>
          </a:r>
        </a:p>
      </dsp:txBody>
      <dsp:txXfrm>
        <a:off x="1068621" y="2850755"/>
        <a:ext cx="1873440" cy="1248959"/>
      </dsp:txXfrm>
    </dsp:sp>
    <dsp:sp modelId="{40C493D5-84C5-414A-B25E-F0516F30F1DB}">
      <dsp:nvSpPr>
        <dsp:cNvPr id="0" name=""/>
        <dsp:cNvSpPr/>
      </dsp:nvSpPr>
      <dsp:spPr>
        <a:xfrm>
          <a:off x="3160629" y="2956916"/>
          <a:ext cx="2591591" cy="1036636"/>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17145" rIns="0" bIns="17145" numCol="1" spcCol="1270" anchor="ctr" anchorCtr="0">
          <a:noAutofit/>
        </a:bodyPr>
        <a:lstStyle/>
        <a:p>
          <a:pPr marL="0" lvl="0" indent="0" algn="ctr" defTabSz="1200150" rtl="0">
            <a:lnSpc>
              <a:spcPct val="90000"/>
            </a:lnSpc>
            <a:spcBef>
              <a:spcPct val="0"/>
            </a:spcBef>
            <a:spcAft>
              <a:spcPct val="35000"/>
            </a:spcAft>
            <a:buNone/>
          </a:pPr>
          <a:r>
            <a:rPr lang="en-US" sz="2700" kern="1200">
              <a:solidFill>
                <a:srgbClr val="444444"/>
              </a:solidFill>
              <a:latin typeface="Calibri" panose="020F0502020204030204"/>
            </a:rPr>
            <a:t>January </a:t>
          </a:r>
          <a:r>
            <a:rPr lang="en-US" sz="2700" kern="1200">
              <a:latin typeface="Calibri" panose="020F0502020204030204"/>
            </a:rPr>
            <a:t>2023</a:t>
          </a:r>
        </a:p>
      </dsp:txBody>
      <dsp:txXfrm>
        <a:off x="3678947" y="2956916"/>
        <a:ext cx="1554955" cy="1036636"/>
      </dsp:txXfrm>
    </dsp:sp>
    <dsp:sp modelId="{5D5075C0-CF76-44AB-9B25-E029186A86C7}">
      <dsp:nvSpPr>
        <dsp:cNvPr id="0" name=""/>
        <dsp:cNvSpPr/>
      </dsp:nvSpPr>
      <dsp:spPr>
        <a:xfrm>
          <a:off x="444141" y="4274569"/>
          <a:ext cx="3122399" cy="12489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a:latin typeface="Calibri" panose="020F0502020204030204"/>
            </a:rPr>
            <a:t>ESSI Data Training Webinars</a:t>
          </a:r>
          <a:endParaRPr lang="en-US" sz="2800" kern="1200"/>
        </a:p>
      </dsp:txBody>
      <dsp:txXfrm>
        <a:off x="1068621" y="4274569"/>
        <a:ext cx="1873440" cy="1248959"/>
      </dsp:txXfrm>
    </dsp:sp>
    <dsp:sp modelId="{DBA3233D-396D-4828-ABB1-05C8FA826E94}">
      <dsp:nvSpPr>
        <dsp:cNvPr id="0" name=""/>
        <dsp:cNvSpPr/>
      </dsp:nvSpPr>
      <dsp:spPr>
        <a:xfrm>
          <a:off x="3160629" y="4380731"/>
          <a:ext cx="2591591" cy="1036636"/>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17145" rIns="0" bIns="17145" numCol="1" spcCol="1270" anchor="ctr" anchorCtr="0">
          <a:noAutofit/>
        </a:bodyPr>
        <a:lstStyle/>
        <a:p>
          <a:pPr marL="0" lvl="0" indent="0" algn="ctr" defTabSz="1200150" rtl="0">
            <a:lnSpc>
              <a:spcPct val="90000"/>
            </a:lnSpc>
            <a:spcBef>
              <a:spcPct val="0"/>
            </a:spcBef>
            <a:spcAft>
              <a:spcPct val="35000"/>
            </a:spcAft>
            <a:buNone/>
          </a:pPr>
          <a:r>
            <a:rPr lang="en-US" sz="2700" kern="1200">
              <a:latin typeface="Calibri" panose="020F0502020204030204"/>
            </a:rPr>
            <a:t>January 11th, 2023</a:t>
          </a:r>
        </a:p>
      </dsp:txBody>
      <dsp:txXfrm>
        <a:off x="3678947" y="4380731"/>
        <a:ext cx="1554955" cy="1036636"/>
      </dsp:txXfrm>
    </dsp:sp>
    <dsp:sp modelId="{4507A95F-1518-44E3-95D0-73A0EC79E6E5}">
      <dsp:nvSpPr>
        <dsp:cNvPr id="0" name=""/>
        <dsp:cNvSpPr/>
      </dsp:nvSpPr>
      <dsp:spPr>
        <a:xfrm>
          <a:off x="5389398" y="4380731"/>
          <a:ext cx="2591591" cy="1036636"/>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17145" rIns="0" bIns="17145" numCol="1" spcCol="1270" anchor="ctr" anchorCtr="0">
          <a:noAutofit/>
        </a:bodyPr>
        <a:lstStyle/>
        <a:p>
          <a:pPr marL="0" lvl="0" indent="0" algn="ctr" defTabSz="1200150" rtl="0">
            <a:lnSpc>
              <a:spcPct val="90000"/>
            </a:lnSpc>
            <a:spcBef>
              <a:spcPct val="0"/>
            </a:spcBef>
            <a:spcAft>
              <a:spcPct val="35000"/>
            </a:spcAft>
            <a:buNone/>
          </a:pPr>
          <a:r>
            <a:rPr lang="en-US" sz="2700" kern="1200">
              <a:latin typeface="Calibri" panose="020F0502020204030204"/>
            </a:rPr>
            <a:t>January 18th, 2023</a:t>
          </a:r>
          <a:endParaRPr lang="en-US" sz="2700" kern="1200"/>
        </a:p>
      </dsp:txBody>
      <dsp:txXfrm>
        <a:off x="5907716" y="4380731"/>
        <a:ext cx="1554955" cy="103663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5AE3D-BBF5-462F-BA10-AB04ECE4348E}" type="datetimeFigureOut">
              <a:t>11/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BD1989-80A6-4526-B6CA-3DFDBBCC42D0}" type="slidenum">
              <a:t>‹#›</a:t>
            </a:fld>
            <a:endParaRPr lang="en-US"/>
          </a:p>
        </p:txBody>
      </p:sp>
    </p:spTree>
    <p:extLst>
      <p:ext uri="{BB962C8B-B14F-4D97-AF65-F5344CB8AC3E}">
        <p14:creationId xmlns:p14="http://schemas.microsoft.com/office/powerpoint/2010/main" val="1213723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the ESSI key driver diagram. </a:t>
            </a:r>
          </a:p>
          <a:p>
            <a:r>
              <a:rPr lang="en-US"/>
              <a:t>It allows us to distill our vision into manageable tasks.</a:t>
            </a:r>
            <a:endParaRPr lang="en-US">
              <a:cs typeface="Calibri"/>
            </a:endParaRPr>
          </a:p>
          <a:p>
            <a:r>
              <a:rPr lang="en-US"/>
              <a:t>It organizes our improvement aim and the key drivers  into a learning and communication framework. </a:t>
            </a:r>
            <a:endParaRPr lang="en-US">
              <a:cs typeface="Calibri"/>
            </a:endParaRPr>
          </a:p>
          <a:p>
            <a:endParaRPr lang="en-US"/>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a:t>15</a:t>
            </a:fld>
            <a:endParaRPr lang="en-US"/>
          </a:p>
        </p:txBody>
      </p:sp>
    </p:spTree>
    <p:extLst>
      <p:ext uri="{BB962C8B-B14F-4D97-AF65-F5344CB8AC3E}">
        <p14:creationId xmlns:p14="http://schemas.microsoft.com/office/powerpoint/2010/main" val="1550179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7</a:t>
            </a:fld>
            <a:endParaRPr lang="en-US"/>
          </a:p>
        </p:txBody>
      </p:sp>
    </p:spTree>
    <p:extLst>
      <p:ext uri="{BB962C8B-B14F-4D97-AF65-F5344CB8AC3E}">
        <p14:creationId xmlns:p14="http://schemas.microsoft.com/office/powerpoint/2010/main" val="4013461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9</a:t>
            </a:fld>
            <a:endParaRPr lang="en-US"/>
          </a:p>
        </p:txBody>
      </p:sp>
    </p:spTree>
    <p:extLst>
      <p:ext uri="{BB962C8B-B14F-4D97-AF65-F5344CB8AC3E}">
        <p14:creationId xmlns:p14="http://schemas.microsoft.com/office/powerpoint/2010/main" val="1481276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dd animation for all tools to appear at once</a:t>
            </a:r>
          </a:p>
        </p:txBody>
      </p:sp>
      <p:sp>
        <p:nvSpPr>
          <p:cNvPr id="4" name="Slide Number Placeholder 3"/>
          <p:cNvSpPr>
            <a:spLocks noGrp="1"/>
          </p:cNvSpPr>
          <p:nvPr>
            <p:ph type="sldNum" sz="quarter" idx="5"/>
          </p:nvPr>
        </p:nvSpPr>
        <p:spPr/>
        <p:txBody>
          <a:bodyPr/>
          <a:lstStyle/>
          <a:p>
            <a:fld id="{1EBD1989-80A6-4526-B6CA-3DFDBBCC42D0}" type="slidenum">
              <a:rPr lang="en-US"/>
              <a:t>22</a:t>
            </a:fld>
            <a:endParaRPr lang="en-US"/>
          </a:p>
        </p:txBody>
      </p:sp>
    </p:spTree>
    <p:extLst>
      <p:ext uri="{BB962C8B-B14F-4D97-AF65-F5344CB8AC3E}">
        <p14:creationId xmlns:p14="http://schemas.microsoft.com/office/powerpoint/2010/main" val="3777976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6</a:t>
            </a:fld>
            <a:endParaRPr lang="en-US"/>
          </a:p>
        </p:txBody>
      </p:sp>
    </p:spTree>
    <p:extLst>
      <p:ext uri="{BB962C8B-B14F-4D97-AF65-F5344CB8AC3E}">
        <p14:creationId xmlns:p14="http://schemas.microsoft.com/office/powerpoint/2010/main" val="505298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AKE INTO FOUR BY DIVIDING LIGHT BLUE INTO TWO</a:t>
            </a:r>
          </a:p>
        </p:txBody>
      </p:sp>
      <p:sp>
        <p:nvSpPr>
          <p:cNvPr id="4" name="Slide Number Placeholder 3"/>
          <p:cNvSpPr>
            <a:spLocks noGrp="1"/>
          </p:cNvSpPr>
          <p:nvPr>
            <p:ph type="sldNum" sz="quarter" idx="5"/>
          </p:nvPr>
        </p:nvSpPr>
        <p:spPr/>
        <p:txBody>
          <a:bodyPr/>
          <a:lstStyle/>
          <a:p>
            <a:fld id="{1EBD1989-80A6-4526-B6CA-3DFDBBCC42D0}" type="slidenum">
              <a:rPr lang="en-US"/>
              <a:t>34</a:t>
            </a:fld>
            <a:endParaRPr lang="en-US"/>
          </a:p>
        </p:txBody>
      </p:sp>
    </p:spTree>
    <p:extLst>
      <p:ext uri="{BB962C8B-B14F-4D97-AF65-F5344CB8AC3E}">
        <p14:creationId xmlns:p14="http://schemas.microsoft.com/office/powerpoint/2010/main" val="24186079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5</a:t>
            </a:fld>
            <a:endParaRPr lang="en-US"/>
          </a:p>
        </p:txBody>
      </p:sp>
    </p:spTree>
    <p:extLst>
      <p:ext uri="{BB962C8B-B14F-4D97-AF65-F5344CB8AC3E}">
        <p14:creationId xmlns:p14="http://schemas.microsoft.com/office/powerpoint/2010/main" val="4146305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8</a:t>
            </a:fld>
            <a:endParaRPr lang="en-US"/>
          </a:p>
        </p:txBody>
      </p:sp>
    </p:spTree>
    <p:extLst>
      <p:ext uri="{BB962C8B-B14F-4D97-AF65-F5344CB8AC3E}">
        <p14:creationId xmlns:p14="http://schemas.microsoft.com/office/powerpoint/2010/main" val="3889954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9</a:t>
            </a:fld>
            <a:endParaRPr lang="en-US"/>
          </a:p>
        </p:txBody>
      </p:sp>
    </p:spTree>
    <p:extLst>
      <p:ext uri="{BB962C8B-B14F-4D97-AF65-F5344CB8AC3E}">
        <p14:creationId xmlns:p14="http://schemas.microsoft.com/office/powerpoint/2010/main" val="2484748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0</a:t>
            </a:fld>
            <a:endParaRPr lang="en-US"/>
          </a:p>
        </p:txBody>
      </p:sp>
    </p:spTree>
    <p:extLst>
      <p:ext uri="{BB962C8B-B14F-4D97-AF65-F5344CB8AC3E}">
        <p14:creationId xmlns:p14="http://schemas.microsoft.com/office/powerpoint/2010/main" val="1558857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0"/>
        <p:cNvGrpSpPr/>
        <p:nvPr/>
      </p:nvGrpSpPr>
      <p:grpSpPr>
        <a:xfrm>
          <a:off x="0" y="0"/>
          <a:ext cx="0" cy="0"/>
          <a:chOff x="0" y="0"/>
          <a:chExt cx="0" cy="0"/>
        </a:xfrm>
      </p:grpSpPr>
      <p:sp>
        <p:nvSpPr>
          <p:cNvPr id="2171" name="Google Shape;217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 name="Google Shape;217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3" name="Google Shape;217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3</a:t>
            </a:fld>
            <a:endParaRPr lang="en-US"/>
          </a:p>
        </p:txBody>
      </p:sp>
    </p:spTree>
    <p:extLst>
      <p:ext uri="{BB962C8B-B14F-4D97-AF65-F5344CB8AC3E}">
        <p14:creationId xmlns:p14="http://schemas.microsoft.com/office/powerpoint/2010/main" val="3710133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15mins of together time</a:t>
            </a:r>
          </a:p>
          <a:p>
            <a:r>
              <a:rPr lang="en-US">
                <a:ea typeface="Calibri"/>
                <a:cs typeface="Calibri"/>
              </a:rPr>
              <a:t>25mins of report time, with flexibility</a:t>
            </a:r>
          </a:p>
        </p:txBody>
      </p:sp>
      <p:sp>
        <p:nvSpPr>
          <p:cNvPr id="4" name="Slide Number Placeholder 3"/>
          <p:cNvSpPr>
            <a:spLocks noGrp="1"/>
          </p:cNvSpPr>
          <p:nvPr>
            <p:ph type="sldNum" sz="quarter" idx="5"/>
          </p:nvPr>
        </p:nvSpPr>
        <p:spPr/>
        <p:txBody>
          <a:bodyPr/>
          <a:lstStyle/>
          <a:p>
            <a:fld id="{1EBD1989-80A6-4526-B6CA-3DFDBBCC42D0}" type="slidenum">
              <a:rPr lang="en-US"/>
              <a:t>44</a:t>
            </a:fld>
            <a:endParaRPr lang="en-US"/>
          </a:p>
        </p:txBody>
      </p:sp>
    </p:spTree>
    <p:extLst>
      <p:ext uri="{BB962C8B-B14F-4D97-AF65-F5344CB8AC3E}">
        <p14:creationId xmlns:p14="http://schemas.microsoft.com/office/powerpoint/2010/main" val="28442054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45</a:t>
            </a:fld>
            <a:endParaRPr lang="en-US"/>
          </a:p>
        </p:txBody>
      </p:sp>
    </p:spTree>
    <p:extLst>
      <p:ext uri="{BB962C8B-B14F-4D97-AF65-F5344CB8AC3E}">
        <p14:creationId xmlns:p14="http://schemas.microsoft.com/office/powerpoint/2010/main" val="2876195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6</a:t>
            </a:fld>
            <a:endParaRPr lang="en-US"/>
          </a:p>
        </p:txBody>
      </p:sp>
    </p:spTree>
    <p:extLst>
      <p:ext uri="{BB962C8B-B14F-4D97-AF65-F5344CB8AC3E}">
        <p14:creationId xmlns:p14="http://schemas.microsoft.com/office/powerpoint/2010/main" val="4053857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8</a:t>
            </a:fld>
            <a:endParaRPr lang="en-US"/>
          </a:p>
        </p:txBody>
      </p:sp>
    </p:spTree>
    <p:extLst>
      <p:ext uri="{BB962C8B-B14F-4D97-AF65-F5344CB8AC3E}">
        <p14:creationId xmlns:p14="http://schemas.microsoft.com/office/powerpoint/2010/main" val="26023658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ETURN TO ROOM SLIDE?</a:t>
            </a:r>
          </a:p>
        </p:txBody>
      </p:sp>
      <p:sp>
        <p:nvSpPr>
          <p:cNvPr id="4" name="Slide Number Placeholder 3"/>
          <p:cNvSpPr>
            <a:spLocks noGrp="1"/>
          </p:cNvSpPr>
          <p:nvPr>
            <p:ph type="sldNum" sz="quarter" idx="5"/>
          </p:nvPr>
        </p:nvSpPr>
        <p:spPr/>
        <p:txBody>
          <a:bodyPr/>
          <a:lstStyle/>
          <a:p>
            <a:fld id="{1EBD1989-80A6-4526-B6CA-3DFDBBCC42D0}" type="slidenum">
              <a:rPr lang="en-US" smtClean="0"/>
              <a:t>51</a:t>
            </a:fld>
            <a:endParaRPr lang="en-US"/>
          </a:p>
        </p:txBody>
      </p:sp>
    </p:spTree>
    <p:extLst>
      <p:ext uri="{BB962C8B-B14F-4D97-AF65-F5344CB8AC3E}">
        <p14:creationId xmlns:p14="http://schemas.microsoft.com/office/powerpoint/2010/main" val="3201656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7</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8</a:t>
            </a:fld>
            <a:endParaRPr lang="en-US"/>
          </a:p>
        </p:txBody>
      </p:sp>
    </p:spTree>
    <p:extLst>
      <p:ext uri="{BB962C8B-B14F-4D97-AF65-F5344CB8AC3E}">
        <p14:creationId xmlns:p14="http://schemas.microsoft.com/office/powerpoint/2010/main" val="3863324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takes a lot of teamwork to plan and launch an initiative and we are so grateful for our partners across the state for their collaboration</a:t>
            </a:r>
          </a:p>
        </p:txBody>
      </p:sp>
      <p:sp>
        <p:nvSpPr>
          <p:cNvPr id="4" name="Slide Number Placeholder 3"/>
          <p:cNvSpPr>
            <a:spLocks noGrp="1"/>
          </p:cNvSpPr>
          <p:nvPr>
            <p:ph type="sldNum" sz="quarter" idx="5"/>
          </p:nvPr>
        </p:nvSpPr>
        <p:spPr/>
        <p:txBody>
          <a:bodyPr/>
          <a:lstStyle/>
          <a:p>
            <a:fld id="{D0B1C258-122C-4775-B207-3DE2D949F414}" type="slidenum">
              <a:rPr lang="en-US" smtClean="0"/>
              <a:t>9</a:t>
            </a:fld>
            <a:endParaRPr lang="en-US"/>
          </a:p>
        </p:txBody>
      </p:sp>
    </p:spTree>
    <p:extLst>
      <p:ext uri="{BB962C8B-B14F-4D97-AF65-F5344CB8AC3E}">
        <p14:creationId xmlns:p14="http://schemas.microsoft.com/office/powerpoint/2010/main" val="220711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0</a:t>
            </a:fld>
            <a:endParaRPr lang="en-US"/>
          </a:p>
        </p:txBody>
      </p:sp>
    </p:spTree>
    <p:extLst>
      <p:ext uri="{BB962C8B-B14F-4D97-AF65-F5344CB8AC3E}">
        <p14:creationId xmlns:p14="http://schemas.microsoft.com/office/powerpoint/2010/main" val="1962243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takes a lot of teamwork to plan and launch an initiative and we are so grateful for our partners across the state for their collaboration</a:t>
            </a:r>
          </a:p>
        </p:txBody>
      </p:sp>
      <p:sp>
        <p:nvSpPr>
          <p:cNvPr id="4" name="Slide Number Placeholder 3"/>
          <p:cNvSpPr>
            <a:spLocks noGrp="1"/>
          </p:cNvSpPr>
          <p:nvPr>
            <p:ph type="sldNum" sz="quarter" idx="5"/>
          </p:nvPr>
        </p:nvSpPr>
        <p:spPr/>
        <p:txBody>
          <a:bodyPr/>
          <a:lstStyle/>
          <a:p>
            <a:fld id="{D0B1C258-122C-4775-B207-3DE2D949F414}" type="slidenum">
              <a:rPr lang="en-US" smtClean="0"/>
              <a:t>11</a:t>
            </a:fld>
            <a:endParaRPr lang="en-US"/>
          </a:p>
        </p:txBody>
      </p:sp>
    </p:spTree>
    <p:extLst>
      <p:ext uri="{BB962C8B-B14F-4D97-AF65-F5344CB8AC3E}">
        <p14:creationId xmlns:p14="http://schemas.microsoft.com/office/powerpoint/2010/main" val="1001401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ut in YIR</a:t>
            </a:r>
          </a:p>
        </p:txBody>
      </p:sp>
      <p:sp>
        <p:nvSpPr>
          <p:cNvPr id="4" name="Slide Number Placeholder 3"/>
          <p:cNvSpPr>
            <a:spLocks noGrp="1"/>
          </p:cNvSpPr>
          <p:nvPr>
            <p:ph type="sldNum" sz="quarter" idx="5"/>
          </p:nvPr>
        </p:nvSpPr>
        <p:spPr/>
        <p:txBody>
          <a:bodyPr/>
          <a:lstStyle/>
          <a:p>
            <a:fld id="{1EBD1989-80A6-4526-B6CA-3DFDBBCC42D0}" type="slidenum">
              <a:rPr lang="en-US"/>
              <a:t>12</a:t>
            </a:fld>
            <a:endParaRPr lang="en-US"/>
          </a:p>
        </p:txBody>
      </p:sp>
    </p:spTree>
    <p:extLst>
      <p:ext uri="{BB962C8B-B14F-4D97-AF65-F5344CB8AC3E}">
        <p14:creationId xmlns:p14="http://schemas.microsoft.com/office/powerpoint/2010/main" val="1731491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4</a:t>
            </a:fld>
            <a:endParaRPr lang="en-US"/>
          </a:p>
        </p:txBody>
      </p:sp>
    </p:spTree>
    <p:extLst>
      <p:ext uri="{BB962C8B-B14F-4D97-AF65-F5344CB8AC3E}">
        <p14:creationId xmlns:p14="http://schemas.microsoft.com/office/powerpoint/2010/main" val="2632022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6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78304546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29319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2919898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9057967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582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5879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908461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42211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73680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764009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7063077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2248109"/>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2824906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1565514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5"/>
          <p:cNvSpPr>
            <a:spLocks noGrp="1"/>
          </p:cNvSpPr>
          <p:nvPr>
            <p:ph type="pic" idx="2"/>
          </p:nvPr>
        </p:nvSpPr>
        <p:spPr>
          <a:xfrm>
            <a:off x="7118684" y="233915"/>
            <a:ext cx="5073316" cy="5943600"/>
          </a:xfrm>
          <a:prstGeom prst="rect">
            <a:avLst/>
          </a:prstGeom>
          <a:noFill/>
          <a:ln>
            <a:noFill/>
          </a:ln>
        </p:spPr>
      </p:sp>
      <p:grpSp>
        <p:nvGrpSpPr>
          <p:cNvPr id="19" name="Google Shape;19;p35"/>
          <p:cNvGrpSpPr/>
          <p:nvPr/>
        </p:nvGrpSpPr>
        <p:grpSpPr>
          <a:xfrm>
            <a:off x="0" y="5020348"/>
            <a:ext cx="12192000" cy="1837653"/>
            <a:chOff x="0" y="5020348"/>
            <a:chExt cx="12192000" cy="1837653"/>
          </a:xfrm>
        </p:grpSpPr>
        <p:sp>
          <p:nvSpPr>
            <p:cNvPr id="20" name="Google Shape;20;p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36"/>
          <p:cNvGrpSpPr/>
          <p:nvPr/>
        </p:nvGrpSpPr>
        <p:grpSpPr>
          <a:xfrm>
            <a:off x="7191542" y="1"/>
            <a:ext cx="5000459" cy="1425992"/>
            <a:chOff x="7191542" y="1"/>
            <a:chExt cx="5000459" cy="1425992"/>
          </a:xfrm>
        </p:grpSpPr>
        <p:pic>
          <p:nvPicPr>
            <p:cNvPr id="25" name="Google Shape;2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6"/>
            <p:cNvGrpSpPr/>
            <p:nvPr/>
          </p:nvGrpSpPr>
          <p:grpSpPr>
            <a:xfrm>
              <a:off x="7191542" y="1"/>
              <a:ext cx="5000459" cy="1425992"/>
              <a:chOff x="7186272" y="0"/>
              <a:chExt cx="5005729" cy="1427495"/>
            </a:xfrm>
          </p:grpSpPr>
          <p:sp>
            <p:nvSpPr>
              <p:cNvPr id="27" name="Google Shape;2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37"/>
          <p:cNvGrpSpPr/>
          <p:nvPr/>
        </p:nvGrpSpPr>
        <p:grpSpPr>
          <a:xfrm>
            <a:off x="0" y="5020347"/>
            <a:ext cx="12192000" cy="1837653"/>
            <a:chOff x="0" y="5020347"/>
            <a:chExt cx="12192000" cy="1837653"/>
          </a:xfrm>
        </p:grpSpPr>
        <p:sp>
          <p:nvSpPr>
            <p:cNvPr id="36" name="Google Shape;36;p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 name="Google Shape;40;p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3"/>
        <p:cNvGrpSpPr/>
        <p:nvPr/>
      </p:nvGrpSpPr>
      <p:grpSpPr>
        <a:xfrm>
          <a:off x="0" y="0"/>
          <a:ext cx="0" cy="0"/>
          <a:chOff x="0" y="0"/>
          <a:chExt cx="0" cy="0"/>
        </a:xfrm>
      </p:grpSpPr>
      <p:grpSp>
        <p:nvGrpSpPr>
          <p:cNvPr id="54" name="Google Shape;54;p39"/>
          <p:cNvGrpSpPr/>
          <p:nvPr/>
        </p:nvGrpSpPr>
        <p:grpSpPr>
          <a:xfrm>
            <a:off x="7191542" y="1"/>
            <a:ext cx="5000459" cy="1425992"/>
            <a:chOff x="7191542" y="1"/>
            <a:chExt cx="5000459" cy="1425992"/>
          </a:xfrm>
        </p:grpSpPr>
        <p:pic>
          <p:nvPicPr>
            <p:cNvPr id="55" name="Google Shape;55;p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 name="Google Shape;56;p39"/>
            <p:cNvGrpSpPr/>
            <p:nvPr/>
          </p:nvGrpSpPr>
          <p:grpSpPr>
            <a:xfrm>
              <a:off x="7191542" y="1"/>
              <a:ext cx="5000459" cy="1425992"/>
              <a:chOff x="7186272" y="0"/>
              <a:chExt cx="5005729" cy="1427495"/>
            </a:xfrm>
          </p:grpSpPr>
          <p:sp>
            <p:nvSpPr>
              <p:cNvPr id="57" name="Google Shape;57;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 name="Google Shape;58;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 name="Google Shape;59;p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 name="Google Shape;62;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 name="Google Shape;63;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64"/>
        <p:cNvGrpSpPr/>
        <p:nvPr/>
      </p:nvGrpSpPr>
      <p:grpSpPr>
        <a:xfrm>
          <a:off x="0" y="0"/>
          <a:ext cx="0" cy="0"/>
          <a:chOff x="0" y="0"/>
          <a:chExt cx="0" cy="0"/>
        </a:xfrm>
      </p:grpSpPr>
      <p:grpSp>
        <p:nvGrpSpPr>
          <p:cNvPr id="65" name="Google Shape;65;p40"/>
          <p:cNvGrpSpPr/>
          <p:nvPr/>
        </p:nvGrpSpPr>
        <p:grpSpPr>
          <a:xfrm>
            <a:off x="7191542" y="1"/>
            <a:ext cx="5000459" cy="1425992"/>
            <a:chOff x="7191542" y="1"/>
            <a:chExt cx="5000459" cy="1425992"/>
          </a:xfrm>
        </p:grpSpPr>
        <p:pic>
          <p:nvPicPr>
            <p:cNvPr id="66" name="Google Shape;66;p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 name="Google Shape;67;p40"/>
            <p:cNvGrpSpPr/>
            <p:nvPr/>
          </p:nvGrpSpPr>
          <p:grpSpPr>
            <a:xfrm>
              <a:off x="7191542" y="1"/>
              <a:ext cx="5000459" cy="1425992"/>
              <a:chOff x="7186272" y="0"/>
              <a:chExt cx="5005729" cy="1427495"/>
            </a:xfrm>
          </p:grpSpPr>
          <p:sp>
            <p:nvSpPr>
              <p:cNvPr id="68" name="Google Shape;68;p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 name="Google Shape;69;p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 name="Google Shape;70;p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4"/>
        <p:cNvGrpSpPr/>
        <p:nvPr/>
      </p:nvGrpSpPr>
      <p:grpSpPr>
        <a:xfrm>
          <a:off x="0" y="0"/>
          <a:ext cx="0" cy="0"/>
          <a:chOff x="0" y="0"/>
          <a:chExt cx="0" cy="0"/>
        </a:xfrm>
      </p:grpSpPr>
      <p:sp>
        <p:nvSpPr>
          <p:cNvPr id="95" name="Google Shape;95;p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 name="Google Shape;96;p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 name="Google Shape;98;p48"/>
          <p:cNvSpPr>
            <a:spLocks noGrp="1"/>
          </p:cNvSpPr>
          <p:nvPr>
            <p:ph type="pic" idx="2"/>
          </p:nvPr>
        </p:nvSpPr>
        <p:spPr>
          <a:xfrm>
            <a:off x="7118684" y="233915"/>
            <a:ext cx="5073316" cy="5943600"/>
          </a:xfrm>
          <a:prstGeom prst="rect">
            <a:avLst/>
          </a:prstGeom>
          <a:noFill/>
          <a:ln>
            <a:noFill/>
          </a:ln>
        </p:spPr>
      </p:sp>
      <p:grpSp>
        <p:nvGrpSpPr>
          <p:cNvPr id="99" name="Google Shape;99;p48"/>
          <p:cNvGrpSpPr/>
          <p:nvPr/>
        </p:nvGrpSpPr>
        <p:grpSpPr>
          <a:xfrm>
            <a:off x="0" y="5020348"/>
            <a:ext cx="12192000" cy="1837653"/>
            <a:chOff x="0" y="5020348"/>
            <a:chExt cx="12192000" cy="1837653"/>
          </a:xfrm>
        </p:grpSpPr>
        <p:sp>
          <p:nvSpPr>
            <p:cNvPr id="100" name="Google Shape;100;p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2" name="Google Shape;102;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03"/>
        <p:cNvGrpSpPr/>
        <p:nvPr/>
      </p:nvGrpSpPr>
      <p:grpSpPr>
        <a:xfrm>
          <a:off x="0" y="0"/>
          <a:ext cx="0" cy="0"/>
          <a:chOff x="0" y="0"/>
          <a:chExt cx="0" cy="0"/>
        </a:xfrm>
      </p:grpSpPr>
      <p:sp>
        <p:nvSpPr>
          <p:cNvPr id="104" name="Google Shape;104;p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 name="Google Shape;10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 name="Google Shape;10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 name="Google Shape;110;p49"/>
          <p:cNvGrpSpPr/>
          <p:nvPr/>
        </p:nvGrpSpPr>
        <p:grpSpPr>
          <a:xfrm>
            <a:off x="7191542" y="1"/>
            <a:ext cx="5000459" cy="1425992"/>
            <a:chOff x="7191542" y="1"/>
            <a:chExt cx="5000459" cy="1425992"/>
          </a:xfrm>
        </p:grpSpPr>
        <p:pic>
          <p:nvPicPr>
            <p:cNvPr id="111" name="Google Shape;111;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 name="Google Shape;112;p49"/>
            <p:cNvGrpSpPr/>
            <p:nvPr/>
          </p:nvGrpSpPr>
          <p:grpSpPr>
            <a:xfrm>
              <a:off x="7191542" y="1"/>
              <a:ext cx="5000459" cy="1425992"/>
              <a:chOff x="7186272" y="0"/>
              <a:chExt cx="5005729" cy="1427495"/>
            </a:xfrm>
          </p:grpSpPr>
          <p:sp>
            <p:nvSpPr>
              <p:cNvPr id="113" name="Google Shape;113;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 name="Google Shape;114;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 name="Google Shape;115;p4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16"/>
        <p:cNvGrpSpPr/>
        <p:nvPr/>
      </p:nvGrpSpPr>
      <p:grpSpPr>
        <a:xfrm>
          <a:off x="0" y="0"/>
          <a:ext cx="0" cy="0"/>
          <a:chOff x="0" y="0"/>
          <a:chExt cx="0" cy="0"/>
        </a:xfrm>
      </p:grpSpPr>
      <p:sp>
        <p:nvSpPr>
          <p:cNvPr id="117" name="Google Shape;117;p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 name="Google Shape;118;p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 name="Google Shape;121;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 name="Google Shape;122;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 name="Google Shape;123;p50"/>
          <p:cNvGrpSpPr/>
          <p:nvPr/>
        </p:nvGrpSpPr>
        <p:grpSpPr>
          <a:xfrm>
            <a:off x="7191542" y="1"/>
            <a:ext cx="5000459" cy="1425992"/>
            <a:chOff x="7191542" y="1"/>
            <a:chExt cx="5000459" cy="1425992"/>
          </a:xfrm>
        </p:grpSpPr>
        <p:pic>
          <p:nvPicPr>
            <p:cNvPr id="124" name="Google Shape;124;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5" name="Google Shape;125;p50"/>
            <p:cNvGrpSpPr/>
            <p:nvPr/>
          </p:nvGrpSpPr>
          <p:grpSpPr>
            <a:xfrm>
              <a:off x="7191542" y="1"/>
              <a:ext cx="5000459" cy="1425992"/>
              <a:chOff x="7186272" y="0"/>
              <a:chExt cx="5005729" cy="1427495"/>
            </a:xfrm>
          </p:grpSpPr>
          <p:sp>
            <p:nvSpPr>
              <p:cNvPr id="126" name="Google Shape;126;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7" name="Google Shape;127;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 name="Google Shape;128;p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9"/>
        <p:cNvGrpSpPr/>
        <p:nvPr/>
      </p:nvGrpSpPr>
      <p:grpSpPr>
        <a:xfrm>
          <a:off x="0" y="0"/>
          <a:ext cx="0" cy="0"/>
          <a:chOff x="0" y="0"/>
          <a:chExt cx="0" cy="0"/>
        </a:xfrm>
      </p:grpSpPr>
      <p:grpSp>
        <p:nvGrpSpPr>
          <p:cNvPr id="130" name="Google Shape;130;p52"/>
          <p:cNvGrpSpPr/>
          <p:nvPr/>
        </p:nvGrpSpPr>
        <p:grpSpPr>
          <a:xfrm>
            <a:off x="7191542" y="1"/>
            <a:ext cx="5000459" cy="1425992"/>
            <a:chOff x="7191542" y="1"/>
            <a:chExt cx="5000459" cy="1425992"/>
          </a:xfrm>
        </p:grpSpPr>
        <p:pic>
          <p:nvPicPr>
            <p:cNvPr id="131" name="Google Shape;131;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2" name="Google Shape;132;p52"/>
            <p:cNvGrpSpPr/>
            <p:nvPr/>
          </p:nvGrpSpPr>
          <p:grpSpPr>
            <a:xfrm>
              <a:off x="7191542" y="1"/>
              <a:ext cx="5000459" cy="1425992"/>
              <a:chOff x="7186272" y="0"/>
              <a:chExt cx="5005729" cy="1427495"/>
            </a:xfrm>
          </p:grpSpPr>
          <p:sp>
            <p:nvSpPr>
              <p:cNvPr id="133" name="Google Shape;133;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 name="Google Shape;134;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 name="Google Shape;135;p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5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 name="Google Shape;137;p5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 name="Google Shape;139;p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 name="Google Shape;140;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1" name="Google Shape;141;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 name="Google Shape;142;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43"/>
        <p:cNvGrpSpPr/>
        <p:nvPr/>
      </p:nvGrpSpPr>
      <p:grpSpPr>
        <a:xfrm>
          <a:off x="0" y="0"/>
          <a:ext cx="0" cy="0"/>
          <a:chOff x="0" y="0"/>
          <a:chExt cx="0" cy="0"/>
        </a:xfrm>
      </p:grpSpPr>
      <p:grpSp>
        <p:nvGrpSpPr>
          <p:cNvPr id="144" name="Google Shape;144;p53"/>
          <p:cNvGrpSpPr/>
          <p:nvPr/>
        </p:nvGrpSpPr>
        <p:grpSpPr>
          <a:xfrm>
            <a:off x="0" y="5020347"/>
            <a:ext cx="12192000" cy="1837653"/>
            <a:chOff x="0" y="5020347"/>
            <a:chExt cx="12192000" cy="1837653"/>
          </a:xfrm>
        </p:grpSpPr>
        <p:sp>
          <p:nvSpPr>
            <p:cNvPr id="145" name="Google Shape;145;p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 name="Google Shape;146;p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 name="Google Shape;147;p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 name="Google Shape;148;p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 name="Google Shape;149;p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51"/>
        <p:cNvGrpSpPr/>
        <p:nvPr/>
      </p:nvGrpSpPr>
      <p:grpSpPr>
        <a:xfrm>
          <a:off x="0" y="0"/>
          <a:ext cx="0" cy="0"/>
          <a:chOff x="0" y="0"/>
          <a:chExt cx="0" cy="0"/>
        </a:xfrm>
      </p:grpSpPr>
      <p:sp>
        <p:nvSpPr>
          <p:cNvPr id="152" name="Google Shape;152;p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3" name="Google Shape;153;p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4" name="Google Shape;154;p54"/>
          <p:cNvGrpSpPr/>
          <p:nvPr/>
        </p:nvGrpSpPr>
        <p:grpSpPr>
          <a:xfrm>
            <a:off x="0" y="5379426"/>
            <a:ext cx="2807368" cy="753891"/>
            <a:chOff x="0" y="5379426"/>
            <a:chExt cx="2807368" cy="753891"/>
          </a:xfrm>
        </p:grpSpPr>
        <p:sp>
          <p:nvSpPr>
            <p:cNvPr id="155" name="Google Shape;155;p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7" name="Google Shape;157;p54"/>
          <p:cNvSpPr>
            <a:spLocks noGrp="1"/>
          </p:cNvSpPr>
          <p:nvPr>
            <p:ph type="pic" idx="2"/>
          </p:nvPr>
        </p:nvSpPr>
        <p:spPr>
          <a:xfrm>
            <a:off x="2807368" y="457202"/>
            <a:ext cx="8915400" cy="5943598"/>
          </a:xfrm>
          <a:prstGeom prst="rect">
            <a:avLst/>
          </a:prstGeom>
          <a:noFill/>
          <a:ln>
            <a:noFill/>
          </a:ln>
        </p:spPr>
      </p:sp>
      <p:pic>
        <p:nvPicPr>
          <p:cNvPr id="158" name="Google Shape;158;p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59"/>
        <p:cNvGrpSpPr/>
        <p:nvPr/>
      </p:nvGrpSpPr>
      <p:grpSpPr>
        <a:xfrm>
          <a:off x="0" y="0"/>
          <a:ext cx="0" cy="0"/>
          <a:chOff x="0" y="0"/>
          <a:chExt cx="0" cy="0"/>
        </a:xfrm>
      </p:grpSpPr>
      <p:sp>
        <p:nvSpPr>
          <p:cNvPr id="160" name="Google Shape;160;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 name="Google Shape;161;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 name="Google Shape;164;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 name="Google Shape;165;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 name="Google Shape;166;p55"/>
          <p:cNvGrpSpPr/>
          <p:nvPr/>
        </p:nvGrpSpPr>
        <p:grpSpPr>
          <a:xfrm>
            <a:off x="7191542" y="1"/>
            <a:ext cx="5000459" cy="1425992"/>
            <a:chOff x="7191542" y="1"/>
            <a:chExt cx="5000459" cy="1425992"/>
          </a:xfrm>
        </p:grpSpPr>
        <p:pic>
          <p:nvPicPr>
            <p:cNvPr id="167" name="Google Shape;167;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 name="Google Shape;168;p55"/>
            <p:cNvGrpSpPr/>
            <p:nvPr/>
          </p:nvGrpSpPr>
          <p:grpSpPr>
            <a:xfrm>
              <a:off x="7191542" y="1"/>
              <a:ext cx="5000459" cy="1425992"/>
              <a:chOff x="7186272" y="0"/>
              <a:chExt cx="5005729" cy="1427495"/>
            </a:xfrm>
          </p:grpSpPr>
          <p:sp>
            <p:nvSpPr>
              <p:cNvPr id="169" name="Google Shape;169;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0" name="Google Shape;170;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1" name="Google Shape;171;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72"/>
        <p:cNvGrpSpPr/>
        <p:nvPr/>
      </p:nvGrpSpPr>
      <p:grpSpPr>
        <a:xfrm>
          <a:off x="0" y="0"/>
          <a:ext cx="0" cy="0"/>
          <a:chOff x="0" y="0"/>
          <a:chExt cx="0" cy="0"/>
        </a:xfrm>
      </p:grpSpPr>
      <p:sp>
        <p:nvSpPr>
          <p:cNvPr id="173" name="Google Shape;173;p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 name="Google Shape;174;p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 name="Google Shape;179;p56"/>
          <p:cNvGrpSpPr/>
          <p:nvPr/>
        </p:nvGrpSpPr>
        <p:grpSpPr>
          <a:xfrm>
            <a:off x="7191542" y="1"/>
            <a:ext cx="5000459" cy="1425992"/>
            <a:chOff x="7191542" y="1"/>
            <a:chExt cx="5000459" cy="1425992"/>
          </a:xfrm>
        </p:grpSpPr>
        <p:pic>
          <p:nvPicPr>
            <p:cNvPr id="180" name="Google Shape;180;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 name="Google Shape;181;p56"/>
            <p:cNvGrpSpPr/>
            <p:nvPr/>
          </p:nvGrpSpPr>
          <p:grpSpPr>
            <a:xfrm>
              <a:off x="7191542" y="1"/>
              <a:ext cx="5000459" cy="1425992"/>
              <a:chOff x="7186272" y="0"/>
              <a:chExt cx="5005729" cy="1427495"/>
            </a:xfrm>
          </p:grpSpPr>
          <p:sp>
            <p:nvSpPr>
              <p:cNvPr id="182" name="Google Shape;182;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 name="Google Shape;183;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 name="Google Shape;184;p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5"/>
        <p:cNvGrpSpPr/>
        <p:nvPr/>
      </p:nvGrpSpPr>
      <p:grpSpPr>
        <a:xfrm>
          <a:off x="0" y="0"/>
          <a:ext cx="0" cy="0"/>
          <a:chOff x="0" y="0"/>
          <a:chExt cx="0" cy="0"/>
        </a:xfrm>
      </p:grpSpPr>
      <p:sp>
        <p:nvSpPr>
          <p:cNvPr id="186" name="Google Shape;186;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 name="Google Shape;187;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 name="Google Shape;188;p57"/>
          <p:cNvGrpSpPr/>
          <p:nvPr/>
        </p:nvGrpSpPr>
        <p:grpSpPr>
          <a:xfrm>
            <a:off x="7191542" y="1"/>
            <a:ext cx="5000459" cy="1425992"/>
            <a:chOff x="7191542" y="1"/>
            <a:chExt cx="5000459" cy="1425992"/>
          </a:xfrm>
        </p:grpSpPr>
        <p:pic>
          <p:nvPicPr>
            <p:cNvPr id="189" name="Google Shape;189;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
            <p:cNvGrpSpPr/>
            <p:nvPr/>
          </p:nvGrpSpPr>
          <p:grpSpPr>
            <a:xfrm>
              <a:off x="7191542" y="1"/>
              <a:ext cx="5000459" cy="1425992"/>
              <a:chOff x="7186272" y="0"/>
              <a:chExt cx="5005729" cy="1427495"/>
            </a:xfrm>
          </p:grpSpPr>
          <p:sp>
            <p:nvSpPr>
              <p:cNvPr id="191" name="Google Shape;191;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 name="Google Shape;192;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 name="Google Shape;193;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7"/>
        <p:cNvGrpSpPr/>
        <p:nvPr/>
      </p:nvGrpSpPr>
      <p:grpSpPr>
        <a:xfrm>
          <a:off x="0" y="0"/>
          <a:ext cx="0" cy="0"/>
          <a:chOff x="0" y="0"/>
          <a:chExt cx="0" cy="0"/>
        </a:xfrm>
      </p:grpSpPr>
      <p:grpSp>
        <p:nvGrpSpPr>
          <p:cNvPr id="198" name="Google Shape;198;p58"/>
          <p:cNvGrpSpPr/>
          <p:nvPr/>
        </p:nvGrpSpPr>
        <p:grpSpPr>
          <a:xfrm>
            <a:off x="7191542" y="1"/>
            <a:ext cx="5000459" cy="1425992"/>
            <a:chOff x="7191542" y="1"/>
            <a:chExt cx="5000459" cy="1425992"/>
          </a:xfrm>
        </p:grpSpPr>
        <p:pic>
          <p:nvPicPr>
            <p:cNvPr id="199" name="Google Shape;199;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58"/>
            <p:cNvGrpSpPr/>
            <p:nvPr/>
          </p:nvGrpSpPr>
          <p:grpSpPr>
            <a:xfrm>
              <a:off x="7191542" y="1"/>
              <a:ext cx="5000459" cy="1425992"/>
              <a:chOff x="7186272" y="0"/>
              <a:chExt cx="5005729" cy="1427495"/>
            </a:xfrm>
          </p:grpSpPr>
          <p:sp>
            <p:nvSpPr>
              <p:cNvPr id="201" name="Google Shape;201;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 name="Google Shape;202;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 name="Google Shape;203;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 name="Google Shape;205;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 name="Google Shape;206;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 name="Google Shape;207;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 name="Google Shape;21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11"/>
        <p:cNvGrpSpPr/>
        <p:nvPr/>
      </p:nvGrpSpPr>
      <p:grpSpPr>
        <a:xfrm>
          <a:off x="0" y="0"/>
          <a:ext cx="0" cy="0"/>
          <a:chOff x="0" y="0"/>
          <a:chExt cx="0" cy="0"/>
        </a:xfrm>
      </p:grpSpPr>
      <p:grpSp>
        <p:nvGrpSpPr>
          <p:cNvPr id="212" name="Google Shape;212;p59"/>
          <p:cNvGrpSpPr/>
          <p:nvPr/>
        </p:nvGrpSpPr>
        <p:grpSpPr>
          <a:xfrm>
            <a:off x="7191542" y="1"/>
            <a:ext cx="5000459" cy="1425992"/>
            <a:chOff x="7191542" y="1"/>
            <a:chExt cx="5000459" cy="1425992"/>
          </a:xfrm>
        </p:grpSpPr>
        <p:pic>
          <p:nvPicPr>
            <p:cNvPr id="213" name="Google Shape;21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 name="Google Shape;214;p59"/>
            <p:cNvGrpSpPr/>
            <p:nvPr/>
          </p:nvGrpSpPr>
          <p:grpSpPr>
            <a:xfrm>
              <a:off x="7191542" y="1"/>
              <a:ext cx="5000459" cy="1425992"/>
              <a:chOff x="7186272" y="0"/>
              <a:chExt cx="5005729" cy="1427495"/>
            </a:xfrm>
          </p:grpSpPr>
          <p:sp>
            <p:nvSpPr>
              <p:cNvPr id="215" name="Google Shape;21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 name="Google Shape;21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7" name="Google Shape;21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 name="Google Shape;218;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1"/>
        <p:cNvGrpSpPr/>
        <p:nvPr/>
      </p:nvGrpSpPr>
      <p:grpSpPr>
        <a:xfrm>
          <a:off x="0" y="0"/>
          <a:ext cx="0" cy="0"/>
          <a:chOff x="0" y="0"/>
          <a:chExt cx="0" cy="0"/>
        </a:xfrm>
      </p:grpSpPr>
      <p:grpSp>
        <p:nvGrpSpPr>
          <p:cNvPr id="222" name="Google Shape;222;p60"/>
          <p:cNvGrpSpPr/>
          <p:nvPr/>
        </p:nvGrpSpPr>
        <p:grpSpPr>
          <a:xfrm>
            <a:off x="0" y="0"/>
            <a:ext cx="12192000" cy="2148830"/>
            <a:chOff x="0" y="0"/>
            <a:chExt cx="12192000" cy="2148830"/>
          </a:xfrm>
        </p:grpSpPr>
        <p:sp>
          <p:nvSpPr>
            <p:cNvPr id="223" name="Google Shape;223;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 name="Google Shape;224;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5" name="Google Shape;225;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6" name="Google Shape;226;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8" name="Google Shape;228;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9" name="Google Shape;229;p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0"/>
        <p:cNvGrpSpPr/>
        <p:nvPr/>
      </p:nvGrpSpPr>
      <p:grpSpPr>
        <a:xfrm>
          <a:off x="0" y="0"/>
          <a:ext cx="0" cy="0"/>
          <a:chOff x="0" y="0"/>
          <a:chExt cx="0" cy="0"/>
        </a:xfrm>
      </p:grpSpPr>
      <p:sp>
        <p:nvSpPr>
          <p:cNvPr id="231" name="Google Shape;231;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4" name="Google Shape;234;p61"/>
          <p:cNvGrpSpPr/>
          <p:nvPr/>
        </p:nvGrpSpPr>
        <p:grpSpPr>
          <a:xfrm>
            <a:off x="7191542" y="1"/>
            <a:ext cx="5000459" cy="1425992"/>
            <a:chOff x="7191542" y="1"/>
            <a:chExt cx="5000459" cy="1425992"/>
          </a:xfrm>
        </p:grpSpPr>
        <p:pic>
          <p:nvPicPr>
            <p:cNvPr id="235" name="Google Shape;235;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6" name="Google Shape;236;p61"/>
            <p:cNvGrpSpPr/>
            <p:nvPr/>
          </p:nvGrpSpPr>
          <p:grpSpPr>
            <a:xfrm>
              <a:off x="7191542" y="1"/>
              <a:ext cx="5000459" cy="1425992"/>
              <a:chOff x="7186272" y="0"/>
              <a:chExt cx="5005729" cy="1427495"/>
            </a:xfrm>
          </p:grpSpPr>
          <p:sp>
            <p:nvSpPr>
              <p:cNvPr id="237" name="Google Shape;237;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8" name="Google Shape;238;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39"/>
        <p:cNvGrpSpPr/>
        <p:nvPr/>
      </p:nvGrpSpPr>
      <p:grpSpPr>
        <a:xfrm>
          <a:off x="0" y="0"/>
          <a:ext cx="0" cy="0"/>
          <a:chOff x="0" y="0"/>
          <a:chExt cx="0" cy="0"/>
        </a:xfrm>
      </p:grpSpPr>
      <p:sp>
        <p:nvSpPr>
          <p:cNvPr id="240" name="Google Shape;240;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3" name="Google Shape;243;p62"/>
          <p:cNvSpPr>
            <a:spLocks noGrp="1"/>
          </p:cNvSpPr>
          <p:nvPr>
            <p:ph type="pic" idx="2"/>
          </p:nvPr>
        </p:nvSpPr>
        <p:spPr>
          <a:xfrm>
            <a:off x="7118684" y="233915"/>
            <a:ext cx="5073316" cy="5943600"/>
          </a:xfrm>
          <a:prstGeom prst="rect">
            <a:avLst/>
          </a:prstGeom>
          <a:noFill/>
          <a:ln>
            <a:noFill/>
          </a:ln>
        </p:spPr>
      </p:sp>
      <p:grpSp>
        <p:nvGrpSpPr>
          <p:cNvPr id="244" name="Google Shape;244;p62"/>
          <p:cNvGrpSpPr/>
          <p:nvPr/>
        </p:nvGrpSpPr>
        <p:grpSpPr>
          <a:xfrm>
            <a:off x="0" y="5020348"/>
            <a:ext cx="12192000" cy="1837653"/>
            <a:chOff x="0" y="5020348"/>
            <a:chExt cx="12192000" cy="1837653"/>
          </a:xfrm>
        </p:grpSpPr>
        <p:sp>
          <p:nvSpPr>
            <p:cNvPr id="245" name="Google Shape;245;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 name="Google Shape;246;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7" name="Google Shape;247;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248"/>
        <p:cNvGrpSpPr/>
        <p:nvPr/>
      </p:nvGrpSpPr>
      <p:grpSpPr>
        <a:xfrm>
          <a:off x="0" y="0"/>
          <a:ext cx="0" cy="0"/>
          <a:chOff x="0" y="0"/>
          <a:chExt cx="0" cy="0"/>
        </a:xfrm>
      </p:grpSpPr>
      <p:grpSp>
        <p:nvGrpSpPr>
          <p:cNvPr id="249" name="Google Shape;249;p63"/>
          <p:cNvGrpSpPr/>
          <p:nvPr/>
        </p:nvGrpSpPr>
        <p:grpSpPr>
          <a:xfrm>
            <a:off x="0" y="5020347"/>
            <a:ext cx="12192000" cy="1837653"/>
            <a:chOff x="0" y="5020347"/>
            <a:chExt cx="12192000" cy="1837653"/>
          </a:xfrm>
        </p:grpSpPr>
        <p:sp>
          <p:nvSpPr>
            <p:cNvPr id="250" name="Google Shape;250;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 name="Google Shape;251;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 name="Google Shape;252;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 name="Google Shape;253;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4" name="Google Shape;254;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 name="Google Shape;255;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256"/>
        <p:cNvGrpSpPr/>
        <p:nvPr/>
      </p:nvGrpSpPr>
      <p:grpSpPr>
        <a:xfrm>
          <a:off x="0" y="0"/>
          <a:ext cx="0" cy="0"/>
          <a:chOff x="0" y="0"/>
          <a:chExt cx="0" cy="0"/>
        </a:xfrm>
      </p:grpSpPr>
      <p:sp>
        <p:nvSpPr>
          <p:cNvPr id="257" name="Google Shape;257;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 name="Google Shape;259;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3" name="Google Shape;263;p64"/>
          <p:cNvGrpSpPr/>
          <p:nvPr/>
        </p:nvGrpSpPr>
        <p:grpSpPr>
          <a:xfrm>
            <a:off x="7191542" y="1"/>
            <a:ext cx="5000459" cy="1425992"/>
            <a:chOff x="7191542" y="1"/>
            <a:chExt cx="5000459" cy="1425992"/>
          </a:xfrm>
        </p:grpSpPr>
        <p:pic>
          <p:nvPicPr>
            <p:cNvPr id="264" name="Google Shape;264;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 name="Google Shape;265;p64"/>
            <p:cNvGrpSpPr/>
            <p:nvPr/>
          </p:nvGrpSpPr>
          <p:grpSpPr>
            <a:xfrm>
              <a:off x="7191542" y="1"/>
              <a:ext cx="5000459" cy="1425992"/>
              <a:chOff x="7186272" y="0"/>
              <a:chExt cx="5005729" cy="1427495"/>
            </a:xfrm>
          </p:grpSpPr>
          <p:sp>
            <p:nvSpPr>
              <p:cNvPr id="266" name="Google Shape;266;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 name="Google Shape;267;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8" name="Google Shape;268;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269"/>
        <p:cNvGrpSpPr/>
        <p:nvPr/>
      </p:nvGrpSpPr>
      <p:grpSpPr>
        <a:xfrm>
          <a:off x="0" y="0"/>
          <a:ext cx="0" cy="0"/>
          <a:chOff x="0" y="0"/>
          <a:chExt cx="0" cy="0"/>
        </a:xfrm>
      </p:grpSpPr>
      <p:grpSp>
        <p:nvGrpSpPr>
          <p:cNvPr id="270" name="Google Shape;270;p65"/>
          <p:cNvGrpSpPr/>
          <p:nvPr/>
        </p:nvGrpSpPr>
        <p:grpSpPr>
          <a:xfrm>
            <a:off x="7191542" y="1"/>
            <a:ext cx="5000459" cy="1425992"/>
            <a:chOff x="7191542" y="1"/>
            <a:chExt cx="5000459" cy="1425992"/>
          </a:xfrm>
        </p:grpSpPr>
        <p:pic>
          <p:nvPicPr>
            <p:cNvPr id="271" name="Google Shape;271;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 name="Google Shape;272;p65"/>
            <p:cNvGrpSpPr/>
            <p:nvPr/>
          </p:nvGrpSpPr>
          <p:grpSpPr>
            <a:xfrm>
              <a:off x="7191542" y="1"/>
              <a:ext cx="5000459" cy="1425992"/>
              <a:chOff x="7186272" y="0"/>
              <a:chExt cx="5005729" cy="1427495"/>
            </a:xfrm>
          </p:grpSpPr>
          <p:sp>
            <p:nvSpPr>
              <p:cNvPr id="273" name="Google Shape;273;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 name="Google Shape;274;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 name="Google Shape;275;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 name="Google Shape;277;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8" name="Google Shape;278;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 name="Google Shape;279;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80"/>
        <p:cNvGrpSpPr/>
        <p:nvPr/>
      </p:nvGrpSpPr>
      <p:grpSpPr>
        <a:xfrm>
          <a:off x="0" y="0"/>
          <a:ext cx="0" cy="0"/>
          <a:chOff x="0" y="0"/>
          <a:chExt cx="0" cy="0"/>
        </a:xfrm>
      </p:grpSpPr>
      <p:sp>
        <p:nvSpPr>
          <p:cNvPr id="281" name="Google Shape;281;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3" name="Google Shape;283;p66"/>
          <p:cNvGrpSpPr/>
          <p:nvPr/>
        </p:nvGrpSpPr>
        <p:grpSpPr>
          <a:xfrm>
            <a:off x="7191542" y="1"/>
            <a:ext cx="5000459" cy="1425992"/>
            <a:chOff x="7191542" y="1"/>
            <a:chExt cx="5000459" cy="1425992"/>
          </a:xfrm>
        </p:grpSpPr>
        <p:pic>
          <p:nvPicPr>
            <p:cNvPr id="284" name="Google Shape;284;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66"/>
            <p:cNvGrpSpPr/>
            <p:nvPr/>
          </p:nvGrpSpPr>
          <p:grpSpPr>
            <a:xfrm>
              <a:off x="7191542" y="1"/>
              <a:ext cx="5000459" cy="1425992"/>
              <a:chOff x="7186272" y="0"/>
              <a:chExt cx="5005729" cy="1427495"/>
            </a:xfrm>
          </p:grpSpPr>
          <p:sp>
            <p:nvSpPr>
              <p:cNvPr id="286" name="Google Shape;286;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 name="Google Shape;287;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 name="Google Shape;288;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92"/>
        <p:cNvGrpSpPr/>
        <p:nvPr/>
      </p:nvGrpSpPr>
      <p:grpSpPr>
        <a:xfrm>
          <a:off x="0" y="0"/>
          <a:ext cx="0" cy="0"/>
          <a:chOff x="0" y="0"/>
          <a:chExt cx="0" cy="0"/>
        </a:xfrm>
      </p:grpSpPr>
      <p:grpSp>
        <p:nvGrpSpPr>
          <p:cNvPr id="293" name="Google Shape;293;p67"/>
          <p:cNvGrpSpPr/>
          <p:nvPr/>
        </p:nvGrpSpPr>
        <p:grpSpPr>
          <a:xfrm>
            <a:off x="7191542" y="1"/>
            <a:ext cx="5000459" cy="1425992"/>
            <a:chOff x="7191542" y="1"/>
            <a:chExt cx="5000459" cy="1425992"/>
          </a:xfrm>
        </p:grpSpPr>
        <p:pic>
          <p:nvPicPr>
            <p:cNvPr id="294" name="Google Shape;294;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67"/>
            <p:cNvGrpSpPr/>
            <p:nvPr/>
          </p:nvGrpSpPr>
          <p:grpSpPr>
            <a:xfrm>
              <a:off x="7191542" y="1"/>
              <a:ext cx="5000459" cy="1425992"/>
              <a:chOff x="7186272" y="0"/>
              <a:chExt cx="5005729" cy="1427495"/>
            </a:xfrm>
          </p:grpSpPr>
          <p:sp>
            <p:nvSpPr>
              <p:cNvPr id="296" name="Google Shape;296;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 name="Google Shape;297;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 name="Google Shape;298;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0" name="Google Shape;300;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2" name="Google Shape;302;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 name="Google Shape;303;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 name="Google Shape;304;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 name="Google Shape;305;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6"/>
        <p:cNvGrpSpPr/>
        <p:nvPr/>
      </p:nvGrpSpPr>
      <p:grpSpPr>
        <a:xfrm>
          <a:off x="0" y="0"/>
          <a:ext cx="0" cy="0"/>
          <a:chOff x="0" y="0"/>
          <a:chExt cx="0" cy="0"/>
        </a:xfrm>
      </p:grpSpPr>
      <p:sp>
        <p:nvSpPr>
          <p:cNvPr id="307" name="Google Shape;307;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8" name="Google Shape;308;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9" name="Google Shape;309;p68"/>
          <p:cNvGrpSpPr/>
          <p:nvPr/>
        </p:nvGrpSpPr>
        <p:grpSpPr>
          <a:xfrm>
            <a:off x="0" y="5379426"/>
            <a:ext cx="2807368" cy="753891"/>
            <a:chOff x="0" y="5379426"/>
            <a:chExt cx="2807368" cy="753891"/>
          </a:xfrm>
        </p:grpSpPr>
        <p:sp>
          <p:nvSpPr>
            <p:cNvPr id="310" name="Google Shape;310;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1" name="Google Shape;311;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2" name="Google Shape;312;p68"/>
          <p:cNvSpPr>
            <a:spLocks noGrp="1"/>
          </p:cNvSpPr>
          <p:nvPr>
            <p:ph type="pic" idx="2"/>
          </p:nvPr>
        </p:nvSpPr>
        <p:spPr>
          <a:xfrm>
            <a:off x="2807368" y="457202"/>
            <a:ext cx="8915400" cy="5943598"/>
          </a:xfrm>
          <a:prstGeom prst="rect">
            <a:avLst/>
          </a:prstGeom>
          <a:noFill/>
          <a:ln>
            <a:noFill/>
          </a:ln>
        </p:spPr>
      </p:sp>
      <p:pic>
        <p:nvPicPr>
          <p:cNvPr id="313" name="Google Shape;313;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14"/>
        <p:cNvGrpSpPr/>
        <p:nvPr/>
      </p:nvGrpSpPr>
      <p:grpSpPr>
        <a:xfrm>
          <a:off x="0" y="0"/>
          <a:ext cx="0" cy="0"/>
          <a:chOff x="0" y="0"/>
          <a:chExt cx="0" cy="0"/>
        </a:xfrm>
      </p:grpSpPr>
      <p:grpSp>
        <p:nvGrpSpPr>
          <p:cNvPr id="315" name="Google Shape;315;p69"/>
          <p:cNvGrpSpPr/>
          <p:nvPr/>
        </p:nvGrpSpPr>
        <p:grpSpPr>
          <a:xfrm>
            <a:off x="0" y="0"/>
            <a:ext cx="12192000" cy="2148830"/>
            <a:chOff x="0" y="0"/>
            <a:chExt cx="12192000" cy="2148830"/>
          </a:xfrm>
        </p:grpSpPr>
        <p:sp>
          <p:nvSpPr>
            <p:cNvPr id="316" name="Google Shape;316;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8" name="Google Shape;318;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9" name="Google Shape;319;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 name="Google Shape;320;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1" name="Google Shape;321;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2" name="Google Shape;322;p6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23"/>
        <p:cNvGrpSpPr/>
        <p:nvPr/>
      </p:nvGrpSpPr>
      <p:grpSpPr>
        <a:xfrm>
          <a:off x="0" y="0"/>
          <a:ext cx="0" cy="0"/>
          <a:chOff x="0" y="0"/>
          <a:chExt cx="0" cy="0"/>
        </a:xfrm>
      </p:grpSpPr>
      <p:sp>
        <p:nvSpPr>
          <p:cNvPr id="324" name="Google Shape;324;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 name="Google Shape;327;p70"/>
          <p:cNvGrpSpPr/>
          <p:nvPr/>
        </p:nvGrpSpPr>
        <p:grpSpPr>
          <a:xfrm>
            <a:off x="7191542" y="1"/>
            <a:ext cx="5000459" cy="1425992"/>
            <a:chOff x="7191542" y="1"/>
            <a:chExt cx="5000459" cy="1425992"/>
          </a:xfrm>
        </p:grpSpPr>
        <p:pic>
          <p:nvPicPr>
            <p:cNvPr id="328" name="Google Shape;328;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70"/>
            <p:cNvGrpSpPr/>
            <p:nvPr/>
          </p:nvGrpSpPr>
          <p:grpSpPr>
            <a:xfrm>
              <a:off x="7191542" y="1"/>
              <a:ext cx="5000459" cy="1425992"/>
              <a:chOff x="7186272" y="0"/>
              <a:chExt cx="5005729" cy="1427495"/>
            </a:xfrm>
          </p:grpSpPr>
          <p:sp>
            <p:nvSpPr>
              <p:cNvPr id="330" name="Google Shape;330;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2"/>
        <p:cNvGrpSpPr/>
        <p:nvPr/>
      </p:nvGrpSpPr>
      <p:grpSpPr>
        <a:xfrm>
          <a:off x="0" y="0"/>
          <a:ext cx="0" cy="0"/>
          <a:chOff x="0" y="0"/>
          <a:chExt cx="0" cy="0"/>
        </a:xfrm>
      </p:grpSpPr>
      <p:grpSp>
        <p:nvGrpSpPr>
          <p:cNvPr id="333" name="Google Shape;333;p71"/>
          <p:cNvGrpSpPr/>
          <p:nvPr/>
        </p:nvGrpSpPr>
        <p:grpSpPr>
          <a:xfrm>
            <a:off x="7191542" y="1"/>
            <a:ext cx="5000459" cy="1425992"/>
            <a:chOff x="7191542" y="1"/>
            <a:chExt cx="5000459" cy="1425992"/>
          </a:xfrm>
        </p:grpSpPr>
        <p:pic>
          <p:nvPicPr>
            <p:cNvPr id="334" name="Google Shape;334;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 name="Google Shape;335;p71"/>
            <p:cNvGrpSpPr/>
            <p:nvPr/>
          </p:nvGrpSpPr>
          <p:grpSpPr>
            <a:xfrm>
              <a:off x="7191542" y="1"/>
              <a:ext cx="5000459" cy="1425992"/>
              <a:chOff x="7186272" y="0"/>
              <a:chExt cx="5005729" cy="1427495"/>
            </a:xfrm>
          </p:grpSpPr>
          <p:sp>
            <p:nvSpPr>
              <p:cNvPr id="336" name="Google Shape;336;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8" name="Google Shape;338;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 name="Google Shape;340;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 name="Google Shape;341;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2"/>
        <p:cNvGrpSpPr/>
        <p:nvPr/>
      </p:nvGrpSpPr>
      <p:grpSpPr>
        <a:xfrm>
          <a:off x="0" y="0"/>
          <a:ext cx="0" cy="0"/>
          <a:chOff x="0" y="0"/>
          <a:chExt cx="0" cy="0"/>
        </a:xfrm>
      </p:grpSpPr>
      <p:sp>
        <p:nvSpPr>
          <p:cNvPr id="343" name="Google Shape;343;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4" name="Google Shape;344;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 name="Google Shape;345;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6" name="Google Shape;346;p72"/>
          <p:cNvSpPr>
            <a:spLocks noGrp="1"/>
          </p:cNvSpPr>
          <p:nvPr>
            <p:ph type="pic" idx="2"/>
          </p:nvPr>
        </p:nvSpPr>
        <p:spPr>
          <a:xfrm>
            <a:off x="7118684" y="233915"/>
            <a:ext cx="5073316" cy="5943600"/>
          </a:xfrm>
          <a:prstGeom prst="rect">
            <a:avLst/>
          </a:prstGeom>
          <a:noFill/>
          <a:ln>
            <a:noFill/>
          </a:ln>
        </p:spPr>
      </p:sp>
      <p:grpSp>
        <p:nvGrpSpPr>
          <p:cNvPr id="347" name="Google Shape;347;p72"/>
          <p:cNvGrpSpPr/>
          <p:nvPr/>
        </p:nvGrpSpPr>
        <p:grpSpPr>
          <a:xfrm>
            <a:off x="0" y="5020348"/>
            <a:ext cx="12192000" cy="1837653"/>
            <a:chOff x="0" y="5020348"/>
            <a:chExt cx="12192000" cy="1837653"/>
          </a:xfrm>
        </p:grpSpPr>
        <p:sp>
          <p:nvSpPr>
            <p:cNvPr id="348" name="Google Shape;348;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 name="Google Shape;349;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0" name="Google Shape;350;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51"/>
        <p:cNvGrpSpPr/>
        <p:nvPr/>
      </p:nvGrpSpPr>
      <p:grpSpPr>
        <a:xfrm>
          <a:off x="0" y="0"/>
          <a:ext cx="0" cy="0"/>
          <a:chOff x="0" y="0"/>
          <a:chExt cx="0" cy="0"/>
        </a:xfrm>
      </p:grpSpPr>
      <p:grpSp>
        <p:nvGrpSpPr>
          <p:cNvPr id="352" name="Google Shape;352;p73"/>
          <p:cNvGrpSpPr/>
          <p:nvPr/>
        </p:nvGrpSpPr>
        <p:grpSpPr>
          <a:xfrm>
            <a:off x="0" y="5020347"/>
            <a:ext cx="12192000" cy="1837653"/>
            <a:chOff x="0" y="5020347"/>
            <a:chExt cx="12192000" cy="1837653"/>
          </a:xfrm>
        </p:grpSpPr>
        <p:sp>
          <p:nvSpPr>
            <p:cNvPr id="353" name="Google Shape;353;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4" name="Google Shape;354;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5" name="Google Shape;355;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6" name="Google Shape;356;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7" name="Google Shape;357;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359"/>
        <p:cNvGrpSpPr/>
        <p:nvPr/>
      </p:nvGrpSpPr>
      <p:grpSpPr>
        <a:xfrm>
          <a:off x="0" y="0"/>
          <a:ext cx="0" cy="0"/>
          <a:chOff x="0" y="0"/>
          <a:chExt cx="0" cy="0"/>
        </a:xfrm>
      </p:grpSpPr>
      <p:sp>
        <p:nvSpPr>
          <p:cNvPr id="360" name="Google Shape;360;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 name="Google Shape;361;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 name="Google Shape;364;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 name="Google Shape;365;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6" name="Google Shape;366;p74"/>
          <p:cNvGrpSpPr/>
          <p:nvPr/>
        </p:nvGrpSpPr>
        <p:grpSpPr>
          <a:xfrm>
            <a:off x="7191542" y="1"/>
            <a:ext cx="5000459" cy="1425992"/>
            <a:chOff x="7191542" y="1"/>
            <a:chExt cx="5000459" cy="1425992"/>
          </a:xfrm>
        </p:grpSpPr>
        <p:pic>
          <p:nvPicPr>
            <p:cNvPr id="367" name="Google Shape;367;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 name="Google Shape;368;p74"/>
            <p:cNvGrpSpPr/>
            <p:nvPr/>
          </p:nvGrpSpPr>
          <p:grpSpPr>
            <a:xfrm>
              <a:off x="7191542" y="1"/>
              <a:ext cx="5000459" cy="1425992"/>
              <a:chOff x="7186272" y="0"/>
              <a:chExt cx="5005729" cy="1427495"/>
            </a:xfrm>
          </p:grpSpPr>
          <p:sp>
            <p:nvSpPr>
              <p:cNvPr id="369" name="Google Shape;369;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0" name="Google Shape;370;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1" name="Google Shape;371;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72"/>
        <p:cNvGrpSpPr/>
        <p:nvPr/>
      </p:nvGrpSpPr>
      <p:grpSpPr>
        <a:xfrm>
          <a:off x="0" y="0"/>
          <a:ext cx="0" cy="0"/>
          <a:chOff x="0" y="0"/>
          <a:chExt cx="0" cy="0"/>
        </a:xfrm>
      </p:grpSpPr>
      <p:sp>
        <p:nvSpPr>
          <p:cNvPr id="373" name="Google Shape;373;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7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75" name="Google Shape;375;p75"/>
          <p:cNvGrpSpPr/>
          <p:nvPr/>
        </p:nvGrpSpPr>
        <p:grpSpPr>
          <a:xfrm>
            <a:off x="7191542" y="1"/>
            <a:ext cx="5000459" cy="1425992"/>
            <a:chOff x="7191542" y="1"/>
            <a:chExt cx="5000459" cy="1425992"/>
          </a:xfrm>
        </p:grpSpPr>
        <p:pic>
          <p:nvPicPr>
            <p:cNvPr id="376" name="Google Shape;376;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 name="Google Shape;377;p75"/>
            <p:cNvGrpSpPr/>
            <p:nvPr/>
          </p:nvGrpSpPr>
          <p:grpSpPr>
            <a:xfrm>
              <a:off x="7191542" y="1"/>
              <a:ext cx="5000459" cy="1425992"/>
              <a:chOff x="7186272" y="0"/>
              <a:chExt cx="5005729" cy="1427495"/>
            </a:xfrm>
          </p:grpSpPr>
          <p:sp>
            <p:nvSpPr>
              <p:cNvPr id="378" name="Google Shape;378;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9" name="Google Shape;379;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0" name="Google Shape;380;p7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7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 name="Google Shape;382;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 name="Google Shape;383;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84"/>
        <p:cNvGrpSpPr/>
        <p:nvPr/>
      </p:nvGrpSpPr>
      <p:grpSpPr>
        <a:xfrm>
          <a:off x="0" y="0"/>
          <a:ext cx="0" cy="0"/>
          <a:chOff x="0" y="0"/>
          <a:chExt cx="0" cy="0"/>
        </a:xfrm>
      </p:grpSpPr>
      <p:grpSp>
        <p:nvGrpSpPr>
          <p:cNvPr id="385" name="Google Shape;385;p76"/>
          <p:cNvGrpSpPr/>
          <p:nvPr/>
        </p:nvGrpSpPr>
        <p:grpSpPr>
          <a:xfrm>
            <a:off x="7191542" y="1"/>
            <a:ext cx="5000459" cy="1425992"/>
            <a:chOff x="7191542" y="1"/>
            <a:chExt cx="5000459" cy="1425992"/>
          </a:xfrm>
        </p:grpSpPr>
        <p:pic>
          <p:nvPicPr>
            <p:cNvPr id="386" name="Google Shape;386;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 name="Google Shape;387;p76"/>
            <p:cNvGrpSpPr/>
            <p:nvPr/>
          </p:nvGrpSpPr>
          <p:grpSpPr>
            <a:xfrm>
              <a:off x="7191542" y="1"/>
              <a:ext cx="5000459" cy="1425992"/>
              <a:chOff x="7186272" y="0"/>
              <a:chExt cx="5005729" cy="1427495"/>
            </a:xfrm>
          </p:grpSpPr>
          <p:sp>
            <p:nvSpPr>
              <p:cNvPr id="388" name="Google Shape;388;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9" name="Google Shape;389;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0" name="Google Shape;390;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 name="Google Shape;391;p7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2" name="Google Shape;392;p7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4" name="Google Shape;394;p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5" name="Google Shape;395;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 name="Google Shape;396;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 name="Google Shape;397;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398"/>
        <p:cNvGrpSpPr/>
        <p:nvPr/>
      </p:nvGrpSpPr>
      <p:grpSpPr>
        <a:xfrm>
          <a:off x="0" y="0"/>
          <a:ext cx="0" cy="0"/>
          <a:chOff x="0" y="0"/>
          <a:chExt cx="0" cy="0"/>
        </a:xfrm>
      </p:grpSpPr>
      <p:sp>
        <p:nvSpPr>
          <p:cNvPr id="399" name="Google Shape;399;p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0" name="Google Shape;400;p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1" name="Google Shape;401;p77"/>
          <p:cNvGrpSpPr/>
          <p:nvPr/>
        </p:nvGrpSpPr>
        <p:grpSpPr>
          <a:xfrm>
            <a:off x="0" y="5379426"/>
            <a:ext cx="2807368" cy="753891"/>
            <a:chOff x="0" y="5379426"/>
            <a:chExt cx="2807368" cy="753891"/>
          </a:xfrm>
        </p:grpSpPr>
        <p:sp>
          <p:nvSpPr>
            <p:cNvPr id="402" name="Google Shape;402;p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 name="Google Shape;403;p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4" name="Google Shape;404;p77"/>
          <p:cNvSpPr>
            <a:spLocks noGrp="1"/>
          </p:cNvSpPr>
          <p:nvPr>
            <p:ph type="pic" idx="2"/>
          </p:nvPr>
        </p:nvSpPr>
        <p:spPr>
          <a:xfrm>
            <a:off x="2807368" y="457202"/>
            <a:ext cx="8915400" cy="5943598"/>
          </a:xfrm>
          <a:prstGeom prst="rect">
            <a:avLst/>
          </a:prstGeom>
          <a:noFill/>
          <a:ln>
            <a:noFill/>
          </a:ln>
        </p:spPr>
      </p:sp>
      <p:pic>
        <p:nvPicPr>
          <p:cNvPr id="405" name="Google Shape;405;p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06"/>
        <p:cNvGrpSpPr/>
        <p:nvPr/>
      </p:nvGrpSpPr>
      <p:grpSpPr>
        <a:xfrm>
          <a:off x="0" y="0"/>
          <a:ext cx="0" cy="0"/>
          <a:chOff x="0" y="0"/>
          <a:chExt cx="0" cy="0"/>
        </a:xfrm>
      </p:grpSpPr>
      <p:sp>
        <p:nvSpPr>
          <p:cNvPr id="407" name="Google Shape;407;p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8" name="Google Shape;408;p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 name="Google Shape;409;p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 name="Google Shape;410;p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1" name="Google Shape;411;p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 name="Google Shape;412;p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3" name="Google Shape;413;p78"/>
          <p:cNvGrpSpPr/>
          <p:nvPr/>
        </p:nvGrpSpPr>
        <p:grpSpPr>
          <a:xfrm>
            <a:off x="7191542" y="1"/>
            <a:ext cx="5000459" cy="1425992"/>
            <a:chOff x="7191542" y="1"/>
            <a:chExt cx="5000459" cy="1425992"/>
          </a:xfrm>
        </p:grpSpPr>
        <p:pic>
          <p:nvPicPr>
            <p:cNvPr id="414" name="Google Shape;414;p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 name="Google Shape;415;p78"/>
            <p:cNvGrpSpPr/>
            <p:nvPr/>
          </p:nvGrpSpPr>
          <p:grpSpPr>
            <a:xfrm>
              <a:off x="7191542" y="1"/>
              <a:ext cx="5000459" cy="1425992"/>
              <a:chOff x="7186272" y="0"/>
              <a:chExt cx="5005729" cy="1427495"/>
            </a:xfrm>
          </p:grpSpPr>
          <p:sp>
            <p:nvSpPr>
              <p:cNvPr id="416" name="Google Shape;416;p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7" name="Google Shape;417;p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18" name="Google Shape;418;p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19"/>
        <p:cNvGrpSpPr/>
        <p:nvPr/>
      </p:nvGrpSpPr>
      <p:grpSpPr>
        <a:xfrm>
          <a:off x="0" y="0"/>
          <a:ext cx="0" cy="0"/>
          <a:chOff x="0" y="0"/>
          <a:chExt cx="0" cy="0"/>
        </a:xfrm>
      </p:grpSpPr>
      <p:grpSp>
        <p:nvGrpSpPr>
          <p:cNvPr id="420" name="Google Shape;420;p79"/>
          <p:cNvGrpSpPr/>
          <p:nvPr/>
        </p:nvGrpSpPr>
        <p:grpSpPr>
          <a:xfrm>
            <a:off x="0" y="0"/>
            <a:ext cx="12192000" cy="2148830"/>
            <a:chOff x="0" y="0"/>
            <a:chExt cx="12192000" cy="2148830"/>
          </a:xfrm>
        </p:grpSpPr>
        <p:sp>
          <p:nvSpPr>
            <p:cNvPr id="421" name="Google Shape;421;p7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2" name="Google Shape;422;p7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23" name="Google Shape;423;p7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4" name="Google Shape;424;p7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7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6" name="Google Shape;426;p7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7" name="Google Shape;427;p7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28"/>
        <p:cNvGrpSpPr/>
        <p:nvPr/>
      </p:nvGrpSpPr>
      <p:grpSpPr>
        <a:xfrm>
          <a:off x="0" y="0"/>
          <a:ext cx="0" cy="0"/>
          <a:chOff x="0" y="0"/>
          <a:chExt cx="0" cy="0"/>
        </a:xfrm>
      </p:grpSpPr>
      <p:sp>
        <p:nvSpPr>
          <p:cNvPr id="429" name="Google Shape;4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0" name="Google Shape;4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 name="Google Shape;4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2" name="Google Shape;432;p80"/>
          <p:cNvGrpSpPr/>
          <p:nvPr/>
        </p:nvGrpSpPr>
        <p:grpSpPr>
          <a:xfrm>
            <a:off x="7191542" y="1"/>
            <a:ext cx="5000459" cy="1425992"/>
            <a:chOff x="7191542" y="1"/>
            <a:chExt cx="5000459" cy="1425992"/>
          </a:xfrm>
        </p:grpSpPr>
        <p:pic>
          <p:nvPicPr>
            <p:cNvPr id="433" name="Google Shape;4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80"/>
            <p:cNvGrpSpPr/>
            <p:nvPr/>
          </p:nvGrpSpPr>
          <p:grpSpPr>
            <a:xfrm>
              <a:off x="7191542" y="1"/>
              <a:ext cx="5000459" cy="1425992"/>
              <a:chOff x="7186272" y="0"/>
              <a:chExt cx="5005729" cy="1427495"/>
            </a:xfrm>
          </p:grpSpPr>
          <p:sp>
            <p:nvSpPr>
              <p:cNvPr id="435" name="Google Shape;4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6" name="Google Shape;4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37"/>
        <p:cNvGrpSpPr/>
        <p:nvPr/>
      </p:nvGrpSpPr>
      <p:grpSpPr>
        <a:xfrm>
          <a:off x="0" y="0"/>
          <a:ext cx="0" cy="0"/>
          <a:chOff x="0" y="0"/>
          <a:chExt cx="0" cy="0"/>
        </a:xfrm>
      </p:grpSpPr>
      <p:grpSp>
        <p:nvGrpSpPr>
          <p:cNvPr id="438" name="Google Shape;438;p81"/>
          <p:cNvGrpSpPr/>
          <p:nvPr/>
        </p:nvGrpSpPr>
        <p:grpSpPr>
          <a:xfrm>
            <a:off x="7191542" y="1"/>
            <a:ext cx="5000459" cy="1425992"/>
            <a:chOff x="7191542" y="1"/>
            <a:chExt cx="5000459" cy="1425992"/>
          </a:xfrm>
        </p:grpSpPr>
        <p:pic>
          <p:nvPicPr>
            <p:cNvPr id="439" name="Google Shape;439;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81"/>
            <p:cNvGrpSpPr/>
            <p:nvPr/>
          </p:nvGrpSpPr>
          <p:grpSpPr>
            <a:xfrm>
              <a:off x="7191542" y="1"/>
              <a:ext cx="5000459" cy="1425992"/>
              <a:chOff x="7186272" y="0"/>
              <a:chExt cx="5005729" cy="1427495"/>
            </a:xfrm>
          </p:grpSpPr>
          <p:sp>
            <p:nvSpPr>
              <p:cNvPr id="441" name="Google Shape;441;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2" name="Google Shape;442;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3" name="Google Shape;443;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 name="Google Shape;444;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5" name="Google Shape;445;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6" name="Google Shape;446;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47"/>
        <p:cNvGrpSpPr/>
        <p:nvPr/>
      </p:nvGrpSpPr>
      <p:grpSpPr>
        <a:xfrm>
          <a:off x="0" y="0"/>
          <a:ext cx="0" cy="0"/>
          <a:chOff x="0" y="0"/>
          <a:chExt cx="0" cy="0"/>
        </a:xfrm>
      </p:grpSpPr>
      <p:sp>
        <p:nvSpPr>
          <p:cNvPr id="448" name="Google Shape;448;p8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9" name="Google Shape;449;p8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 name="Google Shape;450;p8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1" name="Google Shape;451;p82"/>
          <p:cNvSpPr>
            <a:spLocks noGrp="1"/>
          </p:cNvSpPr>
          <p:nvPr>
            <p:ph type="pic" idx="2"/>
          </p:nvPr>
        </p:nvSpPr>
        <p:spPr>
          <a:xfrm>
            <a:off x="7118684" y="233915"/>
            <a:ext cx="5073316" cy="5943600"/>
          </a:xfrm>
          <a:prstGeom prst="rect">
            <a:avLst/>
          </a:prstGeom>
          <a:noFill/>
          <a:ln>
            <a:noFill/>
          </a:ln>
        </p:spPr>
      </p:sp>
      <p:grpSp>
        <p:nvGrpSpPr>
          <p:cNvPr id="452" name="Google Shape;452;p82"/>
          <p:cNvGrpSpPr/>
          <p:nvPr/>
        </p:nvGrpSpPr>
        <p:grpSpPr>
          <a:xfrm>
            <a:off x="0" y="5020348"/>
            <a:ext cx="12192000" cy="1837653"/>
            <a:chOff x="0" y="5020348"/>
            <a:chExt cx="12192000" cy="1837653"/>
          </a:xfrm>
        </p:grpSpPr>
        <p:sp>
          <p:nvSpPr>
            <p:cNvPr id="453" name="Google Shape;453;p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4" name="Google Shape;454;p8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5" name="Google Shape;455;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56"/>
        <p:cNvGrpSpPr/>
        <p:nvPr/>
      </p:nvGrpSpPr>
      <p:grpSpPr>
        <a:xfrm>
          <a:off x="0" y="0"/>
          <a:ext cx="0" cy="0"/>
          <a:chOff x="0" y="0"/>
          <a:chExt cx="0" cy="0"/>
        </a:xfrm>
      </p:grpSpPr>
      <p:grpSp>
        <p:nvGrpSpPr>
          <p:cNvPr id="457" name="Google Shape;457;p83"/>
          <p:cNvGrpSpPr/>
          <p:nvPr/>
        </p:nvGrpSpPr>
        <p:grpSpPr>
          <a:xfrm>
            <a:off x="0" y="5020347"/>
            <a:ext cx="12192000" cy="1837653"/>
            <a:chOff x="0" y="5020347"/>
            <a:chExt cx="12192000" cy="1837653"/>
          </a:xfrm>
        </p:grpSpPr>
        <p:sp>
          <p:nvSpPr>
            <p:cNvPr id="458" name="Google Shape;458;p8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9" name="Google Shape;45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0" name="Google Shape;460;p8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1" name="Google Shape;461;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2" name="Google Shape;462;p8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8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64"/>
        <p:cNvGrpSpPr/>
        <p:nvPr/>
      </p:nvGrpSpPr>
      <p:grpSpPr>
        <a:xfrm>
          <a:off x="0" y="0"/>
          <a:ext cx="0" cy="0"/>
          <a:chOff x="0" y="0"/>
          <a:chExt cx="0" cy="0"/>
        </a:xfrm>
      </p:grpSpPr>
      <p:sp>
        <p:nvSpPr>
          <p:cNvPr id="465" name="Google Shape;465;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6" name="Google Shape;466;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7" name="Google Shape;467;p84"/>
          <p:cNvGrpSpPr/>
          <p:nvPr/>
        </p:nvGrpSpPr>
        <p:grpSpPr>
          <a:xfrm>
            <a:off x="0" y="5379426"/>
            <a:ext cx="2807368" cy="753891"/>
            <a:chOff x="0" y="5379426"/>
            <a:chExt cx="2807368" cy="753891"/>
          </a:xfrm>
        </p:grpSpPr>
        <p:sp>
          <p:nvSpPr>
            <p:cNvPr id="468" name="Google Shape;468;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9" name="Google Shape;469;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0" name="Google Shape;470;p84"/>
          <p:cNvSpPr>
            <a:spLocks noGrp="1"/>
          </p:cNvSpPr>
          <p:nvPr>
            <p:ph type="pic" idx="2"/>
          </p:nvPr>
        </p:nvSpPr>
        <p:spPr>
          <a:xfrm>
            <a:off x="2807368" y="457202"/>
            <a:ext cx="8915400" cy="5943598"/>
          </a:xfrm>
          <a:prstGeom prst="rect">
            <a:avLst/>
          </a:prstGeom>
          <a:noFill/>
          <a:ln>
            <a:noFill/>
          </a:ln>
        </p:spPr>
      </p:sp>
      <p:pic>
        <p:nvPicPr>
          <p:cNvPr id="471" name="Google Shape;471;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472"/>
        <p:cNvGrpSpPr/>
        <p:nvPr/>
      </p:nvGrpSpPr>
      <p:grpSpPr>
        <a:xfrm>
          <a:off x="0" y="0"/>
          <a:ext cx="0" cy="0"/>
          <a:chOff x="0" y="0"/>
          <a:chExt cx="0" cy="0"/>
        </a:xfrm>
      </p:grpSpPr>
      <p:sp>
        <p:nvSpPr>
          <p:cNvPr id="473" name="Google Shape;473;p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4" name="Google Shape;474;p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 name="Google Shape;475;p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7" name="Google Shape;477;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8" name="Google Shape;478;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 name="Google Shape;479;p85"/>
          <p:cNvGrpSpPr/>
          <p:nvPr/>
        </p:nvGrpSpPr>
        <p:grpSpPr>
          <a:xfrm>
            <a:off x="7191542" y="1"/>
            <a:ext cx="5000459" cy="1425992"/>
            <a:chOff x="7191542" y="1"/>
            <a:chExt cx="5000459" cy="1425992"/>
          </a:xfrm>
        </p:grpSpPr>
        <p:pic>
          <p:nvPicPr>
            <p:cNvPr id="480" name="Google Shape;48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1" name="Google Shape;481;p85"/>
            <p:cNvGrpSpPr/>
            <p:nvPr/>
          </p:nvGrpSpPr>
          <p:grpSpPr>
            <a:xfrm>
              <a:off x="7191542" y="1"/>
              <a:ext cx="5000459" cy="1425992"/>
              <a:chOff x="7186272" y="0"/>
              <a:chExt cx="5005729" cy="1427495"/>
            </a:xfrm>
          </p:grpSpPr>
          <p:sp>
            <p:nvSpPr>
              <p:cNvPr id="482" name="Google Shape;482;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3" name="Google Shape;483;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4" name="Google Shape;484;p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485"/>
        <p:cNvGrpSpPr/>
        <p:nvPr/>
      </p:nvGrpSpPr>
      <p:grpSpPr>
        <a:xfrm>
          <a:off x="0" y="0"/>
          <a:ext cx="0" cy="0"/>
          <a:chOff x="0" y="0"/>
          <a:chExt cx="0" cy="0"/>
        </a:xfrm>
      </p:grpSpPr>
      <p:sp>
        <p:nvSpPr>
          <p:cNvPr id="486" name="Google Shape;486;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7" name="Google Shape;487;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 name="Google Shape;488;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2" name="Google Shape;492;p86"/>
          <p:cNvGrpSpPr/>
          <p:nvPr/>
        </p:nvGrpSpPr>
        <p:grpSpPr>
          <a:xfrm>
            <a:off x="7191542" y="1"/>
            <a:ext cx="5000459" cy="1425992"/>
            <a:chOff x="7191542" y="1"/>
            <a:chExt cx="5000459" cy="1425992"/>
          </a:xfrm>
        </p:grpSpPr>
        <p:pic>
          <p:nvPicPr>
            <p:cNvPr id="493" name="Google Shape;493;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4" name="Google Shape;494;p86"/>
            <p:cNvGrpSpPr/>
            <p:nvPr/>
          </p:nvGrpSpPr>
          <p:grpSpPr>
            <a:xfrm>
              <a:off x="7191542" y="1"/>
              <a:ext cx="5000459" cy="1425992"/>
              <a:chOff x="7186272" y="0"/>
              <a:chExt cx="5005729" cy="1427495"/>
            </a:xfrm>
          </p:grpSpPr>
          <p:sp>
            <p:nvSpPr>
              <p:cNvPr id="495" name="Google Shape;495;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6" name="Google Shape;496;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7" name="Google Shape;497;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98"/>
        <p:cNvGrpSpPr/>
        <p:nvPr/>
      </p:nvGrpSpPr>
      <p:grpSpPr>
        <a:xfrm>
          <a:off x="0" y="0"/>
          <a:ext cx="0" cy="0"/>
          <a:chOff x="0" y="0"/>
          <a:chExt cx="0" cy="0"/>
        </a:xfrm>
      </p:grpSpPr>
      <p:sp>
        <p:nvSpPr>
          <p:cNvPr id="499" name="Google Shape;499;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 name="Google Shape;500;p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1" name="Google Shape;501;p87"/>
          <p:cNvGrpSpPr/>
          <p:nvPr/>
        </p:nvGrpSpPr>
        <p:grpSpPr>
          <a:xfrm>
            <a:off x="7191542" y="1"/>
            <a:ext cx="5000459" cy="1425992"/>
            <a:chOff x="7191542" y="1"/>
            <a:chExt cx="5000459" cy="1425992"/>
          </a:xfrm>
        </p:grpSpPr>
        <p:pic>
          <p:nvPicPr>
            <p:cNvPr id="502" name="Google Shape;50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3" name="Google Shape;503;p87"/>
            <p:cNvGrpSpPr/>
            <p:nvPr/>
          </p:nvGrpSpPr>
          <p:grpSpPr>
            <a:xfrm>
              <a:off x="7191542" y="1"/>
              <a:ext cx="5000459" cy="1425992"/>
              <a:chOff x="7186272" y="0"/>
              <a:chExt cx="5005729" cy="1427495"/>
            </a:xfrm>
          </p:grpSpPr>
          <p:sp>
            <p:nvSpPr>
              <p:cNvPr id="504" name="Google Shape;50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5" name="Google Shape;50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6" name="Google Shape;506;p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 name="Google Shape;507;p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10"/>
        <p:cNvGrpSpPr/>
        <p:nvPr/>
      </p:nvGrpSpPr>
      <p:grpSpPr>
        <a:xfrm>
          <a:off x="0" y="0"/>
          <a:ext cx="0" cy="0"/>
          <a:chOff x="0" y="0"/>
          <a:chExt cx="0" cy="0"/>
        </a:xfrm>
      </p:grpSpPr>
      <p:grpSp>
        <p:nvGrpSpPr>
          <p:cNvPr id="511" name="Google Shape;511;p88"/>
          <p:cNvGrpSpPr/>
          <p:nvPr/>
        </p:nvGrpSpPr>
        <p:grpSpPr>
          <a:xfrm>
            <a:off x="7191542" y="1"/>
            <a:ext cx="5000459" cy="1425992"/>
            <a:chOff x="7191542" y="1"/>
            <a:chExt cx="5000459" cy="1425992"/>
          </a:xfrm>
        </p:grpSpPr>
        <p:pic>
          <p:nvPicPr>
            <p:cNvPr id="512" name="Google Shape;512;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3" name="Google Shape;513;p88"/>
            <p:cNvGrpSpPr/>
            <p:nvPr/>
          </p:nvGrpSpPr>
          <p:grpSpPr>
            <a:xfrm>
              <a:off x="7191542" y="1"/>
              <a:ext cx="5000459" cy="1425992"/>
              <a:chOff x="7186272" y="0"/>
              <a:chExt cx="5005729" cy="1427495"/>
            </a:xfrm>
          </p:grpSpPr>
          <p:sp>
            <p:nvSpPr>
              <p:cNvPr id="514" name="Google Shape;514;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 name="Google Shape;515;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6" name="Google Shape;516;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8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8" name="Google Shape;518;p8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 name="Google Shape;519;p8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0" name="Google Shape;520;p8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 name="Google Shape;521;p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 name="Google Shape;52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 name="Google Shape;52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24"/>
        <p:cNvGrpSpPr/>
        <p:nvPr/>
      </p:nvGrpSpPr>
      <p:grpSpPr>
        <a:xfrm>
          <a:off x="0" y="0"/>
          <a:ext cx="0" cy="0"/>
          <a:chOff x="0" y="0"/>
          <a:chExt cx="0" cy="0"/>
        </a:xfrm>
      </p:grpSpPr>
      <p:grpSp>
        <p:nvGrpSpPr>
          <p:cNvPr id="525" name="Google Shape;525;p89"/>
          <p:cNvGrpSpPr/>
          <p:nvPr/>
        </p:nvGrpSpPr>
        <p:grpSpPr>
          <a:xfrm>
            <a:off x="7191542" y="1"/>
            <a:ext cx="5000459" cy="1425992"/>
            <a:chOff x="7191542" y="1"/>
            <a:chExt cx="5000459" cy="1425992"/>
          </a:xfrm>
        </p:grpSpPr>
        <p:pic>
          <p:nvPicPr>
            <p:cNvPr id="526" name="Google Shape;526;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7" name="Google Shape;527;p89"/>
            <p:cNvGrpSpPr/>
            <p:nvPr/>
          </p:nvGrpSpPr>
          <p:grpSpPr>
            <a:xfrm>
              <a:off x="7191542" y="1"/>
              <a:ext cx="5000459" cy="1425992"/>
              <a:chOff x="7186272" y="0"/>
              <a:chExt cx="5005729" cy="1427495"/>
            </a:xfrm>
          </p:grpSpPr>
          <p:sp>
            <p:nvSpPr>
              <p:cNvPr id="528" name="Google Shape;5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9" name="Google Shape;5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0" name="Google Shape;53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 name="Google Shape;531;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2" name="Google Shape;532;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 name="Google Shape;533;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34"/>
        <p:cNvGrpSpPr/>
        <p:nvPr/>
      </p:nvGrpSpPr>
      <p:grpSpPr>
        <a:xfrm>
          <a:off x="0" y="0"/>
          <a:ext cx="0" cy="0"/>
          <a:chOff x="0" y="0"/>
          <a:chExt cx="0" cy="0"/>
        </a:xfrm>
      </p:grpSpPr>
      <p:grpSp>
        <p:nvGrpSpPr>
          <p:cNvPr id="535" name="Google Shape;535;p90"/>
          <p:cNvGrpSpPr/>
          <p:nvPr/>
        </p:nvGrpSpPr>
        <p:grpSpPr>
          <a:xfrm>
            <a:off x="0" y="0"/>
            <a:ext cx="12192000" cy="2148830"/>
            <a:chOff x="0" y="0"/>
            <a:chExt cx="12192000" cy="2148830"/>
          </a:xfrm>
        </p:grpSpPr>
        <p:sp>
          <p:nvSpPr>
            <p:cNvPr id="536" name="Google Shape;536;p9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7" name="Google Shape;537;p9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38" name="Google Shape;538;p9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 name="Google Shape;539;p9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 name="Google Shape;540;p9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1" name="Google Shape;541;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42" name="Google Shape;542;p9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543"/>
        <p:cNvGrpSpPr/>
        <p:nvPr/>
      </p:nvGrpSpPr>
      <p:grpSpPr>
        <a:xfrm>
          <a:off x="0" y="0"/>
          <a:ext cx="0" cy="0"/>
          <a:chOff x="0" y="0"/>
          <a:chExt cx="0" cy="0"/>
        </a:xfrm>
      </p:grpSpPr>
      <p:sp>
        <p:nvSpPr>
          <p:cNvPr id="544" name="Google Shape;544;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5" name="Google Shape;545;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 name="Google Shape;546;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7" name="Google Shape;547;p91"/>
          <p:cNvGrpSpPr/>
          <p:nvPr/>
        </p:nvGrpSpPr>
        <p:grpSpPr>
          <a:xfrm>
            <a:off x="7191542" y="1"/>
            <a:ext cx="5000459" cy="1425992"/>
            <a:chOff x="7191542" y="1"/>
            <a:chExt cx="5000459" cy="1425992"/>
          </a:xfrm>
        </p:grpSpPr>
        <p:pic>
          <p:nvPicPr>
            <p:cNvPr id="548" name="Google Shape;548;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9" name="Google Shape;549;p91"/>
            <p:cNvGrpSpPr/>
            <p:nvPr/>
          </p:nvGrpSpPr>
          <p:grpSpPr>
            <a:xfrm>
              <a:off x="7191542" y="1"/>
              <a:ext cx="5000459" cy="1425992"/>
              <a:chOff x="7186272" y="0"/>
              <a:chExt cx="5005729" cy="1427495"/>
            </a:xfrm>
          </p:grpSpPr>
          <p:sp>
            <p:nvSpPr>
              <p:cNvPr id="550" name="Google Shape;550;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 name="Google Shape;551;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52"/>
        <p:cNvGrpSpPr/>
        <p:nvPr/>
      </p:nvGrpSpPr>
      <p:grpSpPr>
        <a:xfrm>
          <a:off x="0" y="0"/>
          <a:ext cx="0" cy="0"/>
          <a:chOff x="0" y="0"/>
          <a:chExt cx="0" cy="0"/>
        </a:xfrm>
      </p:grpSpPr>
      <p:sp>
        <p:nvSpPr>
          <p:cNvPr id="553" name="Google Shape;553;p9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4" name="Google Shape;554;p9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 name="Google Shape;555;p9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6" name="Google Shape;556;p92"/>
          <p:cNvSpPr>
            <a:spLocks noGrp="1"/>
          </p:cNvSpPr>
          <p:nvPr>
            <p:ph type="pic" idx="2"/>
          </p:nvPr>
        </p:nvSpPr>
        <p:spPr>
          <a:xfrm>
            <a:off x="7118684" y="233915"/>
            <a:ext cx="5073316" cy="5943600"/>
          </a:xfrm>
          <a:prstGeom prst="rect">
            <a:avLst/>
          </a:prstGeom>
          <a:noFill/>
          <a:ln>
            <a:noFill/>
          </a:ln>
        </p:spPr>
      </p:sp>
      <p:grpSp>
        <p:nvGrpSpPr>
          <p:cNvPr id="557" name="Google Shape;557;p92"/>
          <p:cNvGrpSpPr/>
          <p:nvPr/>
        </p:nvGrpSpPr>
        <p:grpSpPr>
          <a:xfrm>
            <a:off x="0" y="5020348"/>
            <a:ext cx="12192000" cy="1837653"/>
            <a:chOff x="0" y="5020348"/>
            <a:chExt cx="12192000" cy="1837653"/>
          </a:xfrm>
        </p:grpSpPr>
        <p:sp>
          <p:nvSpPr>
            <p:cNvPr id="558" name="Google Shape;558;p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 name="Google Shape;559;p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0" name="Google Shape;560;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61"/>
        <p:cNvGrpSpPr/>
        <p:nvPr/>
      </p:nvGrpSpPr>
      <p:grpSpPr>
        <a:xfrm>
          <a:off x="0" y="0"/>
          <a:ext cx="0" cy="0"/>
          <a:chOff x="0" y="0"/>
          <a:chExt cx="0" cy="0"/>
        </a:xfrm>
      </p:grpSpPr>
      <p:sp>
        <p:nvSpPr>
          <p:cNvPr id="562" name="Google Shape;562;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 name="Google Shape;563;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 name="Google Shape;565;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6" name="Google Shape;566;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 name="Google Shape;567;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 name="Google Shape;568;p93"/>
          <p:cNvGrpSpPr/>
          <p:nvPr/>
        </p:nvGrpSpPr>
        <p:grpSpPr>
          <a:xfrm>
            <a:off x="7191542" y="1"/>
            <a:ext cx="5000459" cy="1425992"/>
            <a:chOff x="7191542" y="1"/>
            <a:chExt cx="5000459" cy="1425992"/>
          </a:xfrm>
        </p:grpSpPr>
        <p:pic>
          <p:nvPicPr>
            <p:cNvPr id="569" name="Google Shape;56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70" name="Google Shape;570;p93"/>
            <p:cNvGrpSpPr/>
            <p:nvPr/>
          </p:nvGrpSpPr>
          <p:grpSpPr>
            <a:xfrm>
              <a:off x="7191542" y="1"/>
              <a:ext cx="5000459" cy="1425992"/>
              <a:chOff x="7186272" y="0"/>
              <a:chExt cx="5005729" cy="1427495"/>
            </a:xfrm>
          </p:grpSpPr>
          <p:sp>
            <p:nvSpPr>
              <p:cNvPr id="571" name="Google Shape;571;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 name="Google Shape;572;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3" name="Google Shape;573;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74"/>
        <p:cNvGrpSpPr/>
        <p:nvPr/>
      </p:nvGrpSpPr>
      <p:grpSpPr>
        <a:xfrm>
          <a:off x="0" y="0"/>
          <a:ext cx="0" cy="0"/>
          <a:chOff x="0" y="0"/>
          <a:chExt cx="0" cy="0"/>
        </a:xfrm>
      </p:grpSpPr>
      <p:grpSp>
        <p:nvGrpSpPr>
          <p:cNvPr id="575" name="Google Shape;575;p94"/>
          <p:cNvGrpSpPr/>
          <p:nvPr/>
        </p:nvGrpSpPr>
        <p:grpSpPr>
          <a:xfrm>
            <a:off x="0" y="5020347"/>
            <a:ext cx="12192000" cy="1837653"/>
            <a:chOff x="0" y="5020347"/>
            <a:chExt cx="12192000" cy="1837653"/>
          </a:xfrm>
        </p:grpSpPr>
        <p:sp>
          <p:nvSpPr>
            <p:cNvPr id="576" name="Google Shape;576;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 name="Google Shape;577;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9" name="Google Shape;579;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80" name="Google Shape;580;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 name="Google Shape;581;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82"/>
        <p:cNvGrpSpPr/>
        <p:nvPr/>
      </p:nvGrpSpPr>
      <p:grpSpPr>
        <a:xfrm>
          <a:off x="0" y="0"/>
          <a:ext cx="0" cy="0"/>
          <a:chOff x="0" y="0"/>
          <a:chExt cx="0" cy="0"/>
        </a:xfrm>
      </p:grpSpPr>
      <p:sp>
        <p:nvSpPr>
          <p:cNvPr id="583" name="Google Shape;583;p9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 name="Google Shape;584;p9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 name="Google Shape;585;p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6" name="Google Shape;586;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 name="Google Shape;587;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 name="Google Shape;588;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9" name="Google Shape;589;p95"/>
          <p:cNvGrpSpPr/>
          <p:nvPr/>
        </p:nvGrpSpPr>
        <p:grpSpPr>
          <a:xfrm>
            <a:off x="7191542" y="1"/>
            <a:ext cx="5000459" cy="1425992"/>
            <a:chOff x="7191542" y="1"/>
            <a:chExt cx="5000459" cy="1425992"/>
          </a:xfrm>
        </p:grpSpPr>
        <p:pic>
          <p:nvPicPr>
            <p:cNvPr id="590" name="Google Shape;590;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1" name="Google Shape;591;p95"/>
            <p:cNvGrpSpPr/>
            <p:nvPr/>
          </p:nvGrpSpPr>
          <p:grpSpPr>
            <a:xfrm>
              <a:off x="7191542" y="1"/>
              <a:ext cx="5000459" cy="1425992"/>
              <a:chOff x="7186272" y="0"/>
              <a:chExt cx="5005729" cy="1427495"/>
            </a:xfrm>
          </p:grpSpPr>
          <p:sp>
            <p:nvSpPr>
              <p:cNvPr id="592" name="Google Shape;592;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 name="Google Shape;593;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4" name="Google Shape;594;p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95"/>
        <p:cNvGrpSpPr/>
        <p:nvPr/>
      </p:nvGrpSpPr>
      <p:grpSpPr>
        <a:xfrm>
          <a:off x="0" y="0"/>
          <a:ext cx="0" cy="0"/>
          <a:chOff x="0" y="0"/>
          <a:chExt cx="0" cy="0"/>
        </a:xfrm>
      </p:grpSpPr>
      <p:sp>
        <p:nvSpPr>
          <p:cNvPr id="596" name="Google Shape;596;p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8" name="Google Shape;598;p96"/>
          <p:cNvGrpSpPr/>
          <p:nvPr/>
        </p:nvGrpSpPr>
        <p:grpSpPr>
          <a:xfrm>
            <a:off x="7191542" y="1"/>
            <a:ext cx="5000459" cy="1425992"/>
            <a:chOff x="7191542" y="1"/>
            <a:chExt cx="5000459" cy="1425992"/>
          </a:xfrm>
        </p:grpSpPr>
        <p:pic>
          <p:nvPicPr>
            <p:cNvPr id="599" name="Google Shape;59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0" name="Google Shape;600;p96"/>
            <p:cNvGrpSpPr/>
            <p:nvPr/>
          </p:nvGrpSpPr>
          <p:grpSpPr>
            <a:xfrm>
              <a:off x="7191542" y="1"/>
              <a:ext cx="5000459" cy="1425992"/>
              <a:chOff x="7186272" y="0"/>
              <a:chExt cx="5005729" cy="1427495"/>
            </a:xfrm>
          </p:grpSpPr>
          <p:sp>
            <p:nvSpPr>
              <p:cNvPr id="601" name="Google Shape;60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 name="Google Shape;60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3" name="Google Shape;603;p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07"/>
        <p:cNvGrpSpPr/>
        <p:nvPr/>
      </p:nvGrpSpPr>
      <p:grpSpPr>
        <a:xfrm>
          <a:off x="0" y="0"/>
          <a:ext cx="0" cy="0"/>
          <a:chOff x="0" y="0"/>
          <a:chExt cx="0" cy="0"/>
        </a:xfrm>
      </p:grpSpPr>
      <p:grpSp>
        <p:nvGrpSpPr>
          <p:cNvPr id="608" name="Google Shape;608;p97"/>
          <p:cNvGrpSpPr/>
          <p:nvPr/>
        </p:nvGrpSpPr>
        <p:grpSpPr>
          <a:xfrm>
            <a:off x="7191542" y="1"/>
            <a:ext cx="5000459" cy="1425992"/>
            <a:chOff x="7191542" y="1"/>
            <a:chExt cx="5000459" cy="1425992"/>
          </a:xfrm>
        </p:grpSpPr>
        <p:pic>
          <p:nvPicPr>
            <p:cNvPr id="609" name="Google Shape;609;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0" name="Google Shape;610;p97"/>
            <p:cNvGrpSpPr/>
            <p:nvPr/>
          </p:nvGrpSpPr>
          <p:grpSpPr>
            <a:xfrm>
              <a:off x="7191542" y="1"/>
              <a:ext cx="5000459" cy="1425992"/>
              <a:chOff x="7186272" y="0"/>
              <a:chExt cx="5005729" cy="1427495"/>
            </a:xfrm>
          </p:grpSpPr>
          <p:sp>
            <p:nvSpPr>
              <p:cNvPr id="611" name="Google Shape;611;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2" name="Google Shape;612;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3" name="Google Shape;613;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 name="Google Shape;614;p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5" name="Google Shape;615;p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6" name="Google Shape;616;p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7" name="Google Shape;617;p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 name="Google Shape;618;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9" name="Google Shape;619;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 name="Google Shape;620;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21"/>
        <p:cNvGrpSpPr/>
        <p:nvPr/>
      </p:nvGrpSpPr>
      <p:grpSpPr>
        <a:xfrm>
          <a:off x="0" y="0"/>
          <a:ext cx="0" cy="0"/>
          <a:chOff x="0" y="0"/>
          <a:chExt cx="0" cy="0"/>
        </a:xfrm>
      </p:grpSpPr>
      <p:sp>
        <p:nvSpPr>
          <p:cNvPr id="622" name="Google Shape;622;p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3" name="Google Shape;623;p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4" name="Google Shape;624;p98"/>
          <p:cNvGrpSpPr/>
          <p:nvPr/>
        </p:nvGrpSpPr>
        <p:grpSpPr>
          <a:xfrm>
            <a:off x="0" y="5379426"/>
            <a:ext cx="2807368" cy="753891"/>
            <a:chOff x="0" y="5379426"/>
            <a:chExt cx="2807368" cy="753891"/>
          </a:xfrm>
        </p:grpSpPr>
        <p:sp>
          <p:nvSpPr>
            <p:cNvPr id="625" name="Google Shape;625;p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6" name="Google Shape;626;p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7" name="Google Shape;627;p98"/>
          <p:cNvSpPr>
            <a:spLocks noGrp="1"/>
          </p:cNvSpPr>
          <p:nvPr>
            <p:ph type="pic" idx="2"/>
          </p:nvPr>
        </p:nvSpPr>
        <p:spPr>
          <a:xfrm>
            <a:off x="2807368" y="457202"/>
            <a:ext cx="8915400" cy="5943598"/>
          </a:xfrm>
          <a:prstGeom prst="rect">
            <a:avLst/>
          </a:prstGeom>
          <a:noFill/>
          <a:ln>
            <a:noFill/>
          </a:ln>
        </p:spPr>
      </p:sp>
      <p:pic>
        <p:nvPicPr>
          <p:cNvPr id="628" name="Google Shape;628;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29"/>
        <p:cNvGrpSpPr/>
        <p:nvPr/>
      </p:nvGrpSpPr>
      <p:grpSpPr>
        <a:xfrm>
          <a:off x="0" y="0"/>
          <a:ext cx="0" cy="0"/>
          <a:chOff x="0" y="0"/>
          <a:chExt cx="0" cy="0"/>
        </a:xfrm>
      </p:grpSpPr>
      <p:grpSp>
        <p:nvGrpSpPr>
          <p:cNvPr id="630" name="Google Shape;630;p99"/>
          <p:cNvGrpSpPr/>
          <p:nvPr/>
        </p:nvGrpSpPr>
        <p:grpSpPr>
          <a:xfrm>
            <a:off x="0" y="0"/>
            <a:ext cx="12192000" cy="2148830"/>
            <a:chOff x="0" y="0"/>
            <a:chExt cx="12192000" cy="2148830"/>
          </a:xfrm>
        </p:grpSpPr>
        <p:sp>
          <p:nvSpPr>
            <p:cNvPr id="631" name="Google Shape;631;p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33" name="Google Shape;633;p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 name="Google Shape;635;p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6" name="Google Shape;636;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37" name="Google Shape;637;p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38"/>
        <p:cNvGrpSpPr/>
        <p:nvPr/>
      </p:nvGrpSpPr>
      <p:grpSpPr>
        <a:xfrm>
          <a:off x="0" y="0"/>
          <a:ext cx="0" cy="0"/>
          <a:chOff x="0" y="0"/>
          <a:chExt cx="0" cy="0"/>
        </a:xfrm>
      </p:grpSpPr>
      <p:sp>
        <p:nvSpPr>
          <p:cNvPr id="639" name="Google Shape;639;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 name="Google Shape;640;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 name="Google Shape;641;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2" name="Google Shape;642;p100"/>
          <p:cNvGrpSpPr/>
          <p:nvPr/>
        </p:nvGrpSpPr>
        <p:grpSpPr>
          <a:xfrm>
            <a:off x="7191542" y="1"/>
            <a:ext cx="5000459" cy="1425992"/>
            <a:chOff x="7191542" y="1"/>
            <a:chExt cx="5000459" cy="1425992"/>
          </a:xfrm>
        </p:grpSpPr>
        <p:pic>
          <p:nvPicPr>
            <p:cNvPr id="643" name="Google Shape;643;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44" name="Google Shape;644;p100"/>
            <p:cNvGrpSpPr/>
            <p:nvPr/>
          </p:nvGrpSpPr>
          <p:grpSpPr>
            <a:xfrm>
              <a:off x="7191542" y="1"/>
              <a:ext cx="5000459" cy="1425992"/>
              <a:chOff x="7186272" y="0"/>
              <a:chExt cx="5005729" cy="1427495"/>
            </a:xfrm>
          </p:grpSpPr>
          <p:sp>
            <p:nvSpPr>
              <p:cNvPr id="645" name="Google Shape;64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 name="Google Shape;64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47"/>
        <p:cNvGrpSpPr/>
        <p:nvPr/>
      </p:nvGrpSpPr>
      <p:grpSpPr>
        <a:xfrm>
          <a:off x="0" y="0"/>
          <a:ext cx="0" cy="0"/>
          <a:chOff x="0" y="0"/>
          <a:chExt cx="0" cy="0"/>
        </a:xfrm>
      </p:grpSpPr>
      <p:grpSp>
        <p:nvGrpSpPr>
          <p:cNvPr id="648" name="Google Shape;648;p101"/>
          <p:cNvGrpSpPr/>
          <p:nvPr/>
        </p:nvGrpSpPr>
        <p:grpSpPr>
          <a:xfrm>
            <a:off x="7191542" y="1"/>
            <a:ext cx="5000459" cy="1425992"/>
            <a:chOff x="7191542" y="1"/>
            <a:chExt cx="5000459" cy="1425992"/>
          </a:xfrm>
        </p:grpSpPr>
        <p:pic>
          <p:nvPicPr>
            <p:cNvPr id="649" name="Google Shape;649;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101"/>
            <p:cNvGrpSpPr/>
            <p:nvPr/>
          </p:nvGrpSpPr>
          <p:grpSpPr>
            <a:xfrm>
              <a:off x="7191542" y="1"/>
              <a:ext cx="5000459" cy="1425992"/>
              <a:chOff x="7186272" y="0"/>
              <a:chExt cx="5005729" cy="1427495"/>
            </a:xfrm>
          </p:grpSpPr>
          <p:sp>
            <p:nvSpPr>
              <p:cNvPr id="651" name="Google Shape;65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 name="Google Shape;65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657"/>
        <p:cNvGrpSpPr/>
        <p:nvPr/>
      </p:nvGrpSpPr>
      <p:grpSpPr>
        <a:xfrm>
          <a:off x="0" y="0"/>
          <a:ext cx="0" cy="0"/>
          <a:chOff x="0" y="0"/>
          <a:chExt cx="0" cy="0"/>
        </a:xfrm>
      </p:grpSpPr>
      <p:grpSp>
        <p:nvGrpSpPr>
          <p:cNvPr id="658" name="Google Shape;658;p102"/>
          <p:cNvGrpSpPr/>
          <p:nvPr/>
        </p:nvGrpSpPr>
        <p:grpSpPr>
          <a:xfrm>
            <a:off x="0" y="0"/>
            <a:ext cx="12192000" cy="2148830"/>
            <a:chOff x="0" y="0"/>
            <a:chExt cx="12192000" cy="2148830"/>
          </a:xfrm>
        </p:grpSpPr>
        <p:sp>
          <p:nvSpPr>
            <p:cNvPr id="659" name="Google Shape;65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0" name="Google Shape;66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61" name="Google Shape;66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 name="Google Shape;66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 name="Google Shape;66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64" name="Google Shape;664;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5" name="Google Shape;66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66"/>
        <p:cNvGrpSpPr/>
        <p:nvPr/>
      </p:nvGrpSpPr>
      <p:grpSpPr>
        <a:xfrm>
          <a:off x="0" y="0"/>
          <a:ext cx="0" cy="0"/>
          <a:chOff x="0" y="0"/>
          <a:chExt cx="0" cy="0"/>
        </a:xfrm>
      </p:grpSpPr>
      <p:sp>
        <p:nvSpPr>
          <p:cNvPr id="667" name="Google Shape;66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 name="Google Shape;66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 name="Google Shape;66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0" name="Google Shape;670;p103"/>
          <p:cNvGrpSpPr/>
          <p:nvPr/>
        </p:nvGrpSpPr>
        <p:grpSpPr>
          <a:xfrm>
            <a:off x="7191542" y="1"/>
            <a:ext cx="5000459" cy="1425992"/>
            <a:chOff x="7191542" y="1"/>
            <a:chExt cx="5000459" cy="1425992"/>
          </a:xfrm>
        </p:grpSpPr>
        <p:pic>
          <p:nvPicPr>
            <p:cNvPr id="671" name="Google Shape;67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2" name="Google Shape;672;p103"/>
            <p:cNvGrpSpPr/>
            <p:nvPr/>
          </p:nvGrpSpPr>
          <p:grpSpPr>
            <a:xfrm>
              <a:off x="7191542" y="1"/>
              <a:ext cx="5000459" cy="1425992"/>
              <a:chOff x="7186272" y="0"/>
              <a:chExt cx="5005729" cy="1427495"/>
            </a:xfrm>
          </p:grpSpPr>
          <p:sp>
            <p:nvSpPr>
              <p:cNvPr id="673" name="Google Shape;67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4" name="Google Shape;67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75"/>
        <p:cNvGrpSpPr/>
        <p:nvPr/>
      </p:nvGrpSpPr>
      <p:grpSpPr>
        <a:xfrm>
          <a:off x="0" y="0"/>
          <a:ext cx="0" cy="0"/>
          <a:chOff x="0" y="0"/>
          <a:chExt cx="0" cy="0"/>
        </a:xfrm>
      </p:grpSpPr>
      <p:sp>
        <p:nvSpPr>
          <p:cNvPr id="676" name="Google Shape;67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 name="Google Shape;67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8" name="Google Shape;67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9" name="Google Shape;679;p104"/>
          <p:cNvSpPr>
            <a:spLocks noGrp="1"/>
          </p:cNvSpPr>
          <p:nvPr>
            <p:ph type="pic" idx="2"/>
          </p:nvPr>
        </p:nvSpPr>
        <p:spPr>
          <a:xfrm>
            <a:off x="7118684" y="233915"/>
            <a:ext cx="5073316" cy="5943600"/>
          </a:xfrm>
          <a:prstGeom prst="rect">
            <a:avLst/>
          </a:prstGeom>
          <a:noFill/>
          <a:ln>
            <a:noFill/>
          </a:ln>
        </p:spPr>
      </p:sp>
      <p:grpSp>
        <p:nvGrpSpPr>
          <p:cNvPr id="680" name="Google Shape;680;p104"/>
          <p:cNvGrpSpPr/>
          <p:nvPr/>
        </p:nvGrpSpPr>
        <p:grpSpPr>
          <a:xfrm>
            <a:off x="0" y="5020348"/>
            <a:ext cx="12192000" cy="1837653"/>
            <a:chOff x="0" y="5020348"/>
            <a:chExt cx="12192000" cy="1837653"/>
          </a:xfrm>
        </p:grpSpPr>
        <p:sp>
          <p:nvSpPr>
            <p:cNvPr id="681" name="Google Shape;68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 name="Google Shape;68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83" name="Google Shape;683;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4"/>
        <p:cNvGrpSpPr/>
        <p:nvPr/>
      </p:nvGrpSpPr>
      <p:grpSpPr>
        <a:xfrm>
          <a:off x="0" y="0"/>
          <a:ext cx="0" cy="0"/>
          <a:chOff x="0" y="0"/>
          <a:chExt cx="0" cy="0"/>
        </a:xfrm>
      </p:grpSpPr>
      <p:grpSp>
        <p:nvGrpSpPr>
          <p:cNvPr id="685" name="Google Shape;685;p105"/>
          <p:cNvGrpSpPr/>
          <p:nvPr/>
        </p:nvGrpSpPr>
        <p:grpSpPr>
          <a:xfrm>
            <a:off x="7191542" y="1"/>
            <a:ext cx="5000459" cy="1425992"/>
            <a:chOff x="7191542" y="1"/>
            <a:chExt cx="5000459" cy="1425992"/>
          </a:xfrm>
        </p:grpSpPr>
        <p:pic>
          <p:nvPicPr>
            <p:cNvPr id="686" name="Google Shape;686;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7" name="Google Shape;687;p105"/>
            <p:cNvGrpSpPr/>
            <p:nvPr/>
          </p:nvGrpSpPr>
          <p:grpSpPr>
            <a:xfrm>
              <a:off x="7191542" y="1"/>
              <a:ext cx="5000459" cy="1425992"/>
              <a:chOff x="7186272" y="0"/>
              <a:chExt cx="5005729" cy="1427495"/>
            </a:xfrm>
          </p:grpSpPr>
          <p:sp>
            <p:nvSpPr>
              <p:cNvPr id="688" name="Google Shape;688;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9" name="Google Shape;689;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0" name="Google Shape;690;p1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 name="Google Shape;69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2" name="Google Shape;692;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 name="Google Shape;693;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4"/>
        <p:cNvGrpSpPr/>
        <p:nvPr/>
      </p:nvGrpSpPr>
      <p:grpSpPr>
        <a:xfrm>
          <a:off x="0" y="0"/>
          <a:ext cx="0" cy="0"/>
          <a:chOff x="0" y="0"/>
          <a:chExt cx="0" cy="0"/>
        </a:xfrm>
      </p:grpSpPr>
      <p:sp>
        <p:nvSpPr>
          <p:cNvPr id="695" name="Google Shape;695;p10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 name="Google Shape;696;p10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7" name="Google Shape;697;p106"/>
          <p:cNvGrpSpPr/>
          <p:nvPr/>
        </p:nvGrpSpPr>
        <p:grpSpPr>
          <a:xfrm flipH="1">
            <a:off x="-1" y="1"/>
            <a:ext cx="6418725" cy="1509822"/>
            <a:chOff x="7522541" y="1"/>
            <a:chExt cx="4669459" cy="1098357"/>
          </a:xfrm>
        </p:grpSpPr>
        <p:sp>
          <p:nvSpPr>
            <p:cNvPr id="698" name="Google Shape;698;p10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9" name="Google Shape;699;p10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700" name="Google Shape;700;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701"/>
        <p:cNvGrpSpPr/>
        <p:nvPr/>
      </p:nvGrpSpPr>
      <p:grpSpPr>
        <a:xfrm>
          <a:off x="0" y="0"/>
          <a:ext cx="0" cy="0"/>
          <a:chOff x="0" y="0"/>
          <a:chExt cx="0" cy="0"/>
        </a:xfrm>
      </p:grpSpPr>
      <p:grpSp>
        <p:nvGrpSpPr>
          <p:cNvPr id="702" name="Google Shape;702;p107"/>
          <p:cNvGrpSpPr/>
          <p:nvPr/>
        </p:nvGrpSpPr>
        <p:grpSpPr>
          <a:xfrm>
            <a:off x="0" y="5020347"/>
            <a:ext cx="12192000" cy="1837653"/>
            <a:chOff x="0" y="5020347"/>
            <a:chExt cx="12192000" cy="1837653"/>
          </a:xfrm>
        </p:grpSpPr>
        <p:sp>
          <p:nvSpPr>
            <p:cNvPr id="703" name="Google Shape;703;p1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4" name="Google Shape;704;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5" name="Google Shape;705;p1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6" name="Google Shape;706;p1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1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1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1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1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108"/>
          <p:cNvGrpSpPr/>
          <p:nvPr/>
        </p:nvGrpSpPr>
        <p:grpSpPr>
          <a:xfrm>
            <a:off x="0" y="5379426"/>
            <a:ext cx="2807368" cy="753891"/>
            <a:chOff x="0" y="5379426"/>
            <a:chExt cx="2807368" cy="753891"/>
          </a:xfrm>
        </p:grpSpPr>
        <p:sp>
          <p:nvSpPr>
            <p:cNvPr id="713" name="Google Shape;713;p1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4" name="Google Shape;714;p1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5" name="Google Shape;715;p108"/>
          <p:cNvSpPr>
            <a:spLocks noGrp="1"/>
          </p:cNvSpPr>
          <p:nvPr>
            <p:ph type="pic" idx="2"/>
          </p:nvPr>
        </p:nvSpPr>
        <p:spPr>
          <a:xfrm>
            <a:off x="2807368" y="457202"/>
            <a:ext cx="8915400" cy="5943598"/>
          </a:xfrm>
          <a:prstGeom prst="rect">
            <a:avLst/>
          </a:prstGeom>
          <a:noFill/>
          <a:ln>
            <a:noFill/>
          </a:ln>
        </p:spPr>
      </p:sp>
      <p:pic>
        <p:nvPicPr>
          <p:cNvPr id="716" name="Google Shape;716;p1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7"/>
        <p:cNvGrpSpPr/>
        <p:nvPr/>
      </p:nvGrpSpPr>
      <p:grpSpPr>
        <a:xfrm>
          <a:off x="0" y="0"/>
          <a:ext cx="0" cy="0"/>
          <a:chOff x="0" y="0"/>
          <a:chExt cx="0" cy="0"/>
        </a:xfrm>
      </p:grpSpPr>
      <p:sp>
        <p:nvSpPr>
          <p:cNvPr id="718" name="Google Shape;718;p1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9" name="Google Shape;719;p1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0" name="Google Shape;720;p1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1" name="Google Shape;721;p109"/>
          <p:cNvSpPr>
            <a:spLocks noGrp="1"/>
          </p:cNvSpPr>
          <p:nvPr>
            <p:ph type="pic" idx="2"/>
          </p:nvPr>
        </p:nvSpPr>
        <p:spPr>
          <a:xfrm>
            <a:off x="7118684" y="233915"/>
            <a:ext cx="5073316" cy="5943600"/>
          </a:xfrm>
          <a:prstGeom prst="rect">
            <a:avLst/>
          </a:prstGeom>
          <a:noFill/>
          <a:ln>
            <a:noFill/>
          </a:ln>
        </p:spPr>
      </p:sp>
      <p:grpSp>
        <p:nvGrpSpPr>
          <p:cNvPr id="722" name="Google Shape;722;p109"/>
          <p:cNvGrpSpPr/>
          <p:nvPr/>
        </p:nvGrpSpPr>
        <p:grpSpPr>
          <a:xfrm>
            <a:off x="0" y="5020348"/>
            <a:ext cx="12192000" cy="1837653"/>
            <a:chOff x="0" y="5020348"/>
            <a:chExt cx="12192000" cy="1837653"/>
          </a:xfrm>
        </p:grpSpPr>
        <p:sp>
          <p:nvSpPr>
            <p:cNvPr id="723" name="Google Shape;723;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4" name="Google Shape;724;p1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 name="Google Shape;725;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726"/>
        <p:cNvGrpSpPr/>
        <p:nvPr/>
      </p:nvGrpSpPr>
      <p:grpSpPr>
        <a:xfrm>
          <a:off x="0" y="0"/>
          <a:ext cx="0" cy="0"/>
          <a:chOff x="0" y="0"/>
          <a:chExt cx="0" cy="0"/>
        </a:xfrm>
      </p:grpSpPr>
      <p:grpSp>
        <p:nvGrpSpPr>
          <p:cNvPr id="727" name="Google Shape;727;p110"/>
          <p:cNvGrpSpPr/>
          <p:nvPr/>
        </p:nvGrpSpPr>
        <p:grpSpPr>
          <a:xfrm>
            <a:off x="7191542" y="1"/>
            <a:ext cx="5000459" cy="1425992"/>
            <a:chOff x="7191542" y="1"/>
            <a:chExt cx="5000459" cy="1425992"/>
          </a:xfrm>
        </p:grpSpPr>
        <p:pic>
          <p:nvPicPr>
            <p:cNvPr id="728" name="Google Shape;728;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 name="Google Shape;729;p110"/>
            <p:cNvGrpSpPr/>
            <p:nvPr/>
          </p:nvGrpSpPr>
          <p:grpSpPr>
            <a:xfrm>
              <a:off x="7191542" y="1"/>
              <a:ext cx="5000459" cy="1425992"/>
              <a:chOff x="7186272" y="0"/>
              <a:chExt cx="5005729" cy="1427495"/>
            </a:xfrm>
          </p:grpSpPr>
          <p:sp>
            <p:nvSpPr>
              <p:cNvPr id="730" name="Google Shape;73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1" name="Google Shape;73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2" name="Google Shape;73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 name="Google Shape;733;p1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37"/>
        <p:cNvGrpSpPr/>
        <p:nvPr/>
      </p:nvGrpSpPr>
      <p:grpSpPr>
        <a:xfrm>
          <a:off x="0" y="0"/>
          <a:ext cx="0" cy="0"/>
          <a:chOff x="0" y="0"/>
          <a:chExt cx="0" cy="0"/>
        </a:xfrm>
      </p:grpSpPr>
      <p:sp>
        <p:nvSpPr>
          <p:cNvPr id="738" name="Google Shape;738;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9" name="Google Shape;739;p1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0" name="Google Shape;740;p111"/>
          <p:cNvGrpSpPr/>
          <p:nvPr/>
        </p:nvGrpSpPr>
        <p:grpSpPr>
          <a:xfrm>
            <a:off x="7191542" y="1"/>
            <a:ext cx="5000459" cy="1425992"/>
            <a:chOff x="7191542" y="1"/>
            <a:chExt cx="5000459" cy="1425992"/>
          </a:xfrm>
        </p:grpSpPr>
        <p:pic>
          <p:nvPicPr>
            <p:cNvPr id="741" name="Google Shape;741;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 name="Google Shape;742;p111"/>
            <p:cNvGrpSpPr/>
            <p:nvPr/>
          </p:nvGrpSpPr>
          <p:grpSpPr>
            <a:xfrm>
              <a:off x="7191542" y="1"/>
              <a:ext cx="5000459" cy="1425992"/>
              <a:chOff x="7186272" y="0"/>
              <a:chExt cx="5005729" cy="1427495"/>
            </a:xfrm>
          </p:grpSpPr>
          <p:sp>
            <p:nvSpPr>
              <p:cNvPr id="743" name="Google Shape;743;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 name="Google Shape;744;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5" name="Google Shape;745;p1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 name="Google Shape;746;p1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 name="Google Shape;747;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 name="Google Shape;748;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49"/>
        <p:cNvGrpSpPr/>
        <p:nvPr/>
      </p:nvGrpSpPr>
      <p:grpSpPr>
        <a:xfrm>
          <a:off x="0" y="0"/>
          <a:ext cx="0" cy="0"/>
          <a:chOff x="0" y="0"/>
          <a:chExt cx="0" cy="0"/>
        </a:xfrm>
      </p:grpSpPr>
      <p:grpSp>
        <p:nvGrpSpPr>
          <p:cNvPr id="750" name="Google Shape;750;p112"/>
          <p:cNvGrpSpPr/>
          <p:nvPr/>
        </p:nvGrpSpPr>
        <p:grpSpPr>
          <a:xfrm>
            <a:off x="7191542" y="1"/>
            <a:ext cx="5000459" cy="1425992"/>
            <a:chOff x="7191542" y="1"/>
            <a:chExt cx="5000459" cy="1425992"/>
          </a:xfrm>
        </p:grpSpPr>
        <p:pic>
          <p:nvPicPr>
            <p:cNvPr id="751" name="Google Shape;75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 name="Google Shape;752;p112"/>
            <p:cNvGrpSpPr/>
            <p:nvPr/>
          </p:nvGrpSpPr>
          <p:grpSpPr>
            <a:xfrm>
              <a:off x="7191542" y="1"/>
              <a:ext cx="5000459" cy="1425992"/>
              <a:chOff x="7186272" y="0"/>
              <a:chExt cx="5005729" cy="1427495"/>
            </a:xfrm>
          </p:grpSpPr>
          <p:sp>
            <p:nvSpPr>
              <p:cNvPr id="753" name="Google Shape;75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4" name="Google Shape;75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5" name="Google Shape;75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 name="Google Shape;756;p11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7" name="Google Shape;757;p11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 name="Google Shape;758;p11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9" name="Google Shape;759;p11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763"/>
        <p:cNvGrpSpPr/>
        <p:nvPr/>
      </p:nvGrpSpPr>
      <p:grpSpPr>
        <a:xfrm>
          <a:off x="0" y="0"/>
          <a:ext cx="0" cy="0"/>
          <a:chOff x="0" y="0"/>
          <a:chExt cx="0" cy="0"/>
        </a:xfrm>
      </p:grpSpPr>
      <p:grpSp>
        <p:nvGrpSpPr>
          <p:cNvPr id="764" name="Google Shape;764;p113"/>
          <p:cNvGrpSpPr/>
          <p:nvPr/>
        </p:nvGrpSpPr>
        <p:grpSpPr>
          <a:xfrm>
            <a:off x="7191542" y="1"/>
            <a:ext cx="5000459" cy="1425992"/>
            <a:chOff x="7191542" y="1"/>
            <a:chExt cx="5000459" cy="1425992"/>
          </a:xfrm>
        </p:grpSpPr>
        <p:pic>
          <p:nvPicPr>
            <p:cNvPr id="765" name="Google Shape;765;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13"/>
            <p:cNvGrpSpPr/>
            <p:nvPr/>
          </p:nvGrpSpPr>
          <p:grpSpPr>
            <a:xfrm>
              <a:off x="7191542" y="1"/>
              <a:ext cx="5000459" cy="1425992"/>
              <a:chOff x="7186272" y="0"/>
              <a:chExt cx="5005729" cy="1427495"/>
            </a:xfrm>
          </p:grpSpPr>
          <p:sp>
            <p:nvSpPr>
              <p:cNvPr id="767" name="Google Shape;767;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1" name="Google Shape;77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 name="Google Shape;77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773"/>
        <p:cNvGrpSpPr/>
        <p:nvPr/>
      </p:nvGrpSpPr>
      <p:grpSpPr>
        <a:xfrm>
          <a:off x="0" y="0"/>
          <a:ext cx="0" cy="0"/>
          <a:chOff x="0" y="0"/>
          <a:chExt cx="0" cy="0"/>
        </a:xfrm>
      </p:grpSpPr>
      <p:sp>
        <p:nvSpPr>
          <p:cNvPr id="774" name="Google Shape;774;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5" name="Google Shape;775;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0" name="Google Shape;780;p114"/>
          <p:cNvGrpSpPr/>
          <p:nvPr/>
        </p:nvGrpSpPr>
        <p:grpSpPr>
          <a:xfrm>
            <a:off x="7191542" y="1"/>
            <a:ext cx="5000459" cy="1425992"/>
            <a:chOff x="7191542" y="1"/>
            <a:chExt cx="5000459" cy="1425992"/>
          </a:xfrm>
        </p:grpSpPr>
        <p:pic>
          <p:nvPicPr>
            <p:cNvPr id="781" name="Google Shape;781;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114"/>
            <p:cNvGrpSpPr/>
            <p:nvPr/>
          </p:nvGrpSpPr>
          <p:grpSpPr>
            <a:xfrm>
              <a:off x="7191542" y="1"/>
              <a:ext cx="5000459" cy="1425992"/>
              <a:chOff x="7186272" y="0"/>
              <a:chExt cx="5005729" cy="1427495"/>
            </a:xfrm>
          </p:grpSpPr>
          <p:sp>
            <p:nvSpPr>
              <p:cNvPr id="783" name="Google Shape;783;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4" name="Google Shape;784;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85" name="Google Shape;785;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786"/>
        <p:cNvGrpSpPr/>
        <p:nvPr/>
      </p:nvGrpSpPr>
      <p:grpSpPr>
        <a:xfrm>
          <a:off x="0" y="0"/>
          <a:ext cx="0" cy="0"/>
          <a:chOff x="0" y="0"/>
          <a:chExt cx="0" cy="0"/>
        </a:xfrm>
      </p:grpSpPr>
      <p:grpSp>
        <p:nvGrpSpPr>
          <p:cNvPr id="787" name="Google Shape;787;p115"/>
          <p:cNvGrpSpPr/>
          <p:nvPr/>
        </p:nvGrpSpPr>
        <p:grpSpPr>
          <a:xfrm>
            <a:off x="0" y="0"/>
            <a:ext cx="12192000" cy="2148830"/>
            <a:chOff x="0" y="0"/>
            <a:chExt cx="12192000" cy="2148830"/>
          </a:xfrm>
        </p:grpSpPr>
        <p:sp>
          <p:nvSpPr>
            <p:cNvPr id="788" name="Google Shape;788;p1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9" name="Google Shape;789;p1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90" name="Google Shape;790;p1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1" name="Google Shape;791;p1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1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3" name="Google Shape;793;p1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4" name="Google Shape;794;p1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795"/>
        <p:cNvGrpSpPr/>
        <p:nvPr/>
      </p:nvGrpSpPr>
      <p:grpSpPr>
        <a:xfrm>
          <a:off x="0" y="0"/>
          <a:ext cx="0" cy="0"/>
          <a:chOff x="0" y="0"/>
          <a:chExt cx="0" cy="0"/>
        </a:xfrm>
      </p:grpSpPr>
      <p:sp>
        <p:nvSpPr>
          <p:cNvPr id="796" name="Google Shape;796;p1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7" name="Google Shape;797;p1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 name="Google Shape;798;p1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9" name="Google Shape;799;p116"/>
          <p:cNvSpPr>
            <a:spLocks noGrp="1"/>
          </p:cNvSpPr>
          <p:nvPr>
            <p:ph type="pic" idx="2"/>
          </p:nvPr>
        </p:nvSpPr>
        <p:spPr>
          <a:xfrm>
            <a:off x="7118684" y="233915"/>
            <a:ext cx="5073316" cy="5943600"/>
          </a:xfrm>
          <a:prstGeom prst="rect">
            <a:avLst/>
          </a:prstGeom>
          <a:noFill/>
          <a:ln>
            <a:noFill/>
          </a:ln>
        </p:spPr>
      </p:sp>
      <p:grpSp>
        <p:nvGrpSpPr>
          <p:cNvPr id="800" name="Google Shape;800;p116"/>
          <p:cNvGrpSpPr/>
          <p:nvPr/>
        </p:nvGrpSpPr>
        <p:grpSpPr>
          <a:xfrm>
            <a:off x="0" y="5020348"/>
            <a:ext cx="12192000" cy="1837653"/>
            <a:chOff x="0" y="5020348"/>
            <a:chExt cx="12192000" cy="1837653"/>
          </a:xfrm>
        </p:grpSpPr>
        <p:sp>
          <p:nvSpPr>
            <p:cNvPr id="801" name="Google Shape;801;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2" name="Google Shape;802;p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03" name="Google Shape;803;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04"/>
        <p:cNvGrpSpPr/>
        <p:nvPr/>
      </p:nvGrpSpPr>
      <p:grpSpPr>
        <a:xfrm>
          <a:off x="0" y="0"/>
          <a:ext cx="0" cy="0"/>
          <a:chOff x="0" y="0"/>
          <a:chExt cx="0" cy="0"/>
        </a:xfrm>
      </p:grpSpPr>
      <p:sp>
        <p:nvSpPr>
          <p:cNvPr id="805" name="Google Shape;805;p1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6" name="Google Shape;806;p1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7" name="Google Shape;807;p1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8" name="Google Shape;808;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 name="Google Shape;809;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 name="Google Shape;810;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11" name="Google Shape;811;p117"/>
          <p:cNvGrpSpPr/>
          <p:nvPr/>
        </p:nvGrpSpPr>
        <p:grpSpPr>
          <a:xfrm>
            <a:off x="7191542" y="1"/>
            <a:ext cx="5000459" cy="1425992"/>
            <a:chOff x="7191542" y="1"/>
            <a:chExt cx="5000459" cy="1425992"/>
          </a:xfrm>
        </p:grpSpPr>
        <p:pic>
          <p:nvPicPr>
            <p:cNvPr id="812" name="Google Shape;812;p1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 name="Google Shape;813;p117"/>
            <p:cNvGrpSpPr/>
            <p:nvPr/>
          </p:nvGrpSpPr>
          <p:grpSpPr>
            <a:xfrm>
              <a:off x="7191542" y="1"/>
              <a:ext cx="5000459" cy="1425992"/>
              <a:chOff x="7186272" y="0"/>
              <a:chExt cx="5005729" cy="1427495"/>
            </a:xfrm>
          </p:grpSpPr>
          <p:sp>
            <p:nvSpPr>
              <p:cNvPr id="814" name="Google Shape;814;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5" name="Google Shape;815;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6" name="Google Shape;816;p1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817"/>
        <p:cNvGrpSpPr/>
        <p:nvPr/>
      </p:nvGrpSpPr>
      <p:grpSpPr>
        <a:xfrm>
          <a:off x="0" y="0"/>
          <a:ext cx="0" cy="0"/>
          <a:chOff x="0" y="0"/>
          <a:chExt cx="0" cy="0"/>
        </a:xfrm>
      </p:grpSpPr>
      <p:grpSp>
        <p:nvGrpSpPr>
          <p:cNvPr id="818" name="Google Shape;818;p118"/>
          <p:cNvGrpSpPr/>
          <p:nvPr/>
        </p:nvGrpSpPr>
        <p:grpSpPr>
          <a:xfrm>
            <a:off x="0" y="5020347"/>
            <a:ext cx="12192000" cy="1837653"/>
            <a:chOff x="0" y="5020347"/>
            <a:chExt cx="12192000" cy="1837653"/>
          </a:xfrm>
        </p:grpSpPr>
        <p:sp>
          <p:nvSpPr>
            <p:cNvPr id="819" name="Google Shape;819;p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1" name="Google Shape;821;p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2" name="Google Shape;822;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 name="Google Shape;824;p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25"/>
        <p:cNvGrpSpPr/>
        <p:nvPr/>
      </p:nvGrpSpPr>
      <p:grpSpPr>
        <a:xfrm>
          <a:off x="0" y="0"/>
          <a:ext cx="0" cy="0"/>
          <a:chOff x="0" y="0"/>
          <a:chExt cx="0" cy="0"/>
        </a:xfrm>
      </p:grpSpPr>
      <p:sp>
        <p:nvSpPr>
          <p:cNvPr id="826" name="Google Shape;826;p1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7" name="Google Shape;827;p1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8" name="Google Shape;828;p119"/>
          <p:cNvGrpSpPr/>
          <p:nvPr/>
        </p:nvGrpSpPr>
        <p:grpSpPr>
          <a:xfrm>
            <a:off x="0" y="5379426"/>
            <a:ext cx="2807368" cy="753891"/>
            <a:chOff x="0" y="5379426"/>
            <a:chExt cx="2807368" cy="753891"/>
          </a:xfrm>
        </p:grpSpPr>
        <p:sp>
          <p:nvSpPr>
            <p:cNvPr id="829" name="Google Shape;829;p1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0" name="Google Shape;830;p1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1" name="Google Shape;831;p119"/>
          <p:cNvSpPr>
            <a:spLocks noGrp="1"/>
          </p:cNvSpPr>
          <p:nvPr>
            <p:ph type="pic" idx="2"/>
          </p:nvPr>
        </p:nvSpPr>
        <p:spPr>
          <a:xfrm>
            <a:off x="2807368" y="457202"/>
            <a:ext cx="8915400" cy="5943598"/>
          </a:xfrm>
          <a:prstGeom prst="rect">
            <a:avLst/>
          </a:prstGeom>
          <a:noFill/>
          <a:ln>
            <a:noFill/>
          </a:ln>
        </p:spPr>
      </p:sp>
      <p:pic>
        <p:nvPicPr>
          <p:cNvPr id="832" name="Google Shape;832;p1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833"/>
        <p:cNvGrpSpPr/>
        <p:nvPr/>
      </p:nvGrpSpPr>
      <p:grpSpPr>
        <a:xfrm>
          <a:off x="0" y="0"/>
          <a:ext cx="0" cy="0"/>
          <a:chOff x="0" y="0"/>
          <a:chExt cx="0" cy="0"/>
        </a:xfrm>
      </p:grpSpPr>
      <p:sp>
        <p:nvSpPr>
          <p:cNvPr id="834" name="Google Shape;834;p1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5" name="Google Shape;835;p1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 name="Google Shape;836;p1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7" name="Google Shape;837;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8" name="Google Shape;838;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9" name="Google Shape;839;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0" name="Google Shape;840;p120"/>
          <p:cNvGrpSpPr/>
          <p:nvPr/>
        </p:nvGrpSpPr>
        <p:grpSpPr>
          <a:xfrm>
            <a:off x="7191542" y="1"/>
            <a:ext cx="5000459" cy="1425992"/>
            <a:chOff x="7191542" y="1"/>
            <a:chExt cx="5000459" cy="1425992"/>
          </a:xfrm>
        </p:grpSpPr>
        <p:pic>
          <p:nvPicPr>
            <p:cNvPr id="841" name="Google Shape;841;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2" name="Google Shape;842;p120"/>
            <p:cNvGrpSpPr/>
            <p:nvPr/>
          </p:nvGrpSpPr>
          <p:grpSpPr>
            <a:xfrm>
              <a:off x="7191542" y="1"/>
              <a:ext cx="5000459" cy="1425992"/>
              <a:chOff x="7186272" y="0"/>
              <a:chExt cx="5005729" cy="1427495"/>
            </a:xfrm>
          </p:grpSpPr>
          <p:sp>
            <p:nvSpPr>
              <p:cNvPr id="843" name="Google Shape;843;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4" name="Google Shape;844;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5" name="Google Shape;845;p1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846"/>
        <p:cNvGrpSpPr/>
        <p:nvPr/>
      </p:nvGrpSpPr>
      <p:grpSpPr>
        <a:xfrm>
          <a:off x="0" y="0"/>
          <a:ext cx="0" cy="0"/>
          <a:chOff x="0" y="0"/>
          <a:chExt cx="0" cy="0"/>
        </a:xfrm>
      </p:grpSpPr>
      <p:grpSp>
        <p:nvGrpSpPr>
          <p:cNvPr id="847" name="Google Shape;847;p121"/>
          <p:cNvGrpSpPr/>
          <p:nvPr/>
        </p:nvGrpSpPr>
        <p:grpSpPr>
          <a:xfrm>
            <a:off x="7191542" y="1"/>
            <a:ext cx="5000459" cy="1425992"/>
            <a:chOff x="7191542" y="1"/>
            <a:chExt cx="5000459" cy="1425992"/>
          </a:xfrm>
        </p:grpSpPr>
        <p:pic>
          <p:nvPicPr>
            <p:cNvPr id="848" name="Google Shape;84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9" name="Google Shape;849;p121"/>
            <p:cNvGrpSpPr/>
            <p:nvPr/>
          </p:nvGrpSpPr>
          <p:grpSpPr>
            <a:xfrm>
              <a:off x="7191542" y="1"/>
              <a:ext cx="5000459" cy="1425992"/>
              <a:chOff x="7186272" y="0"/>
              <a:chExt cx="5005729" cy="1427495"/>
            </a:xfrm>
          </p:grpSpPr>
          <p:sp>
            <p:nvSpPr>
              <p:cNvPr id="850" name="Google Shape;85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1" name="Google Shape;85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2" name="Google Shape;852;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 name="Google Shape;853;p1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 name="Google Shape;854;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5" name="Google Shape;85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6" name="Google Shape;85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857"/>
        <p:cNvGrpSpPr/>
        <p:nvPr/>
      </p:nvGrpSpPr>
      <p:grpSpPr>
        <a:xfrm>
          <a:off x="0" y="0"/>
          <a:ext cx="0" cy="0"/>
          <a:chOff x="0" y="0"/>
          <a:chExt cx="0" cy="0"/>
        </a:xfrm>
      </p:grpSpPr>
      <p:sp>
        <p:nvSpPr>
          <p:cNvPr id="858" name="Google Shape;858;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9" name="Google Shape;859;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 name="Google Shape;860;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1" name="Google Shape;861;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2" name="Google Shape;862;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 name="Google Shape;863;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4" name="Google Shape;864;p122"/>
          <p:cNvGrpSpPr/>
          <p:nvPr/>
        </p:nvGrpSpPr>
        <p:grpSpPr>
          <a:xfrm>
            <a:off x="7191542" y="1"/>
            <a:ext cx="5000459" cy="1425992"/>
            <a:chOff x="7191542" y="1"/>
            <a:chExt cx="5000459" cy="1425992"/>
          </a:xfrm>
        </p:grpSpPr>
        <p:pic>
          <p:nvPicPr>
            <p:cNvPr id="865" name="Google Shape;865;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6" name="Google Shape;866;p122"/>
            <p:cNvGrpSpPr/>
            <p:nvPr/>
          </p:nvGrpSpPr>
          <p:grpSpPr>
            <a:xfrm>
              <a:off x="7191542" y="1"/>
              <a:ext cx="5000459" cy="1425992"/>
              <a:chOff x="7186272" y="0"/>
              <a:chExt cx="5005729" cy="1427495"/>
            </a:xfrm>
          </p:grpSpPr>
          <p:sp>
            <p:nvSpPr>
              <p:cNvPr id="867" name="Google Shape;867;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8" name="Google Shape;868;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9" name="Google Shape;869;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870"/>
        <p:cNvGrpSpPr/>
        <p:nvPr/>
      </p:nvGrpSpPr>
      <p:grpSpPr>
        <a:xfrm>
          <a:off x="0" y="0"/>
          <a:ext cx="0" cy="0"/>
          <a:chOff x="0" y="0"/>
          <a:chExt cx="0" cy="0"/>
        </a:xfrm>
      </p:grpSpPr>
      <p:sp>
        <p:nvSpPr>
          <p:cNvPr id="871" name="Google Shape;871;p1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2" name="Google Shape;872;p1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3" name="Google Shape;873;p1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874" name="Google Shape;874;p1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5" name="Google Shape;875;p1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876" name="Google Shape;876;p1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7" name="Google Shape;877;p1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8" name="Google Shape;878;p1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79" name="Google Shape;879;p1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0" name="Google Shape;880;p1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81" name="Google Shape;881;p1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882"/>
        <p:cNvGrpSpPr/>
        <p:nvPr/>
      </p:nvGrpSpPr>
      <p:grpSpPr>
        <a:xfrm>
          <a:off x="0" y="0"/>
          <a:ext cx="0" cy="0"/>
          <a:chOff x="0" y="0"/>
          <a:chExt cx="0" cy="0"/>
        </a:xfrm>
      </p:grpSpPr>
      <p:sp>
        <p:nvSpPr>
          <p:cNvPr id="883" name="Google Shape;883;p1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4" name="Google Shape;884;p1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 name="Google Shape;885;p1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 name="Google Shape;886;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7" name="Google Shape;887;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8" name="Google Shape;888;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9" name="Google Shape;889;p124"/>
          <p:cNvGrpSpPr/>
          <p:nvPr/>
        </p:nvGrpSpPr>
        <p:grpSpPr>
          <a:xfrm>
            <a:off x="7191542" y="1"/>
            <a:ext cx="5000459" cy="1425992"/>
            <a:chOff x="7191542" y="1"/>
            <a:chExt cx="5000459" cy="1425992"/>
          </a:xfrm>
        </p:grpSpPr>
        <p:pic>
          <p:nvPicPr>
            <p:cNvPr id="890" name="Google Shape;890;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124"/>
            <p:cNvGrpSpPr/>
            <p:nvPr/>
          </p:nvGrpSpPr>
          <p:grpSpPr>
            <a:xfrm>
              <a:off x="7191542" y="1"/>
              <a:ext cx="5000459" cy="1425992"/>
              <a:chOff x="7186272" y="0"/>
              <a:chExt cx="5005729" cy="1427495"/>
            </a:xfrm>
          </p:grpSpPr>
          <p:sp>
            <p:nvSpPr>
              <p:cNvPr id="892" name="Google Shape;892;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3" name="Google Shape;893;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4" name="Google Shape;894;p1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95"/>
        <p:cNvGrpSpPr/>
        <p:nvPr/>
      </p:nvGrpSpPr>
      <p:grpSpPr>
        <a:xfrm>
          <a:off x="0" y="0"/>
          <a:ext cx="0" cy="0"/>
          <a:chOff x="0" y="0"/>
          <a:chExt cx="0" cy="0"/>
        </a:xfrm>
      </p:grpSpPr>
      <p:sp>
        <p:nvSpPr>
          <p:cNvPr id="896" name="Google Shape;896;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 name="Google Shape;897;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8" name="Google Shape;898;p125"/>
          <p:cNvGrpSpPr/>
          <p:nvPr/>
        </p:nvGrpSpPr>
        <p:grpSpPr>
          <a:xfrm>
            <a:off x="7191542" y="1"/>
            <a:ext cx="5000459" cy="1425992"/>
            <a:chOff x="7191542" y="1"/>
            <a:chExt cx="5000459" cy="1425992"/>
          </a:xfrm>
        </p:grpSpPr>
        <p:pic>
          <p:nvPicPr>
            <p:cNvPr id="899" name="Google Shape;899;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0" name="Google Shape;900;p125"/>
            <p:cNvGrpSpPr/>
            <p:nvPr/>
          </p:nvGrpSpPr>
          <p:grpSpPr>
            <a:xfrm>
              <a:off x="7191542" y="1"/>
              <a:ext cx="5000459" cy="1425992"/>
              <a:chOff x="7186272" y="0"/>
              <a:chExt cx="5005729" cy="1427495"/>
            </a:xfrm>
          </p:grpSpPr>
          <p:sp>
            <p:nvSpPr>
              <p:cNvPr id="901" name="Google Shape;901;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2" name="Google Shape;902;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3" name="Google Shape;903;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5" name="Google Shape;905;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 name="Google Shape;906;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07"/>
        <p:cNvGrpSpPr/>
        <p:nvPr/>
      </p:nvGrpSpPr>
      <p:grpSpPr>
        <a:xfrm>
          <a:off x="0" y="0"/>
          <a:ext cx="0" cy="0"/>
          <a:chOff x="0" y="0"/>
          <a:chExt cx="0" cy="0"/>
        </a:xfrm>
      </p:grpSpPr>
      <p:grpSp>
        <p:nvGrpSpPr>
          <p:cNvPr id="908" name="Google Shape;908;p126"/>
          <p:cNvGrpSpPr/>
          <p:nvPr/>
        </p:nvGrpSpPr>
        <p:grpSpPr>
          <a:xfrm>
            <a:off x="7191542" y="1"/>
            <a:ext cx="5000459" cy="1425992"/>
            <a:chOff x="7191542" y="1"/>
            <a:chExt cx="5000459" cy="1425992"/>
          </a:xfrm>
        </p:grpSpPr>
        <p:pic>
          <p:nvPicPr>
            <p:cNvPr id="909" name="Google Shape;909;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0" name="Google Shape;910;p126"/>
            <p:cNvGrpSpPr/>
            <p:nvPr/>
          </p:nvGrpSpPr>
          <p:grpSpPr>
            <a:xfrm>
              <a:off x="7191542" y="1"/>
              <a:ext cx="5000459" cy="1425992"/>
              <a:chOff x="7186272" y="0"/>
              <a:chExt cx="5005729" cy="1427495"/>
            </a:xfrm>
          </p:grpSpPr>
          <p:sp>
            <p:nvSpPr>
              <p:cNvPr id="911" name="Google Shape;911;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 name="Google Shape;912;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3" name="Google Shape;913;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4" name="Google Shape;914;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5" name="Google Shape;915;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 name="Google Shape;916;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7" name="Google Shape;917;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21"/>
        <p:cNvGrpSpPr/>
        <p:nvPr/>
      </p:nvGrpSpPr>
      <p:grpSpPr>
        <a:xfrm>
          <a:off x="0" y="0"/>
          <a:ext cx="0" cy="0"/>
          <a:chOff x="0" y="0"/>
          <a:chExt cx="0" cy="0"/>
        </a:xfrm>
      </p:grpSpPr>
      <p:grpSp>
        <p:nvGrpSpPr>
          <p:cNvPr id="922" name="Google Shape;922;p127"/>
          <p:cNvGrpSpPr/>
          <p:nvPr/>
        </p:nvGrpSpPr>
        <p:grpSpPr>
          <a:xfrm>
            <a:off x="7191542" y="1"/>
            <a:ext cx="5000459" cy="1425992"/>
            <a:chOff x="7191542" y="1"/>
            <a:chExt cx="5000459" cy="1425992"/>
          </a:xfrm>
        </p:grpSpPr>
        <p:pic>
          <p:nvPicPr>
            <p:cNvPr id="923" name="Google Shape;923;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4" name="Google Shape;924;p127"/>
            <p:cNvGrpSpPr/>
            <p:nvPr/>
          </p:nvGrpSpPr>
          <p:grpSpPr>
            <a:xfrm>
              <a:off x="7191542" y="1"/>
              <a:ext cx="5000459" cy="1425992"/>
              <a:chOff x="7186272" y="0"/>
              <a:chExt cx="5005729" cy="1427495"/>
            </a:xfrm>
          </p:grpSpPr>
          <p:sp>
            <p:nvSpPr>
              <p:cNvPr id="925" name="Google Shape;925;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 name="Google Shape;926;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 name="Google Shape;927;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 name="Google Shape;928;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 name="Google Shape;92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 name="Google Shape;93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931"/>
        <p:cNvGrpSpPr/>
        <p:nvPr/>
      </p:nvGrpSpPr>
      <p:grpSpPr>
        <a:xfrm>
          <a:off x="0" y="0"/>
          <a:ext cx="0" cy="0"/>
          <a:chOff x="0" y="0"/>
          <a:chExt cx="0" cy="0"/>
        </a:xfrm>
      </p:grpSpPr>
      <p:grpSp>
        <p:nvGrpSpPr>
          <p:cNvPr id="932" name="Google Shape;932;p128"/>
          <p:cNvGrpSpPr/>
          <p:nvPr/>
        </p:nvGrpSpPr>
        <p:grpSpPr>
          <a:xfrm>
            <a:off x="0" y="0"/>
            <a:ext cx="12192000" cy="2148830"/>
            <a:chOff x="0" y="0"/>
            <a:chExt cx="12192000" cy="2148830"/>
          </a:xfrm>
        </p:grpSpPr>
        <p:sp>
          <p:nvSpPr>
            <p:cNvPr id="933" name="Google Shape;933;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5" name="Google Shape;935;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 name="Google Shape;937;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8" name="Google Shape;938;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9" name="Google Shape;939;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940"/>
        <p:cNvGrpSpPr/>
        <p:nvPr/>
      </p:nvGrpSpPr>
      <p:grpSpPr>
        <a:xfrm>
          <a:off x="0" y="0"/>
          <a:ext cx="0" cy="0"/>
          <a:chOff x="0" y="0"/>
          <a:chExt cx="0" cy="0"/>
        </a:xfrm>
      </p:grpSpPr>
      <p:sp>
        <p:nvSpPr>
          <p:cNvPr id="941" name="Google Shape;941;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 name="Google Shape;942;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 name="Google Shape;943;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4" name="Google Shape;944;p129"/>
          <p:cNvGrpSpPr/>
          <p:nvPr/>
        </p:nvGrpSpPr>
        <p:grpSpPr>
          <a:xfrm>
            <a:off x="7191542" y="1"/>
            <a:ext cx="5000459" cy="1425992"/>
            <a:chOff x="7191542" y="1"/>
            <a:chExt cx="5000459" cy="1425992"/>
          </a:xfrm>
        </p:grpSpPr>
        <p:pic>
          <p:nvPicPr>
            <p:cNvPr id="945" name="Google Shape;945;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 name="Google Shape;946;p129"/>
            <p:cNvGrpSpPr/>
            <p:nvPr/>
          </p:nvGrpSpPr>
          <p:grpSpPr>
            <a:xfrm>
              <a:off x="7191542" y="1"/>
              <a:ext cx="5000459" cy="1425992"/>
              <a:chOff x="7186272" y="0"/>
              <a:chExt cx="5005729" cy="1427495"/>
            </a:xfrm>
          </p:grpSpPr>
          <p:sp>
            <p:nvSpPr>
              <p:cNvPr id="947" name="Google Shape;947;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 name="Google Shape;948;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49"/>
        <p:cNvGrpSpPr/>
        <p:nvPr/>
      </p:nvGrpSpPr>
      <p:grpSpPr>
        <a:xfrm>
          <a:off x="0" y="0"/>
          <a:ext cx="0" cy="0"/>
          <a:chOff x="0" y="0"/>
          <a:chExt cx="0" cy="0"/>
        </a:xfrm>
      </p:grpSpPr>
      <p:sp>
        <p:nvSpPr>
          <p:cNvPr id="950" name="Google Shape;950;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3" name="Google Shape;953;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 name="Google Shape;954;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 name="Google Shape;955;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6" name="Google Shape;956;p130"/>
          <p:cNvGrpSpPr/>
          <p:nvPr/>
        </p:nvGrpSpPr>
        <p:grpSpPr>
          <a:xfrm>
            <a:off x="7191542" y="1"/>
            <a:ext cx="5000459" cy="1425992"/>
            <a:chOff x="7191542" y="1"/>
            <a:chExt cx="5000459" cy="1425992"/>
          </a:xfrm>
        </p:grpSpPr>
        <p:pic>
          <p:nvPicPr>
            <p:cNvPr id="957" name="Google Shape;957;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8" name="Google Shape;958;p130"/>
            <p:cNvGrpSpPr/>
            <p:nvPr/>
          </p:nvGrpSpPr>
          <p:grpSpPr>
            <a:xfrm>
              <a:off x="7191542" y="1"/>
              <a:ext cx="5000459" cy="1425992"/>
              <a:chOff x="7186272" y="0"/>
              <a:chExt cx="5005729" cy="1427495"/>
            </a:xfrm>
          </p:grpSpPr>
          <p:sp>
            <p:nvSpPr>
              <p:cNvPr id="959" name="Google Shape;959;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0" name="Google Shape;960;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 name="Google Shape;961;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62"/>
        <p:cNvGrpSpPr/>
        <p:nvPr/>
      </p:nvGrpSpPr>
      <p:grpSpPr>
        <a:xfrm>
          <a:off x="0" y="0"/>
          <a:ext cx="0" cy="0"/>
          <a:chOff x="0" y="0"/>
          <a:chExt cx="0" cy="0"/>
        </a:xfrm>
      </p:grpSpPr>
      <p:sp>
        <p:nvSpPr>
          <p:cNvPr id="963" name="Google Shape;963;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4" name="Google Shape;964;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 name="Google Shape;965;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6" name="Google Shape;966;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7" name="Google Shape;967;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 name="Google Shape;968;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 name="Google Shape;969;p131"/>
          <p:cNvGrpSpPr/>
          <p:nvPr/>
        </p:nvGrpSpPr>
        <p:grpSpPr>
          <a:xfrm>
            <a:off x="7191542" y="1"/>
            <a:ext cx="5000459" cy="1425992"/>
            <a:chOff x="7191542" y="1"/>
            <a:chExt cx="5000459" cy="1425992"/>
          </a:xfrm>
        </p:grpSpPr>
        <p:pic>
          <p:nvPicPr>
            <p:cNvPr id="970" name="Google Shape;970;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1" name="Google Shape;971;p131"/>
            <p:cNvGrpSpPr/>
            <p:nvPr/>
          </p:nvGrpSpPr>
          <p:grpSpPr>
            <a:xfrm>
              <a:off x="7191542" y="1"/>
              <a:ext cx="5000459" cy="1425992"/>
              <a:chOff x="7186272" y="0"/>
              <a:chExt cx="5005729" cy="1427495"/>
            </a:xfrm>
          </p:grpSpPr>
          <p:sp>
            <p:nvSpPr>
              <p:cNvPr id="972" name="Google Shape;972;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 name="Google Shape;973;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4" name="Google Shape;974;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75"/>
        <p:cNvGrpSpPr/>
        <p:nvPr/>
      </p:nvGrpSpPr>
      <p:grpSpPr>
        <a:xfrm>
          <a:off x="0" y="0"/>
          <a:ext cx="0" cy="0"/>
          <a:chOff x="0" y="0"/>
          <a:chExt cx="0" cy="0"/>
        </a:xfrm>
      </p:grpSpPr>
      <p:sp>
        <p:nvSpPr>
          <p:cNvPr id="976" name="Google Shape;976;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 name="Google Shape;977;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 name="Google Shape;978;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9" name="Google Shape;979;p132"/>
          <p:cNvSpPr>
            <a:spLocks noGrp="1"/>
          </p:cNvSpPr>
          <p:nvPr>
            <p:ph type="pic" idx="2"/>
          </p:nvPr>
        </p:nvSpPr>
        <p:spPr>
          <a:xfrm>
            <a:off x="7118684" y="233915"/>
            <a:ext cx="5073316" cy="5943600"/>
          </a:xfrm>
          <a:prstGeom prst="rect">
            <a:avLst/>
          </a:prstGeom>
          <a:noFill/>
          <a:ln>
            <a:noFill/>
          </a:ln>
        </p:spPr>
      </p:sp>
      <p:grpSp>
        <p:nvGrpSpPr>
          <p:cNvPr id="980" name="Google Shape;980;p132"/>
          <p:cNvGrpSpPr/>
          <p:nvPr/>
        </p:nvGrpSpPr>
        <p:grpSpPr>
          <a:xfrm>
            <a:off x="0" y="5020348"/>
            <a:ext cx="12192000" cy="1837653"/>
            <a:chOff x="0" y="5020348"/>
            <a:chExt cx="12192000" cy="1837653"/>
          </a:xfrm>
        </p:grpSpPr>
        <p:sp>
          <p:nvSpPr>
            <p:cNvPr id="981" name="Google Shape;981;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2" name="Google Shape;982;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3" name="Google Shape;983;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984"/>
        <p:cNvGrpSpPr/>
        <p:nvPr/>
      </p:nvGrpSpPr>
      <p:grpSpPr>
        <a:xfrm>
          <a:off x="0" y="0"/>
          <a:ext cx="0" cy="0"/>
          <a:chOff x="0" y="0"/>
          <a:chExt cx="0" cy="0"/>
        </a:xfrm>
      </p:grpSpPr>
      <p:grpSp>
        <p:nvGrpSpPr>
          <p:cNvPr id="985" name="Google Shape;985;p133"/>
          <p:cNvGrpSpPr/>
          <p:nvPr/>
        </p:nvGrpSpPr>
        <p:grpSpPr>
          <a:xfrm>
            <a:off x="0" y="5020347"/>
            <a:ext cx="12192000" cy="1837653"/>
            <a:chOff x="0" y="5020347"/>
            <a:chExt cx="12192000" cy="1837653"/>
          </a:xfrm>
        </p:grpSpPr>
        <p:sp>
          <p:nvSpPr>
            <p:cNvPr id="986" name="Google Shape;986;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 name="Google Shape;988;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 name="Google Shape;989;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0" name="Google Shape;990;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 name="Google Shape;991;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2"/>
        <p:cNvGrpSpPr/>
        <p:nvPr/>
      </p:nvGrpSpPr>
      <p:grpSpPr>
        <a:xfrm>
          <a:off x="0" y="0"/>
          <a:ext cx="0" cy="0"/>
          <a:chOff x="0" y="0"/>
          <a:chExt cx="0" cy="0"/>
        </a:xfrm>
      </p:grpSpPr>
      <p:sp>
        <p:nvSpPr>
          <p:cNvPr id="993" name="Google Shape;993;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4" name="Google Shape;994;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5" name="Google Shape;995;p134"/>
          <p:cNvGrpSpPr/>
          <p:nvPr/>
        </p:nvGrpSpPr>
        <p:grpSpPr>
          <a:xfrm>
            <a:off x="0" y="5379426"/>
            <a:ext cx="2807368" cy="753891"/>
            <a:chOff x="0" y="5379426"/>
            <a:chExt cx="2807368" cy="753891"/>
          </a:xfrm>
        </p:grpSpPr>
        <p:sp>
          <p:nvSpPr>
            <p:cNvPr id="996" name="Google Shape;996;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7" name="Google Shape;997;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98" name="Google Shape;998;p134"/>
          <p:cNvSpPr>
            <a:spLocks noGrp="1"/>
          </p:cNvSpPr>
          <p:nvPr>
            <p:ph type="pic" idx="2"/>
          </p:nvPr>
        </p:nvSpPr>
        <p:spPr>
          <a:xfrm>
            <a:off x="2807368" y="457202"/>
            <a:ext cx="8915400" cy="5943598"/>
          </a:xfrm>
          <a:prstGeom prst="rect">
            <a:avLst/>
          </a:prstGeom>
          <a:noFill/>
          <a:ln>
            <a:noFill/>
          </a:ln>
        </p:spPr>
      </p:sp>
      <p:pic>
        <p:nvPicPr>
          <p:cNvPr id="999" name="Google Shape;999;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00"/>
        <p:cNvGrpSpPr/>
        <p:nvPr/>
      </p:nvGrpSpPr>
      <p:grpSpPr>
        <a:xfrm>
          <a:off x="0" y="0"/>
          <a:ext cx="0" cy="0"/>
          <a:chOff x="0" y="0"/>
          <a:chExt cx="0" cy="0"/>
        </a:xfrm>
      </p:grpSpPr>
      <p:sp>
        <p:nvSpPr>
          <p:cNvPr id="1001" name="Google Shape;1001;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 name="Google Shape;1002;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 name="Google Shape;1003;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 name="Google Shape;1004;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5" name="Google Shape;1005;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 name="Google Shape;1006;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 name="Google Shape;1007;p135"/>
          <p:cNvGrpSpPr/>
          <p:nvPr/>
        </p:nvGrpSpPr>
        <p:grpSpPr>
          <a:xfrm>
            <a:off x="7191542" y="1"/>
            <a:ext cx="5000459" cy="1425992"/>
            <a:chOff x="7191542" y="1"/>
            <a:chExt cx="5000459" cy="1425992"/>
          </a:xfrm>
        </p:grpSpPr>
        <p:pic>
          <p:nvPicPr>
            <p:cNvPr id="1008" name="Google Shape;1008;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135"/>
            <p:cNvGrpSpPr/>
            <p:nvPr/>
          </p:nvGrpSpPr>
          <p:grpSpPr>
            <a:xfrm>
              <a:off x="7191542" y="1"/>
              <a:ext cx="5000459" cy="1425992"/>
              <a:chOff x="7186272" y="0"/>
              <a:chExt cx="5005729" cy="1427495"/>
            </a:xfrm>
          </p:grpSpPr>
          <p:sp>
            <p:nvSpPr>
              <p:cNvPr id="1010" name="Google Shape;1010;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 name="Google Shape;1011;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2" name="Google Shape;1012;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13"/>
        <p:cNvGrpSpPr/>
        <p:nvPr/>
      </p:nvGrpSpPr>
      <p:grpSpPr>
        <a:xfrm>
          <a:off x="0" y="0"/>
          <a:ext cx="0" cy="0"/>
          <a:chOff x="0" y="0"/>
          <a:chExt cx="0" cy="0"/>
        </a:xfrm>
      </p:grpSpPr>
      <p:grpSp>
        <p:nvGrpSpPr>
          <p:cNvPr id="1014" name="Google Shape;1014;p136"/>
          <p:cNvGrpSpPr/>
          <p:nvPr/>
        </p:nvGrpSpPr>
        <p:grpSpPr>
          <a:xfrm>
            <a:off x="7191542" y="1"/>
            <a:ext cx="5000459" cy="1425992"/>
            <a:chOff x="7191542" y="1"/>
            <a:chExt cx="5000459" cy="1425992"/>
          </a:xfrm>
        </p:grpSpPr>
        <p:pic>
          <p:nvPicPr>
            <p:cNvPr id="1015" name="Google Shape;1015;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36"/>
            <p:cNvGrpSpPr/>
            <p:nvPr/>
          </p:nvGrpSpPr>
          <p:grpSpPr>
            <a:xfrm>
              <a:off x="7191542" y="1"/>
              <a:ext cx="5000459" cy="1425992"/>
              <a:chOff x="7186272" y="0"/>
              <a:chExt cx="5005729" cy="1427495"/>
            </a:xfrm>
          </p:grpSpPr>
          <p:sp>
            <p:nvSpPr>
              <p:cNvPr id="1017" name="Google Shape;1017;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 name="Google Shape;1018;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9" name="Google Shape;1019;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 name="Google Shape;1020;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 name="Google Shape;1021;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 name="Google Shape;1022;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3" name="Google Shape;1023;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24"/>
        <p:cNvGrpSpPr/>
        <p:nvPr/>
      </p:nvGrpSpPr>
      <p:grpSpPr>
        <a:xfrm>
          <a:off x="0" y="0"/>
          <a:ext cx="0" cy="0"/>
          <a:chOff x="0" y="0"/>
          <a:chExt cx="0" cy="0"/>
        </a:xfrm>
      </p:grpSpPr>
      <p:sp>
        <p:nvSpPr>
          <p:cNvPr id="1025" name="Google Shape;102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7" name="Google Shape;1027;p137"/>
          <p:cNvGrpSpPr/>
          <p:nvPr/>
        </p:nvGrpSpPr>
        <p:grpSpPr>
          <a:xfrm>
            <a:off x="7191542" y="1"/>
            <a:ext cx="5000459" cy="1425992"/>
            <a:chOff x="7191542" y="1"/>
            <a:chExt cx="5000459" cy="1425992"/>
          </a:xfrm>
        </p:grpSpPr>
        <p:pic>
          <p:nvPicPr>
            <p:cNvPr id="1028" name="Google Shape;1028;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 name="Google Shape;1029;p137"/>
            <p:cNvGrpSpPr/>
            <p:nvPr/>
          </p:nvGrpSpPr>
          <p:grpSpPr>
            <a:xfrm>
              <a:off x="7191542" y="1"/>
              <a:ext cx="5000459" cy="1425992"/>
              <a:chOff x="7186272" y="0"/>
              <a:chExt cx="5005729" cy="1427495"/>
            </a:xfrm>
          </p:grpSpPr>
          <p:sp>
            <p:nvSpPr>
              <p:cNvPr id="1030" name="Google Shape;1030;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1" name="Google Shape;1031;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32" name="Google Shape;1032;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6"/>
        <p:cNvGrpSpPr/>
        <p:nvPr/>
      </p:nvGrpSpPr>
      <p:grpSpPr>
        <a:xfrm>
          <a:off x="0" y="0"/>
          <a:ext cx="0" cy="0"/>
          <a:chOff x="0" y="0"/>
          <a:chExt cx="0" cy="0"/>
        </a:xfrm>
      </p:grpSpPr>
      <p:grpSp>
        <p:nvGrpSpPr>
          <p:cNvPr id="1037" name="Google Shape;1037;p138"/>
          <p:cNvGrpSpPr/>
          <p:nvPr/>
        </p:nvGrpSpPr>
        <p:grpSpPr>
          <a:xfrm>
            <a:off x="7191542" y="1"/>
            <a:ext cx="5000459" cy="1425992"/>
            <a:chOff x="7191542" y="1"/>
            <a:chExt cx="5000459" cy="1425992"/>
          </a:xfrm>
        </p:grpSpPr>
        <p:pic>
          <p:nvPicPr>
            <p:cNvPr id="1038" name="Google Shape;10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8"/>
            <p:cNvGrpSpPr/>
            <p:nvPr/>
          </p:nvGrpSpPr>
          <p:grpSpPr>
            <a:xfrm>
              <a:off x="7191542" y="1"/>
              <a:ext cx="5000459" cy="1425992"/>
              <a:chOff x="7186272" y="0"/>
              <a:chExt cx="5005729" cy="1427495"/>
            </a:xfrm>
          </p:grpSpPr>
          <p:sp>
            <p:nvSpPr>
              <p:cNvPr id="1040" name="Google Shape;10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4" name="Google Shape;1044;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 name="Google Shape;1045;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6" name="Google Shape;1046;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 name="Google Shape;1047;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 name="Google Shape;1048;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 name="Google Shape;1049;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0"/>
        <p:cNvGrpSpPr/>
        <p:nvPr/>
      </p:nvGrpSpPr>
      <p:grpSpPr>
        <a:xfrm>
          <a:off x="0" y="0"/>
          <a:ext cx="0" cy="0"/>
          <a:chOff x="0" y="0"/>
          <a:chExt cx="0" cy="0"/>
        </a:xfrm>
      </p:grpSpPr>
      <p:grpSp>
        <p:nvGrpSpPr>
          <p:cNvPr id="1051" name="Google Shape;1051;p139"/>
          <p:cNvGrpSpPr/>
          <p:nvPr/>
        </p:nvGrpSpPr>
        <p:grpSpPr>
          <a:xfrm>
            <a:off x="7191542" y="1"/>
            <a:ext cx="5000459" cy="1425992"/>
            <a:chOff x="7191542" y="1"/>
            <a:chExt cx="5000459" cy="1425992"/>
          </a:xfrm>
        </p:grpSpPr>
        <p:pic>
          <p:nvPicPr>
            <p:cNvPr id="1052" name="Google Shape;1052;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 name="Google Shape;1053;p139"/>
            <p:cNvGrpSpPr/>
            <p:nvPr/>
          </p:nvGrpSpPr>
          <p:grpSpPr>
            <a:xfrm>
              <a:off x="7191542" y="1"/>
              <a:ext cx="5000459" cy="1425992"/>
              <a:chOff x="7186272" y="0"/>
              <a:chExt cx="5005729" cy="1427495"/>
            </a:xfrm>
          </p:grpSpPr>
          <p:sp>
            <p:nvSpPr>
              <p:cNvPr id="1054" name="Google Shape;1054;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 name="Google Shape;1055;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 name="Google Shape;1056;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 name="Google Shape;1058;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 name="Google Shape;1059;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
        <p:cNvGrpSpPr/>
        <p:nvPr/>
      </p:nvGrpSpPr>
      <p:grpSpPr>
        <a:xfrm>
          <a:off x="0" y="0"/>
          <a:ext cx="0" cy="0"/>
          <a:chOff x="0" y="0"/>
          <a:chExt cx="0" cy="0"/>
        </a:xfrm>
      </p:grpSpPr>
      <p:grpSp>
        <p:nvGrpSpPr>
          <p:cNvPr id="1061" name="Google Shape;1061;p140"/>
          <p:cNvGrpSpPr/>
          <p:nvPr/>
        </p:nvGrpSpPr>
        <p:grpSpPr>
          <a:xfrm>
            <a:off x="0" y="0"/>
            <a:ext cx="12192000" cy="2148830"/>
            <a:chOff x="0" y="0"/>
            <a:chExt cx="12192000" cy="2148830"/>
          </a:xfrm>
        </p:grpSpPr>
        <p:sp>
          <p:nvSpPr>
            <p:cNvPr id="1062" name="Google Shape;1062;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 name="Google Shape;1063;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4" name="Google Shape;1064;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 name="Google Shape;1065;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 name="Google Shape;1066;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7" name="Google Shape;1067;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8" name="Google Shape;1068;p1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9"/>
        <p:cNvGrpSpPr/>
        <p:nvPr/>
      </p:nvGrpSpPr>
      <p:grpSpPr>
        <a:xfrm>
          <a:off x="0" y="0"/>
          <a:ext cx="0" cy="0"/>
          <a:chOff x="0" y="0"/>
          <a:chExt cx="0" cy="0"/>
        </a:xfrm>
      </p:grpSpPr>
      <p:sp>
        <p:nvSpPr>
          <p:cNvPr id="1070" name="Google Shape;1070;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 name="Google Shape;1073;p141"/>
          <p:cNvGrpSpPr/>
          <p:nvPr/>
        </p:nvGrpSpPr>
        <p:grpSpPr>
          <a:xfrm>
            <a:off x="7191542" y="1"/>
            <a:ext cx="5000459" cy="1425992"/>
            <a:chOff x="7191542" y="1"/>
            <a:chExt cx="5000459" cy="1425992"/>
          </a:xfrm>
        </p:grpSpPr>
        <p:pic>
          <p:nvPicPr>
            <p:cNvPr id="1074" name="Google Shape;1074;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 name="Google Shape;1075;p141"/>
            <p:cNvGrpSpPr/>
            <p:nvPr/>
          </p:nvGrpSpPr>
          <p:grpSpPr>
            <a:xfrm>
              <a:off x="7191542" y="1"/>
              <a:ext cx="5000459" cy="1425992"/>
              <a:chOff x="7186272" y="0"/>
              <a:chExt cx="5005729" cy="1427495"/>
            </a:xfrm>
          </p:grpSpPr>
          <p:sp>
            <p:nvSpPr>
              <p:cNvPr id="1076" name="Google Shape;1076;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7" name="Google Shape;1077;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78"/>
        <p:cNvGrpSpPr/>
        <p:nvPr/>
      </p:nvGrpSpPr>
      <p:grpSpPr>
        <a:xfrm>
          <a:off x="0" y="0"/>
          <a:ext cx="0" cy="0"/>
          <a:chOff x="0" y="0"/>
          <a:chExt cx="0" cy="0"/>
        </a:xfrm>
      </p:grpSpPr>
      <p:sp>
        <p:nvSpPr>
          <p:cNvPr id="1079" name="Google Shape;1079;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 name="Google Shape;1081;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2" name="Google Shape;1082;p142"/>
          <p:cNvSpPr>
            <a:spLocks noGrp="1"/>
          </p:cNvSpPr>
          <p:nvPr>
            <p:ph type="pic" idx="2"/>
          </p:nvPr>
        </p:nvSpPr>
        <p:spPr>
          <a:xfrm>
            <a:off x="7118684" y="233915"/>
            <a:ext cx="5073316" cy="5943600"/>
          </a:xfrm>
          <a:prstGeom prst="rect">
            <a:avLst/>
          </a:prstGeom>
          <a:noFill/>
          <a:ln>
            <a:noFill/>
          </a:ln>
        </p:spPr>
      </p:sp>
      <p:grpSp>
        <p:nvGrpSpPr>
          <p:cNvPr id="1083" name="Google Shape;1083;p142"/>
          <p:cNvGrpSpPr/>
          <p:nvPr/>
        </p:nvGrpSpPr>
        <p:grpSpPr>
          <a:xfrm>
            <a:off x="0" y="5020348"/>
            <a:ext cx="12192000" cy="1837653"/>
            <a:chOff x="0" y="5020348"/>
            <a:chExt cx="12192000" cy="1837653"/>
          </a:xfrm>
        </p:grpSpPr>
        <p:sp>
          <p:nvSpPr>
            <p:cNvPr id="1084" name="Google Shape;1084;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5" name="Google Shape;1085;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6" name="Google Shape;1086;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087"/>
        <p:cNvGrpSpPr/>
        <p:nvPr/>
      </p:nvGrpSpPr>
      <p:grpSpPr>
        <a:xfrm>
          <a:off x="0" y="0"/>
          <a:ext cx="0" cy="0"/>
          <a:chOff x="0" y="0"/>
          <a:chExt cx="0" cy="0"/>
        </a:xfrm>
      </p:grpSpPr>
      <p:grpSp>
        <p:nvGrpSpPr>
          <p:cNvPr id="1088" name="Google Shape;1088;p143"/>
          <p:cNvGrpSpPr/>
          <p:nvPr/>
        </p:nvGrpSpPr>
        <p:grpSpPr>
          <a:xfrm>
            <a:off x="0" y="5020347"/>
            <a:ext cx="12192000" cy="1837653"/>
            <a:chOff x="0" y="5020347"/>
            <a:chExt cx="12192000" cy="1837653"/>
          </a:xfrm>
        </p:grpSpPr>
        <p:sp>
          <p:nvSpPr>
            <p:cNvPr id="1089" name="Google Shape;1089;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0" name="Google Shape;1090;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1" name="Google Shape;1091;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92" name="Google Shape;1092;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93" name="Google Shape;1093;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 name="Google Shape;1094;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95"/>
        <p:cNvGrpSpPr/>
        <p:nvPr/>
      </p:nvGrpSpPr>
      <p:grpSpPr>
        <a:xfrm>
          <a:off x="0" y="0"/>
          <a:ext cx="0" cy="0"/>
          <a:chOff x="0" y="0"/>
          <a:chExt cx="0" cy="0"/>
        </a:xfrm>
      </p:grpSpPr>
      <p:sp>
        <p:nvSpPr>
          <p:cNvPr id="1096" name="Google Shape;1096;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7" name="Google Shape;1097;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8" name="Google Shape;1098;p144"/>
          <p:cNvGrpSpPr/>
          <p:nvPr/>
        </p:nvGrpSpPr>
        <p:grpSpPr>
          <a:xfrm>
            <a:off x="0" y="5379426"/>
            <a:ext cx="2807368" cy="753891"/>
            <a:chOff x="0" y="5379426"/>
            <a:chExt cx="2807368" cy="753891"/>
          </a:xfrm>
        </p:grpSpPr>
        <p:sp>
          <p:nvSpPr>
            <p:cNvPr id="1099" name="Google Shape;1099;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 name="Google Shape;1100;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1" name="Google Shape;1101;p144"/>
          <p:cNvSpPr>
            <a:spLocks noGrp="1"/>
          </p:cNvSpPr>
          <p:nvPr>
            <p:ph type="pic" idx="2"/>
          </p:nvPr>
        </p:nvSpPr>
        <p:spPr>
          <a:xfrm>
            <a:off x="2807368" y="457202"/>
            <a:ext cx="8915400" cy="5943598"/>
          </a:xfrm>
          <a:prstGeom prst="rect">
            <a:avLst/>
          </a:prstGeom>
          <a:noFill/>
          <a:ln>
            <a:noFill/>
          </a:ln>
        </p:spPr>
      </p:sp>
      <p:pic>
        <p:nvPicPr>
          <p:cNvPr id="1102" name="Google Shape;1102;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
        <p:cNvGrpSpPr/>
        <p:nvPr/>
      </p:nvGrpSpPr>
      <p:grpSpPr>
        <a:xfrm>
          <a:off x="0" y="0"/>
          <a:ext cx="0" cy="0"/>
          <a:chOff x="0" y="0"/>
          <a:chExt cx="0" cy="0"/>
        </a:xfrm>
      </p:grpSpPr>
      <p:sp>
        <p:nvSpPr>
          <p:cNvPr id="1104" name="Google Shape;1104;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5" name="Google Shape;1105;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6" name="Google Shape;1106;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 name="Google Shape;1107;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 name="Google Shape;1108;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 name="Google Shape;1109;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 name="Google Shape;1110;p145"/>
          <p:cNvGrpSpPr/>
          <p:nvPr/>
        </p:nvGrpSpPr>
        <p:grpSpPr>
          <a:xfrm>
            <a:off x="7191542" y="1"/>
            <a:ext cx="5000459" cy="1425992"/>
            <a:chOff x="7191542" y="1"/>
            <a:chExt cx="5000459" cy="1425992"/>
          </a:xfrm>
        </p:grpSpPr>
        <p:pic>
          <p:nvPicPr>
            <p:cNvPr id="1111" name="Google Shape;1111;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2" name="Google Shape;1112;p145"/>
            <p:cNvGrpSpPr/>
            <p:nvPr/>
          </p:nvGrpSpPr>
          <p:grpSpPr>
            <a:xfrm>
              <a:off x="7191542" y="1"/>
              <a:ext cx="5000459" cy="1425992"/>
              <a:chOff x="7186272" y="0"/>
              <a:chExt cx="5005729" cy="1427495"/>
            </a:xfrm>
          </p:grpSpPr>
          <p:sp>
            <p:nvSpPr>
              <p:cNvPr id="1113" name="Google Shape;1113;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 name="Google Shape;1114;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5" name="Google Shape;1115;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116"/>
        <p:cNvGrpSpPr/>
        <p:nvPr/>
      </p:nvGrpSpPr>
      <p:grpSpPr>
        <a:xfrm>
          <a:off x="0" y="0"/>
          <a:ext cx="0" cy="0"/>
          <a:chOff x="0" y="0"/>
          <a:chExt cx="0" cy="0"/>
        </a:xfrm>
      </p:grpSpPr>
      <p:grpSp>
        <p:nvGrpSpPr>
          <p:cNvPr id="1117" name="Google Shape;1117;p146"/>
          <p:cNvGrpSpPr/>
          <p:nvPr/>
        </p:nvGrpSpPr>
        <p:grpSpPr>
          <a:xfrm>
            <a:off x="7191542" y="1"/>
            <a:ext cx="5000459" cy="1425992"/>
            <a:chOff x="7191542" y="1"/>
            <a:chExt cx="5000459" cy="1425992"/>
          </a:xfrm>
        </p:grpSpPr>
        <p:pic>
          <p:nvPicPr>
            <p:cNvPr id="1118" name="Google Shape;1118;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46"/>
            <p:cNvGrpSpPr/>
            <p:nvPr/>
          </p:nvGrpSpPr>
          <p:grpSpPr>
            <a:xfrm>
              <a:off x="7191542" y="1"/>
              <a:ext cx="5000459" cy="1425992"/>
              <a:chOff x="7186272" y="0"/>
              <a:chExt cx="5005729" cy="1427495"/>
            </a:xfrm>
          </p:grpSpPr>
          <p:sp>
            <p:nvSpPr>
              <p:cNvPr id="1120" name="Google Shape;1120;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 name="Google Shape;1121;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2" name="Google Shape;1122;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 name="Google Shape;1123;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7"/>
        <p:cNvGrpSpPr/>
        <p:nvPr/>
      </p:nvGrpSpPr>
      <p:grpSpPr>
        <a:xfrm>
          <a:off x="0" y="0"/>
          <a:ext cx="0" cy="0"/>
          <a:chOff x="0" y="0"/>
          <a:chExt cx="0" cy="0"/>
        </a:xfrm>
      </p:grpSpPr>
      <p:sp>
        <p:nvSpPr>
          <p:cNvPr id="1128" name="Google Shape;1128;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0" name="Google Shape;1130;p147"/>
          <p:cNvGrpSpPr/>
          <p:nvPr/>
        </p:nvGrpSpPr>
        <p:grpSpPr>
          <a:xfrm>
            <a:off x="7191542" y="1"/>
            <a:ext cx="5000459" cy="1425992"/>
            <a:chOff x="7191542" y="1"/>
            <a:chExt cx="5000459" cy="1425992"/>
          </a:xfrm>
        </p:grpSpPr>
        <p:pic>
          <p:nvPicPr>
            <p:cNvPr id="1131" name="Google Shape;1131;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2" name="Google Shape;1132;p147"/>
            <p:cNvGrpSpPr/>
            <p:nvPr/>
          </p:nvGrpSpPr>
          <p:grpSpPr>
            <a:xfrm>
              <a:off x="7191542" y="1"/>
              <a:ext cx="5000459" cy="1425992"/>
              <a:chOff x="7186272" y="0"/>
              <a:chExt cx="5005729" cy="1427495"/>
            </a:xfrm>
          </p:grpSpPr>
          <p:sp>
            <p:nvSpPr>
              <p:cNvPr id="1133" name="Google Shape;1133;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4" name="Google Shape;1134;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5" name="Google Shape;1135;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 name="Google Shape;1136;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 name="Google Shape;1137;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8" name="Google Shape;1138;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39"/>
        <p:cNvGrpSpPr/>
        <p:nvPr/>
      </p:nvGrpSpPr>
      <p:grpSpPr>
        <a:xfrm>
          <a:off x="0" y="0"/>
          <a:ext cx="0" cy="0"/>
          <a:chOff x="0" y="0"/>
          <a:chExt cx="0" cy="0"/>
        </a:xfrm>
      </p:grpSpPr>
      <p:grpSp>
        <p:nvGrpSpPr>
          <p:cNvPr id="1140" name="Google Shape;1140;p148"/>
          <p:cNvGrpSpPr/>
          <p:nvPr/>
        </p:nvGrpSpPr>
        <p:grpSpPr>
          <a:xfrm>
            <a:off x="7191542" y="1"/>
            <a:ext cx="5000459" cy="1425992"/>
            <a:chOff x="7191542" y="1"/>
            <a:chExt cx="5000459" cy="1425992"/>
          </a:xfrm>
        </p:grpSpPr>
        <p:pic>
          <p:nvPicPr>
            <p:cNvPr id="1141" name="Google Shape;1141;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8"/>
            <p:cNvGrpSpPr/>
            <p:nvPr/>
          </p:nvGrpSpPr>
          <p:grpSpPr>
            <a:xfrm>
              <a:off x="7191542" y="1"/>
              <a:ext cx="5000459" cy="1425992"/>
              <a:chOff x="7186272" y="0"/>
              <a:chExt cx="5005729" cy="1427495"/>
            </a:xfrm>
          </p:grpSpPr>
          <p:sp>
            <p:nvSpPr>
              <p:cNvPr id="1143" name="Google Shape;1143;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7" name="Google Shape;1147;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 name="Google Shape;1148;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 name="Google Shape;1151;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 name="Google Shape;1152;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3"/>
        <p:cNvGrpSpPr/>
        <p:nvPr/>
      </p:nvGrpSpPr>
      <p:grpSpPr>
        <a:xfrm>
          <a:off x="0" y="0"/>
          <a:ext cx="0" cy="0"/>
          <a:chOff x="0" y="0"/>
          <a:chExt cx="0" cy="0"/>
        </a:xfrm>
      </p:grpSpPr>
      <p:grpSp>
        <p:nvGrpSpPr>
          <p:cNvPr id="1154" name="Google Shape;1154;p149"/>
          <p:cNvGrpSpPr/>
          <p:nvPr/>
        </p:nvGrpSpPr>
        <p:grpSpPr>
          <a:xfrm>
            <a:off x="7191542" y="1"/>
            <a:ext cx="5000459" cy="1425992"/>
            <a:chOff x="7191542" y="1"/>
            <a:chExt cx="5000459" cy="1425992"/>
          </a:xfrm>
        </p:grpSpPr>
        <p:pic>
          <p:nvPicPr>
            <p:cNvPr id="1155" name="Google Shape;1155;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6" name="Google Shape;1156;p149"/>
            <p:cNvGrpSpPr/>
            <p:nvPr/>
          </p:nvGrpSpPr>
          <p:grpSpPr>
            <a:xfrm>
              <a:off x="7191542" y="1"/>
              <a:ext cx="5000459" cy="1425992"/>
              <a:chOff x="7186272" y="0"/>
              <a:chExt cx="5005729" cy="1427495"/>
            </a:xfrm>
          </p:grpSpPr>
          <p:sp>
            <p:nvSpPr>
              <p:cNvPr id="1157" name="Google Shape;1157;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8" name="Google Shape;1158;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9" name="Google Shape;1159;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 name="Google Shape;1160;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1" name="Google Shape;1161;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 name="Google Shape;1162;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63"/>
        <p:cNvGrpSpPr/>
        <p:nvPr/>
      </p:nvGrpSpPr>
      <p:grpSpPr>
        <a:xfrm>
          <a:off x="0" y="0"/>
          <a:ext cx="0" cy="0"/>
          <a:chOff x="0" y="0"/>
          <a:chExt cx="0" cy="0"/>
        </a:xfrm>
      </p:grpSpPr>
      <p:grpSp>
        <p:nvGrpSpPr>
          <p:cNvPr id="1164" name="Google Shape;1164;p150"/>
          <p:cNvGrpSpPr/>
          <p:nvPr/>
        </p:nvGrpSpPr>
        <p:grpSpPr>
          <a:xfrm>
            <a:off x="0" y="0"/>
            <a:ext cx="12192000" cy="2148830"/>
            <a:chOff x="0" y="0"/>
            <a:chExt cx="12192000" cy="2148830"/>
          </a:xfrm>
        </p:grpSpPr>
        <p:sp>
          <p:nvSpPr>
            <p:cNvPr id="1165" name="Google Shape;1165;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 name="Google Shape;1166;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7" name="Google Shape;1167;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 name="Google Shape;1168;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0" name="Google Shape;1170;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1" name="Google Shape;1171;p1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72"/>
        <p:cNvGrpSpPr/>
        <p:nvPr/>
      </p:nvGrpSpPr>
      <p:grpSpPr>
        <a:xfrm>
          <a:off x="0" y="0"/>
          <a:ext cx="0" cy="0"/>
          <a:chOff x="0" y="0"/>
          <a:chExt cx="0" cy="0"/>
        </a:xfrm>
      </p:grpSpPr>
      <p:sp>
        <p:nvSpPr>
          <p:cNvPr id="1173" name="Google Shape;1173;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6" name="Google Shape;1176;p151"/>
          <p:cNvGrpSpPr/>
          <p:nvPr/>
        </p:nvGrpSpPr>
        <p:grpSpPr>
          <a:xfrm>
            <a:off x="7191542" y="1"/>
            <a:ext cx="5000459" cy="1425992"/>
            <a:chOff x="7191542" y="1"/>
            <a:chExt cx="5000459" cy="1425992"/>
          </a:xfrm>
        </p:grpSpPr>
        <p:pic>
          <p:nvPicPr>
            <p:cNvPr id="1177" name="Google Shape;1177;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8" name="Google Shape;1178;p151"/>
            <p:cNvGrpSpPr/>
            <p:nvPr/>
          </p:nvGrpSpPr>
          <p:grpSpPr>
            <a:xfrm>
              <a:off x="7191542" y="1"/>
              <a:ext cx="5000459" cy="1425992"/>
              <a:chOff x="7186272" y="0"/>
              <a:chExt cx="5005729" cy="1427495"/>
            </a:xfrm>
          </p:grpSpPr>
          <p:sp>
            <p:nvSpPr>
              <p:cNvPr id="1179" name="Google Shape;1179;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0" name="Google Shape;1180;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1"/>
        <p:cNvGrpSpPr/>
        <p:nvPr/>
      </p:nvGrpSpPr>
      <p:grpSpPr>
        <a:xfrm>
          <a:off x="0" y="0"/>
          <a:ext cx="0" cy="0"/>
          <a:chOff x="0" y="0"/>
          <a:chExt cx="0" cy="0"/>
        </a:xfrm>
      </p:grpSpPr>
      <p:sp>
        <p:nvSpPr>
          <p:cNvPr id="1182" name="Google Shape;1182;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3" name="Google Shape;1183;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 name="Google Shape;1184;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8" name="Google Shape;1188;p152"/>
          <p:cNvGrpSpPr/>
          <p:nvPr/>
        </p:nvGrpSpPr>
        <p:grpSpPr>
          <a:xfrm>
            <a:off x="7191542" y="1"/>
            <a:ext cx="5000459" cy="1425992"/>
            <a:chOff x="7191542" y="1"/>
            <a:chExt cx="5000459" cy="1425992"/>
          </a:xfrm>
        </p:grpSpPr>
        <p:pic>
          <p:nvPicPr>
            <p:cNvPr id="1189" name="Google Shape;1189;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0" name="Google Shape;1190;p152"/>
            <p:cNvGrpSpPr/>
            <p:nvPr/>
          </p:nvGrpSpPr>
          <p:grpSpPr>
            <a:xfrm>
              <a:off x="7191542" y="1"/>
              <a:ext cx="5000459" cy="1425992"/>
              <a:chOff x="7186272" y="0"/>
              <a:chExt cx="5005729" cy="1427495"/>
            </a:xfrm>
          </p:grpSpPr>
          <p:sp>
            <p:nvSpPr>
              <p:cNvPr id="1191" name="Google Shape;1191;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2" name="Google Shape;1192;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3" name="Google Shape;1193;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194"/>
        <p:cNvGrpSpPr/>
        <p:nvPr/>
      </p:nvGrpSpPr>
      <p:grpSpPr>
        <a:xfrm>
          <a:off x="0" y="0"/>
          <a:ext cx="0" cy="0"/>
          <a:chOff x="0" y="0"/>
          <a:chExt cx="0" cy="0"/>
        </a:xfrm>
      </p:grpSpPr>
      <p:sp>
        <p:nvSpPr>
          <p:cNvPr id="1195" name="Google Shape;1195;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6" name="Google Shape;1196;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97" name="Google Shape;1197;p153"/>
          <p:cNvGrpSpPr/>
          <p:nvPr/>
        </p:nvGrpSpPr>
        <p:grpSpPr>
          <a:xfrm flipH="1">
            <a:off x="-1" y="1"/>
            <a:ext cx="6418725" cy="1509822"/>
            <a:chOff x="7522541" y="1"/>
            <a:chExt cx="4669459" cy="1098357"/>
          </a:xfrm>
        </p:grpSpPr>
        <p:sp>
          <p:nvSpPr>
            <p:cNvPr id="1198" name="Google Shape;1198;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9" name="Google Shape;1199;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00" name="Google Shape;1200;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3" name="Google Shape;1203;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6" name="Google Shape;1206;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0" name="Google Shape;1210;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 name="Google Shape;121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4" name="Google Shape;1214;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5" name="Google Shape;1215;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0" name="Google Shape;1220;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2" name="Google Shape;1222;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4" name="Google Shape;1224;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5" name="Google Shape;1225;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0" name="Google Shape;1230;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1" name="Google Shape;1231;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35" name="Google Shape;1235;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7" name="Google Shape;1237;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8" name="Google Shape;1238;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1" name="Google Shape;1241;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2" name="Google Shape;1242;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45" name="Google Shape;1245;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9" name="Google Shape;1249;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1" name="Google Shape;1251;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3" name="Google Shape;1253;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4" name="Google Shape;1254;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8" name="Google Shape;1258;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9" name="Google Shape;1259;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64" name="Google Shape;1264;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6" name="Google Shape;1266;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7" name="Google Shape;1267;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0" name="Google Shape;1270;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1" name="Google Shape;1271;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74" name="Google Shape;1274;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8" name="Google Shape;1278;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0" name="Google Shape;1280;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2" name="Google Shape;1282;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3" name="Google Shape;1283;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8" name="Google Shape;1288;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93" name="Google Shape;1293;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5" name="Google Shape;1295;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6" name="Google Shape;1296;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9" name="Google Shape;129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0" name="Google Shape;1300;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03" name="Google Shape;1303;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7" name="Google Shape;1307;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9" name="Google Shape;1309;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1" name="Google Shape;1311;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2" name="Google Shape;1312;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7" name="Google Shape;1317;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1" name="Google Shape;1321;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2" name="Google Shape;1322;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6" name="Google Shape;1326;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7" name="Google Shape;1327;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8" name="Google Shape;1328;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32" name="Google Shape;1332;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4" name="Google Shape;1334;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5" name="Google Shape;1335;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8" name="Google Shape;1338;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9" name="Google Shape;1339;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42" name="Google Shape;1342;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43"/>
        <p:cNvGrpSpPr/>
        <p:nvPr/>
      </p:nvGrpSpPr>
      <p:grpSpPr>
        <a:xfrm>
          <a:off x="0" y="0"/>
          <a:ext cx="0" cy="0"/>
          <a:chOff x="0" y="0"/>
          <a:chExt cx="0" cy="0"/>
        </a:xfrm>
      </p:grpSpPr>
      <p:sp>
        <p:nvSpPr>
          <p:cNvPr id="1344" name="Google Shape;1344;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5" name="Google Shape;1345;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46" name="Google Shape;1346;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8" name="Google Shape;1348;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9"/>
        <p:cNvGrpSpPr/>
        <p:nvPr/>
      </p:nvGrpSpPr>
      <p:grpSpPr>
        <a:xfrm>
          <a:off x="0" y="0"/>
          <a:ext cx="0" cy="0"/>
          <a:chOff x="0" y="0"/>
          <a:chExt cx="0" cy="0"/>
        </a:xfrm>
      </p:grpSpPr>
      <p:sp>
        <p:nvSpPr>
          <p:cNvPr id="1350" name="Google Shape;1350;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1" name="Google Shape;1351;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52" name="Google Shape;1352;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53" name="Google Shape;1353;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54" name="Google Shape;1354;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5" name="Google Shape;1355;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56"/>
        <p:cNvGrpSpPr/>
        <p:nvPr/>
      </p:nvGrpSpPr>
      <p:grpSpPr>
        <a:xfrm>
          <a:off x="0" y="0"/>
          <a:ext cx="0" cy="0"/>
          <a:chOff x="0" y="0"/>
          <a:chExt cx="0" cy="0"/>
        </a:xfrm>
      </p:grpSpPr>
      <p:sp>
        <p:nvSpPr>
          <p:cNvPr id="1357" name="Google Shape;1357;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8" name="Google Shape;1358;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59" name="Google Shape;1359;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0" name="Google Shape;1360;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61" name="Google Shape;1361;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2" name="Google Shape;1362;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3" name="Google Shape;1363;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64" name="Google Shape;1364;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5" name="Google Shape;1365;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66"/>
        <p:cNvGrpSpPr/>
        <p:nvPr/>
      </p:nvGrpSpPr>
      <p:grpSpPr>
        <a:xfrm>
          <a:off x="0" y="0"/>
          <a:ext cx="0" cy="0"/>
          <a:chOff x="0" y="0"/>
          <a:chExt cx="0" cy="0"/>
        </a:xfrm>
      </p:grpSpPr>
      <p:sp>
        <p:nvSpPr>
          <p:cNvPr id="1367" name="Google Shape;1367;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8" name="Google Shape;1368;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9" name="Google Shape;1369;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1" name="Google Shape;1371;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 name="Google Shape;1372;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3" name="Google Shape;1373;p176"/>
          <p:cNvGrpSpPr/>
          <p:nvPr/>
        </p:nvGrpSpPr>
        <p:grpSpPr>
          <a:xfrm>
            <a:off x="7191542" y="1"/>
            <a:ext cx="5000459" cy="1425992"/>
            <a:chOff x="7191542" y="1"/>
            <a:chExt cx="5000459" cy="1425992"/>
          </a:xfrm>
        </p:grpSpPr>
        <p:pic>
          <p:nvPicPr>
            <p:cNvPr id="1374" name="Google Shape;1374;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5" name="Google Shape;1375;p176"/>
            <p:cNvGrpSpPr/>
            <p:nvPr/>
          </p:nvGrpSpPr>
          <p:grpSpPr>
            <a:xfrm>
              <a:off x="7191542" y="1"/>
              <a:ext cx="5000459" cy="1425992"/>
              <a:chOff x="7186272" y="0"/>
              <a:chExt cx="5005729" cy="1427495"/>
            </a:xfrm>
          </p:grpSpPr>
          <p:sp>
            <p:nvSpPr>
              <p:cNvPr id="1376" name="Google Shape;1376;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7" name="Google Shape;1377;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8" name="Google Shape;1378;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379"/>
        <p:cNvGrpSpPr/>
        <p:nvPr/>
      </p:nvGrpSpPr>
      <p:grpSpPr>
        <a:xfrm>
          <a:off x="0" y="0"/>
          <a:ext cx="0" cy="0"/>
          <a:chOff x="0" y="0"/>
          <a:chExt cx="0" cy="0"/>
        </a:xfrm>
      </p:grpSpPr>
      <p:sp>
        <p:nvSpPr>
          <p:cNvPr id="1380" name="Google Shape;1380;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89"/>
        <p:cNvGrpSpPr/>
        <p:nvPr/>
      </p:nvGrpSpPr>
      <p:grpSpPr>
        <a:xfrm>
          <a:off x="0" y="0"/>
          <a:ext cx="0" cy="0"/>
          <a:chOff x="0" y="0"/>
          <a:chExt cx="0" cy="0"/>
        </a:xfrm>
      </p:grpSpPr>
      <p:sp>
        <p:nvSpPr>
          <p:cNvPr id="1390" name="Google Shape;1390;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4" name="Google Shape;1394;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6" name="Google Shape;1396;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7" name="Google Shape;1397;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99"/>
        <p:cNvGrpSpPr/>
        <p:nvPr/>
      </p:nvGrpSpPr>
      <p:grpSpPr>
        <a:xfrm>
          <a:off x="0" y="0"/>
          <a:ext cx="0" cy="0"/>
          <a:chOff x="0" y="0"/>
          <a:chExt cx="0" cy="0"/>
        </a:xfrm>
      </p:grpSpPr>
      <p:sp>
        <p:nvSpPr>
          <p:cNvPr id="1400" name="Google Shape;1400;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1" name="Google Shape;1401;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2" name="Google Shape;1402;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3" name="Google Shape;1403;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405"/>
        <p:cNvGrpSpPr/>
        <p:nvPr/>
      </p:nvGrpSpPr>
      <p:grpSpPr>
        <a:xfrm>
          <a:off x="0" y="0"/>
          <a:ext cx="0" cy="0"/>
          <a:chOff x="0" y="0"/>
          <a:chExt cx="0" cy="0"/>
        </a:xfrm>
      </p:grpSpPr>
      <p:sp>
        <p:nvSpPr>
          <p:cNvPr id="1406" name="Google Shape;1406;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07" name="Google Shape;1407;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08" name="Google Shape;1408;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9" name="Google Shape;1409;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0" name="Google Shape;1410;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411"/>
        <p:cNvGrpSpPr/>
        <p:nvPr/>
      </p:nvGrpSpPr>
      <p:grpSpPr>
        <a:xfrm>
          <a:off x="0" y="0"/>
          <a:ext cx="0" cy="0"/>
          <a:chOff x="0" y="0"/>
          <a:chExt cx="0" cy="0"/>
        </a:xfrm>
      </p:grpSpPr>
      <p:sp>
        <p:nvSpPr>
          <p:cNvPr id="1412" name="Google Shape;1412;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3" name="Google Shape;1413;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4" name="Google Shape;1414;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17" name="Google Shape;1417;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418"/>
        <p:cNvGrpSpPr/>
        <p:nvPr/>
      </p:nvGrpSpPr>
      <p:grpSpPr>
        <a:xfrm>
          <a:off x="0" y="0"/>
          <a:ext cx="0" cy="0"/>
          <a:chOff x="0" y="0"/>
          <a:chExt cx="0" cy="0"/>
        </a:xfrm>
      </p:grpSpPr>
      <p:sp>
        <p:nvSpPr>
          <p:cNvPr id="1419" name="Google Shape;1419;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1" name="Google Shape;1421;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3" name="Google Shape;1423;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5" name="Google Shape;1425;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6" name="Google Shape;1426;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428"/>
        <p:cNvGrpSpPr/>
        <p:nvPr/>
      </p:nvGrpSpPr>
      <p:grpSpPr>
        <a:xfrm>
          <a:off x="0" y="0"/>
          <a:ext cx="0" cy="0"/>
          <a:chOff x="0" y="0"/>
          <a:chExt cx="0" cy="0"/>
        </a:xfrm>
      </p:grpSpPr>
      <p:sp>
        <p:nvSpPr>
          <p:cNvPr id="1429" name="Google Shape;1429;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0" name="Google Shape;1430;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1" name="Google Shape;1431;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434"/>
        <p:cNvGrpSpPr/>
        <p:nvPr/>
      </p:nvGrpSpPr>
      <p:grpSpPr>
        <a:xfrm>
          <a:off x="0" y="0"/>
          <a:ext cx="0" cy="0"/>
          <a:chOff x="0" y="0"/>
          <a:chExt cx="0" cy="0"/>
        </a:xfrm>
      </p:grpSpPr>
      <p:sp>
        <p:nvSpPr>
          <p:cNvPr id="1435" name="Google Shape;1435;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6" name="Google Shape;1436;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7" name="Google Shape;1437;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8" name="Google Shape;1438;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440"/>
        <p:cNvGrpSpPr/>
        <p:nvPr/>
      </p:nvGrpSpPr>
      <p:grpSpPr>
        <a:xfrm>
          <a:off x="0" y="0"/>
          <a:ext cx="0" cy="0"/>
          <a:chOff x="0" y="0"/>
          <a:chExt cx="0" cy="0"/>
        </a:xfrm>
      </p:grpSpPr>
      <p:sp>
        <p:nvSpPr>
          <p:cNvPr id="1441" name="Google Shape;1441;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2" name="Google Shape;1442;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3" name="Google Shape;1443;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6" name="Google Shape;1446;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447"/>
        <p:cNvGrpSpPr/>
        <p:nvPr/>
      </p:nvGrpSpPr>
      <p:grpSpPr>
        <a:xfrm>
          <a:off x="0" y="0"/>
          <a:ext cx="0" cy="0"/>
          <a:chOff x="0" y="0"/>
          <a:chExt cx="0" cy="0"/>
        </a:xfrm>
      </p:grpSpPr>
      <p:sp>
        <p:nvSpPr>
          <p:cNvPr id="1448" name="Google Shape;1448;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9" name="Google Shape;1449;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0" name="Google Shape;1450;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1" name="Google Shape;1451;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2" name="Google Shape;1452;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453"/>
        <p:cNvGrpSpPr/>
        <p:nvPr/>
      </p:nvGrpSpPr>
      <p:grpSpPr>
        <a:xfrm>
          <a:off x="0" y="0"/>
          <a:ext cx="0" cy="0"/>
          <a:chOff x="0" y="0"/>
          <a:chExt cx="0" cy="0"/>
        </a:xfrm>
      </p:grpSpPr>
      <p:sp>
        <p:nvSpPr>
          <p:cNvPr id="1454" name="Google Shape;1454;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5" name="Google Shape;1455;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56" name="Google Shape;1456;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7" name="Google Shape;1457;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8" name="Google Shape;1458;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459"/>
        <p:cNvGrpSpPr/>
        <p:nvPr/>
      </p:nvGrpSpPr>
      <p:grpSpPr>
        <a:xfrm>
          <a:off x="0" y="0"/>
          <a:ext cx="0" cy="0"/>
          <a:chOff x="0" y="0"/>
          <a:chExt cx="0" cy="0"/>
        </a:xfrm>
      </p:grpSpPr>
      <p:sp>
        <p:nvSpPr>
          <p:cNvPr id="1460" name="Google Shape;1460;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2" name="Google Shape;1462;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3" name="Google Shape;1463;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4" name="Google Shape;1464;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5" name="Google Shape;1465;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66"/>
        <p:cNvGrpSpPr/>
        <p:nvPr/>
      </p:nvGrpSpPr>
      <p:grpSpPr>
        <a:xfrm>
          <a:off x="0" y="0"/>
          <a:ext cx="0" cy="0"/>
          <a:chOff x="0" y="0"/>
          <a:chExt cx="0" cy="0"/>
        </a:xfrm>
      </p:grpSpPr>
      <p:sp>
        <p:nvSpPr>
          <p:cNvPr id="1467" name="Google Shape;1467;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8" name="Google Shape;1468;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9" name="Google Shape;1469;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70" name="Google Shape;1470;p189"/>
          <p:cNvSpPr>
            <a:spLocks noGrp="1"/>
          </p:cNvSpPr>
          <p:nvPr>
            <p:ph type="pic" idx="2"/>
          </p:nvPr>
        </p:nvSpPr>
        <p:spPr>
          <a:xfrm>
            <a:off x="7118684" y="233915"/>
            <a:ext cx="5073316" cy="5943600"/>
          </a:xfrm>
          <a:prstGeom prst="rect">
            <a:avLst/>
          </a:prstGeom>
          <a:noFill/>
          <a:ln>
            <a:noFill/>
          </a:ln>
        </p:spPr>
      </p:sp>
      <p:grpSp>
        <p:nvGrpSpPr>
          <p:cNvPr id="1471" name="Google Shape;1471;p189"/>
          <p:cNvGrpSpPr/>
          <p:nvPr/>
        </p:nvGrpSpPr>
        <p:grpSpPr>
          <a:xfrm>
            <a:off x="0" y="5020348"/>
            <a:ext cx="12192000" cy="1837653"/>
            <a:chOff x="0" y="5020348"/>
            <a:chExt cx="12192000" cy="1837653"/>
          </a:xfrm>
        </p:grpSpPr>
        <p:sp>
          <p:nvSpPr>
            <p:cNvPr id="1472" name="Google Shape;1472;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3" name="Google Shape;1473;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74" name="Google Shape;1474;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475"/>
        <p:cNvGrpSpPr/>
        <p:nvPr/>
      </p:nvGrpSpPr>
      <p:grpSpPr>
        <a:xfrm>
          <a:off x="0" y="0"/>
          <a:ext cx="0" cy="0"/>
          <a:chOff x="0" y="0"/>
          <a:chExt cx="0" cy="0"/>
        </a:xfrm>
      </p:grpSpPr>
      <p:grpSp>
        <p:nvGrpSpPr>
          <p:cNvPr id="1476" name="Google Shape;1476;p190"/>
          <p:cNvGrpSpPr/>
          <p:nvPr/>
        </p:nvGrpSpPr>
        <p:grpSpPr>
          <a:xfrm>
            <a:off x="0" y="5020347"/>
            <a:ext cx="12192000" cy="1837653"/>
            <a:chOff x="0" y="5020347"/>
            <a:chExt cx="12192000" cy="1837653"/>
          </a:xfrm>
        </p:grpSpPr>
        <p:sp>
          <p:nvSpPr>
            <p:cNvPr id="1477" name="Google Shape;1477;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8" name="Google Shape;1478;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9" name="Google Shape;1479;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0" name="Google Shape;1480;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1" name="Google Shape;1481;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2" name="Google Shape;1482;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83"/>
        <p:cNvGrpSpPr/>
        <p:nvPr/>
      </p:nvGrpSpPr>
      <p:grpSpPr>
        <a:xfrm>
          <a:off x="0" y="0"/>
          <a:ext cx="0" cy="0"/>
          <a:chOff x="0" y="0"/>
          <a:chExt cx="0" cy="0"/>
        </a:xfrm>
      </p:grpSpPr>
      <p:sp>
        <p:nvSpPr>
          <p:cNvPr id="1484" name="Google Shape;1484;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85" name="Google Shape;1485;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86" name="Google Shape;1486;p191"/>
          <p:cNvGrpSpPr/>
          <p:nvPr/>
        </p:nvGrpSpPr>
        <p:grpSpPr>
          <a:xfrm>
            <a:off x="0" y="5379426"/>
            <a:ext cx="2807368" cy="753891"/>
            <a:chOff x="0" y="5379426"/>
            <a:chExt cx="2807368" cy="753891"/>
          </a:xfrm>
        </p:grpSpPr>
        <p:sp>
          <p:nvSpPr>
            <p:cNvPr id="1487" name="Google Shape;1487;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88" name="Google Shape;1488;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89" name="Google Shape;1489;p191"/>
          <p:cNvSpPr>
            <a:spLocks noGrp="1"/>
          </p:cNvSpPr>
          <p:nvPr>
            <p:ph type="pic" idx="2"/>
          </p:nvPr>
        </p:nvSpPr>
        <p:spPr>
          <a:xfrm>
            <a:off x="2807368" y="457202"/>
            <a:ext cx="8915400" cy="5943598"/>
          </a:xfrm>
          <a:prstGeom prst="rect">
            <a:avLst/>
          </a:prstGeom>
          <a:noFill/>
          <a:ln>
            <a:noFill/>
          </a:ln>
        </p:spPr>
      </p:sp>
      <p:pic>
        <p:nvPicPr>
          <p:cNvPr id="1490" name="Google Shape;1490;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491"/>
        <p:cNvGrpSpPr/>
        <p:nvPr/>
      </p:nvGrpSpPr>
      <p:grpSpPr>
        <a:xfrm>
          <a:off x="0" y="0"/>
          <a:ext cx="0" cy="0"/>
          <a:chOff x="0" y="0"/>
          <a:chExt cx="0" cy="0"/>
        </a:xfrm>
      </p:grpSpPr>
      <p:sp>
        <p:nvSpPr>
          <p:cNvPr id="1492" name="Google Shape;1492;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3" name="Google Shape;1493;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4" name="Google Shape;1494;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5" name="Google Shape;1495;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6" name="Google Shape;1496;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7" name="Google Shape;1497;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98" name="Google Shape;1498;p192"/>
          <p:cNvGrpSpPr/>
          <p:nvPr/>
        </p:nvGrpSpPr>
        <p:grpSpPr>
          <a:xfrm>
            <a:off x="7191542" y="1"/>
            <a:ext cx="5000459" cy="1425992"/>
            <a:chOff x="7191542" y="1"/>
            <a:chExt cx="5000459" cy="1425992"/>
          </a:xfrm>
        </p:grpSpPr>
        <p:pic>
          <p:nvPicPr>
            <p:cNvPr id="1499" name="Google Shape;1499;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0" name="Google Shape;1500;p192"/>
            <p:cNvGrpSpPr/>
            <p:nvPr/>
          </p:nvGrpSpPr>
          <p:grpSpPr>
            <a:xfrm>
              <a:off x="7191542" y="1"/>
              <a:ext cx="5000459" cy="1425992"/>
              <a:chOff x="7186272" y="0"/>
              <a:chExt cx="5005729" cy="1427495"/>
            </a:xfrm>
          </p:grpSpPr>
          <p:sp>
            <p:nvSpPr>
              <p:cNvPr id="1501" name="Google Shape;1501;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2" name="Google Shape;1502;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03" name="Google Shape;1503;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504"/>
        <p:cNvGrpSpPr/>
        <p:nvPr/>
      </p:nvGrpSpPr>
      <p:grpSpPr>
        <a:xfrm>
          <a:off x="0" y="0"/>
          <a:ext cx="0" cy="0"/>
          <a:chOff x="0" y="0"/>
          <a:chExt cx="0" cy="0"/>
        </a:xfrm>
      </p:grpSpPr>
      <p:grpSp>
        <p:nvGrpSpPr>
          <p:cNvPr id="1505" name="Google Shape;1505;p193"/>
          <p:cNvGrpSpPr/>
          <p:nvPr/>
        </p:nvGrpSpPr>
        <p:grpSpPr>
          <a:xfrm>
            <a:off x="7191542" y="1"/>
            <a:ext cx="5000459" cy="1425992"/>
            <a:chOff x="7191542" y="1"/>
            <a:chExt cx="5000459" cy="1425992"/>
          </a:xfrm>
        </p:grpSpPr>
        <p:pic>
          <p:nvPicPr>
            <p:cNvPr id="1506" name="Google Shape;1506;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7" name="Google Shape;1507;p193"/>
            <p:cNvGrpSpPr/>
            <p:nvPr/>
          </p:nvGrpSpPr>
          <p:grpSpPr>
            <a:xfrm>
              <a:off x="7191542" y="1"/>
              <a:ext cx="5000459" cy="1425992"/>
              <a:chOff x="7186272" y="0"/>
              <a:chExt cx="5005729" cy="1427495"/>
            </a:xfrm>
          </p:grpSpPr>
          <p:sp>
            <p:nvSpPr>
              <p:cNvPr id="1508" name="Google Shape;1508;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9" name="Google Shape;1509;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0" name="Google Shape;1510;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1" name="Google Shape;1511;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515"/>
        <p:cNvGrpSpPr/>
        <p:nvPr/>
      </p:nvGrpSpPr>
      <p:grpSpPr>
        <a:xfrm>
          <a:off x="0" y="0"/>
          <a:ext cx="0" cy="0"/>
          <a:chOff x="0" y="0"/>
          <a:chExt cx="0" cy="0"/>
        </a:xfrm>
      </p:grpSpPr>
      <p:sp>
        <p:nvSpPr>
          <p:cNvPr id="1516" name="Google Shape;1516;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18" name="Google Shape;1518;p194"/>
          <p:cNvGrpSpPr/>
          <p:nvPr/>
        </p:nvGrpSpPr>
        <p:grpSpPr>
          <a:xfrm>
            <a:off x="7191542" y="1"/>
            <a:ext cx="5000459" cy="1425992"/>
            <a:chOff x="7191542" y="1"/>
            <a:chExt cx="5000459" cy="1425992"/>
          </a:xfrm>
        </p:grpSpPr>
        <p:pic>
          <p:nvPicPr>
            <p:cNvPr id="1519" name="Google Shape;1519;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0" name="Google Shape;1520;p194"/>
            <p:cNvGrpSpPr/>
            <p:nvPr/>
          </p:nvGrpSpPr>
          <p:grpSpPr>
            <a:xfrm>
              <a:off x="7191542" y="1"/>
              <a:ext cx="5000459" cy="1425992"/>
              <a:chOff x="7186272" y="0"/>
              <a:chExt cx="5005729" cy="1427495"/>
            </a:xfrm>
          </p:grpSpPr>
          <p:sp>
            <p:nvSpPr>
              <p:cNvPr id="1521" name="Google Shape;1521;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2" name="Google Shape;1522;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23" name="Google Shape;1523;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4" name="Google Shape;1524;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25" name="Google Shape;1525;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6" name="Google Shape;1526;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27"/>
        <p:cNvGrpSpPr/>
        <p:nvPr/>
      </p:nvGrpSpPr>
      <p:grpSpPr>
        <a:xfrm>
          <a:off x="0" y="0"/>
          <a:ext cx="0" cy="0"/>
          <a:chOff x="0" y="0"/>
          <a:chExt cx="0" cy="0"/>
        </a:xfrm>
      </p:grpSpPr>
      <p:grpSp>
        <p:nvGrpSpPr>
          <p:cNvPr id="1528" name="Google Shape;1528;p195"/>
          <p:cNvGrpSpPr/>
          <p:nvPr/>
        </p:nvGrpSpPr>
        <p:grpSpPr>
          <a:xfrm>
            <a:off x="7191542" y="1"/>
            <a:ext cx="5000459" cy="1425992"/>
            <a:chOff x="7191542" y="1"/>
            <a:chExt cx="5000459" cy="1425992"/>
          </a:xfrm>
        </p:grpSpPr>
        <p:pic>
          <p:nvPicPr>
            <p:cNvPr id="1529" name="Google Shape;152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5"/>
            <p:cNvGrpSpPr/>
            <p:nvPr/>
          </p:nvGrpSpPr>
          <p:grpSpPr>
            <a:xfrm>
              <a:off x="7191542" y="1"/>
              <a:ext cx="5000459" cy="1425992"/>
              <a:chOff x="7186272" y="0"/>
              <a:chExt cx="5005729" cy="1427495"/>
            </a:xfrm>
          </p:grpSpPr>
          <p:sp>
            <p:nvSpPr>
              <p:cNvPr id="1531" name="Google Shape;153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5" name="Google Shape;1535;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6" name="Google Shape;1536;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7" name="Google Shape;1537;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8" name="Google Shape;1538;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9" name="Google Shape;1539;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0" name="Google Shape;1540;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41"/>
        <p:cNvGrpSpPr/>
        <p:nvPr/>
      </p:nvGrpSpPr>
      <p:grpSpPr>
        <a:xfrm>
          <a:off x="0" y="0"/>
          <a:ext cx="0" cy="0"/>
          <a:chOff x="0" y="0"/>
          <a:chExt cx="0" cy="0"/>
        </a:xfrm>
      </p:grpSpPr>
      <p:grpSp>
        <p:nvGrpSpPr>
          <p:cNvPr id="1542" name="Google Shape;1542;p196"/>
          <p:cNvGrpSpPr/>
          <p:nvPr/>
        </p:nvGrpSpPr>
        <p:grpSpPr>
          <a:xfrm>
            <a:off x="7191542" y="1"/>
            <a:ext cx="5000459" cy="1425992"/>
            <a:chOff x="7191542" y="1"/>
            <a:chExt cx="5000459" cy="1425992"/>
          </a:xfrm>
        </p:grpSpPr>
        <p:pic>
          <p:nvPicPr>
            <p:cNvPr id="1543" name="Google Shape;1543;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4" name="Google Shape;1544;p196"/>
            <p:cNvGrpSpPr/>
            <p:nvPr/>
          </p:nvGrpSpPr>
          <p:grpSpPr>
            <a:xfrm>
              <a:off x="7191542" y="1"/>
              <a:ext cx="5000459" cy="1425992"/>
              <a:chOff x="7186272" y="0"/>
              <a:chExt cx="5005729" cy="1427495"/>
            </a:xfrm>
          </p:grpSpPr>
          <p:sp>
            <p:nvSpPr>
              <p:cNvPr id="1545" name="Google Shape;1545;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6" name="Google Shape;1546;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7" name="Google Shape;1547;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8" name="Google Shape;1548;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9" name="Google Shape;1549;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0" name="Google Shape;1550;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51"/>
        <p:cNvGrpSpPr/>
        <p:nvPr/>
      </p:nvGrpSpPr>
      <p:grpSpPr>
        <a:xfrm>
          <a:off x="0" y="0"/>
          <a:ext cx="0" cy="0"/>
          <a:chOff x="0" y="0"/>
          <a:chExt cx="0" cy="0"/>
        </a:xfrm>
      </p:grpSpPr>
      <p:grpSp>
        <p:nvGrpSpPr>
          <p:cNvPr id="1552" name="Google Shape;1552;p197"/>
          <p:cNvGrpSpPr/>
          <p:nvPr/>
        </p:nvGrpSpPr>
        <p:grpSpPr>
          <a:xfrm>
            <a:off x="0" y="0"/>
            <a:ext cx="12192000" cy="2148830"/>
            <a:chOff x="0" y="0"/>
            <a:chExt cx="12192000" cy="2148830"/>
          </a:xfrm>
        </p:grpSpPr>
        <p:sp>
          <p:nvSpPr>
            <p:cNvPr id="1553" name="Google Shape;1553;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4" name="Google Shape;1554;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55" name="Google Shape;1555;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6" name="Google Shape;1556;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7" name="Google Shape;1557;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58" name="Google Shape;1558;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59" name="Google Shape;1559;p1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60"/>
        <p:cNvGrpSpPr/>
        <p:nvPr/>
      </p:nvGrpSpPr>
      <p:grpSpPr>
        <a:xfrm>
          <a:off x="0" y="0"/>
          <a:ext cx="0" cy="0"/>
          <a:chOff x="0" y="0"/>
          <a:chExt cx="0" cy="0"/>
        </a:xfrm>
      </p:grpSpPr>
      <p:sp>
        <p:nvSpPr>
          <p:cNvPr id="1561" name="Google Shape;156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4" name="Google Shape;1564;p198"/>
          <p:cNvGrpSpPr/>
          <p:nvPr/>
        </p:nvGrpSpPr>
        <p:grpSpPr>
          <a:xfrm>
            <a:off x="7191542" y="1"/>
            <a:ext cx="5000459" cy="1425992"/>
            <a:chOff x="7191542" y="1"/>
            <a:chExt cx="5000459" cy="1425992"/>
          </a:xfrm>
        </p:grpSpPr>
        <p:pic>
          <p:nvPicPr>
            <p:cNvPr id="1565" name="Google Shape;1565;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6" name="Google Shape;1566;p198"/>
            <p:cNvGrpSpPr/>
            <p:nvPr/>
          </p:nvGrpSpPr>
          <p:grpSpPr>
            <a:xfrm>
              <a:off x="7191542" y="1"/>
              <a:ext cx="5000459" cy="1425992"/>
              <a:chOff x="7186272" y="0"/>
              <a:chExt cx="5005729" cy="1427495"/>
            </a:xfrm>
          </p:grpSpPr>
          <p:sp>
            <p:nvSpPr>
              <p:cNvPr id="1567" name="Google Shape;1567;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8" name="Google Shape;1568;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569"/>
        <p:cNvGrpSpPr/>
        <p:nvPr/>
      </p:nvGrpSpPr>
      <p:grpSpPr>
        <a:xfrm>
          <a:off x="0" y="0"/>
          <a:ext cx="0" cy="0"/>
          <a:chOff x="0" y="0"/>
          <a:chExt cx="0" cy="0"/>
        </a:xfrm>
      </p:grpSpPr>
      <p:sp>
        <p:nvSpPr>
          <p:cNvPr id="1570" name="Google Shape;1570;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1" name="Google Shape;1571;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 name="Google Shape;1572;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3" name="Google Shape;1573;p199"/>
          <p:cNvSpPr>
            <a:spLocks noGrp="1"/>
          </p:cNvSpPr>
          <p:nvPr>
            <p:ph type="pic" idx="2"/>
          </p:nvPr>
        </p:nvSpPr>
        <p:spPr>
          <a:xfrm>
            <a:off x="7118684" y="233915"/>
            <a:ext cx="5073316" cy="5943600"/>
          </a:xfrm>
          <a:prstGeom prst="rect">
            <a:avLst/>
          </a:prstGeom>
          <a:noFill/>
          <a:ln>
            <a:noFill/>
          </a:ln>
        </p:spPr>
      </p:sp>
      <p:grpSp>
        <p:nvGrpSpPr>
          <p:cNvPr id="1574" name="Google Shape;1574;p199"/>
          <p:cNvGrpSpPr/>
          <p:nvPr/>
        </p:nvGrpSpPr>
        <p:grpSpPr>
          <a:xfrm>
            <a:off x="0" y="5020348"/>
            <a:ext cx="12192000" cy="1837653"/>
            <a:chOff x="0" y="5020348"/>
            <a:chExt cx="12192000" cy="1837653"/>
          </a:xfrm>
        </p:grpSpPr>
        <p:sp>
          <p:nvSpPr>
            <p:cNvPr id="1575" name="Google Shape;1575;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6" name="Google Shape;1576;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77" name="Google Shape;1577;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578"/>
        <p:cNvGrpSpPr/>
        <p:nvPr/>
      </p:nvGrpSpPr>
      <p:grpSpPr>
        <a:xfrm>
          <a:off x="0" y="0"/>
          <a:ext cx="0" cy="0"/>
          <a:chOff x="0" y="0"/>
          <a:chExt cx="0" cy="0"/>
        </a:xfrm>
      </p:grpSpPr>
      <p:grpSp>
        <p:nvGrpSpPr>
          <p:cNvPr id="1579" name="Google Shape;1579;p200"/>
          <p:cNvGrpSpPr/>
          <p:nvPr/>
        </p:nvGrpSpPr>
        <p:grpSpPr>
          <a:xfrm>
            <a:off x="0" y="5020347"/>
            <a:ext cx="12192000" cy="1837653"/>
            <a:chOff x="0" y="5020347"/>
            <a:chExt cx="12192000" cy="1837653"/>
          </a:xfrm>
        </p:grpSpPr>
        <p:sp>
          <p:nvSpPr>
            <p:cNvPr id="1580" name="Google Shape;1580;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1" name="Google Shape;1581;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2" name="Google Shape;1582;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83" name="Google Shape;1583;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4" name="Google Shape;1584;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 name="Google Shape;1585;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86"/>
        <p:cNvGrpSpPr/>
        <p:nvPr/>
      </p:nvGrpSpPr>
      <p:grpSpPr>
        <a:xfrm>
          <a:off x="0" y="0"/>
          <a:ext cx="0" cy="0"/>
          <a:chOff x="0" y="0"/>
          <a:chExt cx="0" cy="0"/>
        </a:xfrm>
      </p:grpSpPr>
      <p:sp>
        <p:nvSpPr>
          <p:cNvPr id="1587" name="Google Shape;1587;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8" name="Google Shape;1588;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9" name="Google Shape;1589;p201"/>
          <p:cNvGrpSpPr/>
          <p:nvPr/>
        </p:nvGrpSpPr>
        <p:grpSpPr>
          <a:xfrm>
            <a:off x="0" y="5379426"/>
            <a:ext cx="2807368" cy="753891"/>
            <a:chOff x="0" y="5379426"/>
            <a:chExt cx="2807368" cy="753891"/>
          </a:xfrm>
        </p:grpSpPr>
        <p:sp>
          <p:nvSpPr>
            <p:cNvPr id="1590" name="Google Shape;1590;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1" name="Google Shape;1591;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92" name="Google Shape;1592;p201"/>
          <p:cNvSpPr>
            <a:spLocks noGrp="1"/>
          </p:cNvSpPr>
          <p:nvPr>
            <p:ph type="pic" idx="2"/>
          </p:nvPr>
        </p:nvSpPr>
        <p:spPr>
          <a:xfrm>
            <a:off x="2807368" y="457202"/>
            <a:ext cx="8915400" cy="5943598"/>
          </a:xfrm>
          <a:prstGeom prst="rect">
            <a:avLst/>
          </a:prstGeom>
          <a:noFill/>
          <a:ln>
            <a:noFill/>
          </a:ln>
        </p:spPr>
      </p:sp>
      <p:pic>
        <p:nvPicPr>
          <p:cNvPr id="1593" name="Google Shape;1593;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594"/>
        <p:cNvGrpSpPr/>
        <p:nvPr/>
      </p:nvGrpSpPr>
      <p:grpSpPr>
        <a:xfrm>
          <a:off x="0" y="0"/>
          <a:ext cx="0" cy="0"/>
          <a:chOff x="0" y="0"/>
          <a:chExt cx="0" cy="0"/>
        </a:xfrm>
      </p:grpSpPr>
      <p:sp>
        <p:nvSpPr>
          <p:cNvPr id="1595" name="Google Shape;1595;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6" name="Google Shape;1596;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 name="Google Shape;1597;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8" name="Google Shape;159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9" name="Google Shape;1599;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0" name="Google Shape;1600;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 name="Google Shape;1601;p202"/>
          <p:cNvGrpSpPr/>
          <p:nvPr/>
        </p:nvGrpSpPr>
        <p:grpSpPr>
          <a:xfrm>
            <a:off x="7191542" y="1"/>
            <a:ext cx="5000459" cy="1425992"/>
            <a:chOff x="7191542" y="1"/>
            <a:chExt cx="5000459" cy="1425992"/>
          </a:xfrm>
        </p:grpSpPr>
        <p:pic>
          <p:nvPicPr>
            <p:cNvPr id="1602" name="Google Shape;1602;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3" name="Google Shape;1603;p202"/>
            <p:cNvGrpSpPr/>
            <p:nvPr/>
          </p:nvGrpSpPr>
          <p:grpSpPr>
            <a:xfrm>
              <a:off x="7191542" y="1"/>
              <a:ext cx="5000459" cy="1425992"/>
              <a:chOff x="7186272" y="0"/>
              <a:chExt cx="5005729" cy="1427495"/>
            </a:xfrm>
          </p:grpSpPr>
          <p:sp>
            <p:nvSpPr>
              <p:cNvPr id="1604" name="Google Shape;1604;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5" name="Google Shape;1605;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06" name="Google Shape;1606;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607"/>
        <p:cNvGrpSpPr/>
        <p:nvPr/>
      </p:nvGrpSpPr>
      <p:grpSpPr>
        <a:xfrm>
          <a:off x="0" y="0"/>
          <a:ext cx="0" cy="0"/>
          <a:chOff x="0" y="0"/>
          <a:chExt cx="0" cy="0"/>
        </a:xfrm>
      </p:grpSpPr>
      <p:grpSp>
        <p:nvGrpSpPr>
          <p:cNvPr id="1608" name="Google Shape;1608;p203"/>
          <p:cNvGrpSpPr/>
          <p:nvPr/>
        </p:nvGrpSpPr>
        <p:grpSpPr>
          <a:xfrm>
            <a:off x="7191542" y="1"/>
            <a:ext cx="5000459" cy="1425992"/>
            <a:chOff x="7191542" y="1"/>
            <a:chExt cx="5000459" cy="1425992"/>
          </a:xfrm>
        </p:grpSpPr>
        <p:pic>
          <p:nvPicPr>
            <p:cNvPr id="1609" name="Google Shape;1609;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0" name="Google Shape;1610;p203"/>
            <p:cNvGrpSpPr/>
            <p:nvPr/>
          </p:nvGrpSpPr>
          <p:grpSpPr>
            <a:xfrm>
              <a:off x="7191542" y="1"/>
              <a:ext cx="5000459" cy="1425992"/>
              <a:chOff x="7186272" y="0"/>
              <a:chExt cx="5005729" cy="1427495"/>
            </a:xfrm>
          </p:grpSpPr>
          <p:sp>
            <p:nvSpPr>
              <p:cNvPr id="1611" name="Google Shape;1611;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2" name="Google Shape;1612;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3" name="Google Shape;1613;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 name="Google Shape;1614;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5" name="Google Shape;1615;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6" name="Google Shape;1616;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7" name="Google Shape;1617;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618"/>
        <p:cNvGrpSpPr/>
        <p:nvPr/>
      </p:nvGrpSpPr>
      <p:grpSpPr>
        <a:xfrm>
          <a:off x="0" y="0"/>
          <a:ext cx="0" cy="0"/>
          <a:chOff x="0" y="0"/>
          <a:chExt cx="0" cy="0"/>
        </a:xfrm>
      </p:grpSpPr>
      <p:sp>
        <p:nvSpPr>
          <p:cNvPr id="1619" name="Google Shape;1619;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21" name="Google Shape;1621;p204"/>
          <p:cNvGrpSpPr/>
          <p:nvPr/>
        </p:nvGrpSpPr>
        <p:grpSpPr>
          <a:xfrm>
            <a:off x="7191542" y="1"/>
            <a:ext cx="5000459" cy="1425992"/>
            <a:chOff x="7191542" y="1"/>
            <a:chExt cx="5000459" cy="1425992"/>
          </a:xfrm>
        </p:grpSpPr>
        <p:pic>
          <p:nvPicPr>
            <p:cNvPr id="1622" name="Google Shape;1622;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3" name="Google Shape;1623;p204"/>
            <p:cNvGrpSpPr/>
            <p:nvPr/>
          </p:nvGrpSpPr>
          <p:grpSpPr>
            <a:xfrm>
              <a:off x="7191542" y="1"/>
              <a:ext cx="5000459" cy="1425992"/>
              <a:chOff x="7186272" y="0"/>
              <a:chExt cx="5005729" cy="1427495"/>
            </a:xfrm>
          </p:grpSpPr>
          <p:sp>
            <p:nvSpPr>
              <p:cNvPr id="1624" name="Google Shape;1624;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5" name="Google Shape;1625;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6" name="Google Shape;1626;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630"/>
        <p:cNvGrpSpPr/>
        <p:nvPr/>
      </p:nvGrpSpPr>
      <p:grpSpPr>
        <a:xfrm>
          <a:off x="0" y="0"/>
          <a:ext cx="0" cy="0"/>
          <a:chOff x="0" y="0"/>
          <a:chExt cx="0" cy="0"/>
        </a:xfrm>
      </p:grpSpPr>
      <p:grpSp>
        <p:nvGrpSpPr>
          <p:cNvPr id="1631" name="Google Shape;1631;p205"/>
          <p:cNvGrpSpPr/>
          <p:nvPr/>
        </p:nvGrpSpPr>
        <p:grpSpPr>
          <a:xfrm>
            <a:off x="7191542" y="1"/>
            <a:ext cx="5000459" cy="1425992"/>
            <a:chOff x="7191542" y="1"/>
            <a:chExt cx="5000459" cy="1425992"/>
          </a:xfrm>
        </p:grpSpPr>
        <p:pic>
          <p:nvPicPr>
            <p:cNvPr id="1632" name="Google Shape;1632;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5"/>
            <p:cNvGrpSpPr/>
            <p:nvPr/>
          </p:nvGrpSpPr>
          <p:grpSpPr>
            <a:xfrm>
              <a:off x="7191542" y="1"/>
              <a:ext cx="5000459" cy="1425992"/>
              <a:chOff x="7186272" y="0"/>
              <a:chExt cx="5005729" cy="1427495"/>
            </a:xfrm>
          </p:grpSpPr>
          <p:sp>
            <p:nvSpPr>
              <p:cNvPr id="1634" name="Google Shape;1634;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8" name="Google Shape;1638;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40" name="Google Shape;1640;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1" name="Google Shape;1641;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2" name="Google Shape;1642;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3" name="Google Shape;1643;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644"/>
        <p:cNvGrpSpPr/>
        <p:nvPr/>
      </p:nvGrpSpPr>
      <p:grpSpPr>
        <a:xfrm>
          <a:off x="0" y="0"/>
          <a:ext cx="0" cy="0"/>
          <a:chOff x="0" y="0"/>
          <a:chExt cx="0" cy="0"/>
        </a:xfrm>
      </p:grpSpPr>
      <p:grpSp>
        <p:nvGrpSpPr>
          <p:cNvPr id="1645" name="Google Shape;1645;p206"/>
          <p:cNvGrpSpPr/>
          <p:nvPr/>
        </p:nvGrpSpPr>
        <p:grpSpPr>
          <a:xfrm>
            <a:off x="7191542" y="1"/>
            <a:ext cx="5000459" cy="1425992"/>
            <a:chOff x="7191542" y="1"/>
            <a:chExt cx="5000459" cy="1425992"/>
          </a:xfrm>
        </p:grpSpPr>
        <p:pic>
          <p:nvPicPr>
            <p:cNvPr id="1646" name="Google Shape;1646;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7" name="Google Shape;1647;p206"/>
            <p:cNvGrpSpPr/>
            <p:nvPr/>
          </p:nvGrpSpPr>
          <p:grpSpPr>
            <a:xfrm>
              <a:off x="7191542" y="1"/>
              <a:ext cx="5000459" cy="1425992"/>
              <a:chOff x="7186272" y="0"/>
              <a:chExt cx="5005729" cy="1427495"/>
            </a:xfrm>
          </p:grpSpPr>
          <p:sp>
            <p:nvSpPr>
              <p:cNvPr id="1648" name="Google Shape;1648;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9" name="Google Shape;1649;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0" name="Google Shape;1650;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 name="Google Shape;1651;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2" name="Google Shape;1652;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3" name="Google Shape;1653;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654"/>
        <p:cNvGrpSpPr/>
        <p:nvPr/>
      </p:nvGrpSpPr>
      <p:grpSpPr>
        <a:xfrm>
          <a:off x="0" y="0"/>
          <a:ext cx="0" cy="0"/>
          <a:chOff x="0" y="0"/>
          <a:chExt cx="0" cy="0"/>
        </a:xfrm>
      </p:grpSpPr>
      <p:grpSp>
        <p:nvGrpSpPr>
          <p:cNvPr id="1655" name="Google Shape;1655;p207"/>
          <p:cNvGrpSpPr/>
          <p:nvPr/>
        </p:nvGrpSpPr>
        <p:grpSpPr>
          <a:xfrm>
            <a:off x="0" y="0"/>
            <a:ext cx="12192000" cy="2148830"/>
            <a:chOff x="0" y="0"/>
            <a:chExt cx="12192000" cy="2148830"/>
          </a:xfrm>
        </p:grpSpPr>
        <p:sp>
          <p:nvSpPr>
            <p:cNvPr id="1656" name="Google Shape;1656;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7" name="Google Shape;1657;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58" name="Google Shape;1658;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9" name="Google Shape;1659;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61" name="Google Shape;1661;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62" name="Google Shape;1662;p2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663"/>
        <p:cNvGrpSpPr/>
        <p:nvPr/>
      </p:nvGrpSpPr>
      <p:grpSpPr>
        <a:xfrm>
          <a:off x="0" y="0"/>
          <a:ext cx="0" cy="0"/>
          <a:chOff x="0" y="0"/>
          <a:chExt cx="0" cy="0"/>
        </a:xfrm>
      </p:grpSpPr>
      <p:sp>
        <p:nvSpPr>
          <p:cNvPr id="1664" name="Google Shape;1664;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7" name="Google Shape;1667;p208"/>
          <p:cNvGrpSpPr/>
          <p:nvPr/>
        </p:nvGrpSpPr>
        <p:grpSpPr>
          <a:xfrm>
            <a:off x="7191542" y="1"/>
            <a:ext cx="5000459" cy="1425992"/>
            <a:chOff x="7191542" y="1"/>
            <a:chExt cx="5000459" cy="1425992"/>
          </a:xfrm>
        </p:grpSpPr>
        <p:pic>
          <p:nvPicPr>
            <p:cNvPr id="1668" name="Google Shape;1668;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9" name="Google Shape;1669;p208"/>
            <p:cNvGrpSpPr/>
            <p:nvPr/>
          </p:nvGrpSpPr>
          <p:grpSpPr>
            <a:xfrm>
              <a:off x="7191542" y="1"/>
              <a:ext cx="5000459" cy="1425992"/>
              <a:chOff x="7186272" y="0"/>
              <a:chExt cx="5005729" cy="1427495"/>
            </a:xfrm>
          </p:grpSpPr>
          <p:sp>
            <p:nvSpPr>
              <p:cNvPr id="1670" name="Google Shape;1670;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1" name="Google Shape;1671;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72"/>
        <p:cNvGrpSpPr/>
        <p:nvPr/>
      </p:nvGrpSpPr>
      <p:grpSpPr>
        <a:xfrm>
          <a:off x="0" y="0"/>
          <a:ext cx="0" cy="0"/>
          <a:chOff x="0" y="0"/>
          <a:chExt cx="0" cy="0"/>
        </a:xfrm>
      </p:grpSpPr>
      <p:sp>
        <p:nvSpPr>
          <p:cNvPr id="1673" name="Google Shape;1673;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4" name="Google Shape;1674;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75" name="Google Shape;1675;p209"/>
          <p:cNvGrpSpPr/>
          <p:nvPr/>
        </p:nvGrpSpPr>
        <p:grpSpPr>
          <a:xfrm>
            <a:off x="0" y="0"/>
            <a:ext cx="1862667" cy="6629400"/>
            <a:chOff x="-15876" y="0"/>
            <a:chExt cx="1927803" cy="6858000"/>
          </a:xfrm>
        </p:grpSpPr>
        <p:sp>
          <p:nvSpPr>
            <p:cNvPr id="1676" name="Google Shape;1676;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7" name="Google Shape;1677;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78" name="Google Shape;1678;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79" name="Google Shape;1679;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0" name="Google Shape;1680;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682"/>
        <p:cNvGrpSpPr/>
        <p:nvPr/>
      </p:nvGrpSpPr>
      <p:grpSpPr>
        <a:xfrm>
          <a:off x="0" y="0"/>
          <a:ext cx="0" cy="0"/>
          <a:chOff x="0" y="0"/>
          <a:chExt cx="0" cy="0"/>
        </a:xfrm>
      </p:grpSpPr>
      <p:sp>
        <p:nvSpPr>
          <p:cNvPr id="1683" name="Google Shape;1683;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84" name="Google Shape;1684;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 name="Google Shape;1685;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7" name="Google Shape;1687;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8" name="Google Shape;1688;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89"/>
        <p:cNvGrpSpPr/>
        <p:nvPr/>
      </p:nvGrpSpPr>
      <p:grpSpPr>
        <a:xfrm>
          <a:off x="0" y="0"/>
          <a:ext cx="0" cy="0"/>
          <a:chOff x="0" y="0"/>
          <a:chExt cx="0" cy="0"/>
        </a:xfrm>
      </p:grpSpPr>
      <p:sp>
        <p:nvSpPr>
          <p:cNvPr id="1690" name="Google Shape;1690;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1" name="Google Shape;1691;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 name="Google Shape;1692;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693" name="Google Shape;1693;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 name="Google Shape;1694;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95" name="Google Shape;1695;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6" name="Google Shape;1696;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7" name="Google Shape;1697;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98" name="Google Shape;1698;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99"/>
        <p:cNvGrpSpPr/>
        <p:nvPr/>
      </p:nvGrpSpPr>
      <p:grpSpPr>
        <a:xfrm>
          <a:off x="0" y="0"/>
          <a:ext cx="0" cy="0"/>
          <a:chOff x="0" y="0"/>
          <a:chExt cx="0" cy="0"/>
        </a:xfrm>
      </p:grpSpPr>
      <p:sp>
        <p:nvSpPr>
          <p:cNvPr id="1700" name="Google Shape;1700;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1" name="Google Shape;1701;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02" name="Google Shape;1702;p212"/>
          <p:cNvGrpSpPr/>
          <p:nvPr/>
        </p:nvGrpSpPr>
        <p:grpSpPr>
          <a:xfrm>
            <a:off x="0" y="0"/>
            <a:ext cx="1862667" cy="6629400"/>
            <a:chOff x="-15876" y="0"/>
            <a:chExt cx="1927803" cy="6858000"/>
          </a:xfrm>
        </p:grpSpPr>
        <p:sp>
          <p:nvSpPr>
            <p:cNvPr id="1703" name="Google Shape;1703;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4" name="Google Shape;1704;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5" name="Google Shape;1705;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6" name="Google Shape;1706;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8" name="Google Shape;1708;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709"/>
        <p:cNvGrpSpPr/>
        <p:nvPr/>
      </p:nvGrpSpPr>
      <p:grpSpPr>
        <a:xfrm>
          <a:off x="0" y="0"/>
          <a:ext cx="0" cy="0"/>
          <a:chOff x="0" y="0"/>
          <a:chExt cx="0" cy="0"/>
        </a:xfrm>
      </p:grpSpPr>
      <p:sp>
        <p:nvSpPr>
          <p:cNvPr id="1710" name="Google Shape;1710;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1" name="Google Shape;1711;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2" name="Google Shape;1712;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5" name="Google Shape;1715;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716"/>
        <p:cNvGrpSpPr/>
        <p:nvPr/>
      </p:nvGrpSpPr>
      <p:grpSpPr>
        <a:xfrm>
          <a:off x="0" y="0"/>
          <a:ext cx="0" cy="0"/>
          <a:chOff x="0" y="0"/>
          <a:chExt cx="0" cy="0"/>
        </a:xfrm>
      </p:grpSpPr>
      <p:grpSp>
        <p:nvGrpSpPr>
          <p:cNvPr id="1717" name="Google Shape;1717;p214"/>
          <p:cNvGrpSpPr/>
          <p:nvPr/>
        </p:nvGrpSpPr>
        <p:grpSpPr>
          <a:xfrm>
            <a:off x="0" y="5020347"/>
            <a:ext cx="12192000" cy="1837653"/>
            <a:chOff x="0" y="5020347"/>
            <a:chExt cx="12192000" cy="1837653"/>
          </a:xfrm>
        </p:grpSpPr>
        <p:sp>
          <p:nvSpPr>
            <p:cNvPr id="1718" name="Google Shape;1718;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9" name="Google Shape;1719;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0" name="Google Shape;1720;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21" name="Google Shape;1721;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2" name="Google Shape;1722;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3" name="Google Shape;1723;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4"/>
        <p:cNvGrpSpPr/>
        <p:nvPr/>
      </p:nvGrpSpPr>
      <p:grpSpPr>
        <a:xfrm>
          <a:off x="0" y="0"/>
          <a:ext cx="0" cy="0"/>
          <a:chOff x="0" y="0"/>
          <a:chExt cx="0" cy="0"/>
        </a:xfrm>
      </p:grpSpPr>
      <p:sp>
        <p:nvSpPr>
          <p:cNvPr id="1725" name="Google Shape;1725;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6" name="Google Shape;1726;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7" name="Google Shape;1727;p215"/>
          <p:cNvGrpSpPr/>
          <p:nvPr/>
        </p:nvGrpSpPr>
        <p:grpSpPr>
          <a:xfrm>
            <a:off x="0" y="5379426"/>
            <a:ext cx="2807368" cy="753891"/>
            <a:chOff x="0" y="5379426"/>
            <a:chExt cx="2807368" cy="753891"/>
          </a:xfrm>
        </p:grpSpPr>
        <p:sp>
          <p:nvSpPr>
            <p:cNvPr id="1728" name="Google Shape;1728;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9" name="Google Shape;1729;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30" name="Google Shape;1730;p215"/>
          <p:cNvSpPr>
            <a:spLocks noGrp="1"/>
          </p:cNvSpPr>
          <p:nvPr>
            <p:ph type="pic" idx="2"/>
          </p:nvPr>
        </p:nvSpPr>
        <p:spPr>
          <a:xfrm>
            <a:off x="2807368" y="457202"/>
            <a:ext cx="8915400" cy="5943598"/>
          </a:xfrm>
          <a:prstGeom prst="rect">
            <a:avLst/>
          </a:prstGeom>
          <a:noFill/>
          <a:ln>
            <a:noFill/>
          </a:ln>
        </p:spPr>
      </p:sp>
      <p:pic>
        <p:nvPicPr>
          <p:cNvPr id="1731" name="Google Shape;1731;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32"/>
        <p:cNvGrpSpPr/>
        <p:nvPr/>
      </p:nvGrpSpPr>
      <p:grpSpPr>
        <a:xfrm>
          <a:off x="0" y="0"/>
          <a:ext cx="0" cy="0"/>
          <a:chOff x="0" y="0"/>
          <a:chExt cx="0" cy="0"/>
        </a:xfrm>
      </p:grpSpPr>
      <p:sp>
        <p:nvSpPr>
          <p:cNvPr id="1733" name="Google Shape;1733;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4" name="Google Shape;1734;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5" name="Google Shape;173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6" name="Google Shape;1736;p216"/>
          <p:cNvGrpSpPr/>
          <p:nvPr/>
        </p:nvGrpSpPr>
        <p:grpSpPr>
          <a:xfrm>
            <a:off x="7191542" y="1"/>
            <a:ext cx="5000459" cy="1425992"/>
            <a:chOff x="7191542" y="1"/>
            <a:chExt cx="5000459" cy="1425992"/>
          </a:xfrm>
        </p:grpSpPr>
        <p:pic>
          <p:nvPicPr>
            <p:cNvPr id="1737" name="Google Shape;1737;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6"/>
            <p:cNvGrpSpPr/>
            <p:nvPr/>
          </p:nvGrpSpPr>
          <p:grpSpPr>
            <a:xfrm>
              <a:off x="7191542" y="1"/>
              <a:ext cx="5000459" cy="1425992"/>
              <a:chOff x="7186272" y="0"/>
              <a:chExt cx="5005729" cy="1427495"/>
            </a:xfrm>
          </p:grpSpPr>
          <p:sp>
            <p:nvSpPr>
              <p:cNvPr id="1739" name="Google Shape;1739;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0" name="Google Shape;1740;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741"/>
        <p:cNvGrpSpPr/>
        <p:nvPr/>
      </p:nvGrpSpPr>
      <p:grpSpPr>
        <a:xfrm>
          <a:off x="0" y="0"/>
          <a:ext cx="0" cy="0"/>
          <a:chOff x="0" y="0"/>
          <a:chExt cx="0" cy="0"/>
        </a:xfrm>
      </p:grpSpPr>
      <p:sp>
        <p:nvSpPr>
          <p:cNvPr id="1742" name="Google Shape;174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 name="Google Shape;174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5" name="Google Shape;174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6" name="Google Shape;174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7" name="Google Shape;174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48" name="Google Shape;1748;p217"/>
          <p:cNvGrpSpPr/>
          <p:nvPr/>
        </p:nvGrpSpPr>
        <p:grpSpPr>
          <a:xfrm>
            <a:off x="7191542" y="1"/>
            <a:ext cx="5000459" cy="1425992"/>
            <a:chOff x="7191542" y="1"/>
            <a:chExt cx="5000459" cy="1425992"/>
          </a:xfrm>
        </p:grpSpPr>
        <p:pic>
          <p:nvPicPr>
            <p:cNvPr id="1749" name="Google Shape;1749;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0" name="Google Shape;1750;p217"/>
            <p:cNvGrpSpPr/>
            <p:nvPr/>
          </p:nvGrpSpPr>
          <p:grpSpPr>
            <a:xfrm>
              <a:off x="7191542" y="1"/>
              <a:ext cx="5000459" cy="1425992"/>
              <a:chOff x="7186272" y="0"/>
              <a:chExt cx="5005729" cy="1427495"/>
            </a:xfrm>
          </p:grpSpPr>
          <p:sp>
            <p:nvSpPr>
              <p:cNvPr id="1751" name="Google Shape;175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2" name="Google Shape;175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53" name="Google Shape;1753;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4"/>
        <p:cNvGrpSpPr/>
        <p:nvPr/>
      </p:nvGrpSpPr>
      <p:grpSpPr>
        <a:xfrm>
          <a:off x="0" y="0"/>
          <a:ext cx="0" cy="0"/>
          <a:chOff x="0" y="0"/>
          <a:chExt cx="0" cy="0"/>
        </a:xfrm>
      </p:grpSpPr>
      <p:sp>
        <p:nvSpPr>
          <p:cNvPr id="1755" name="Google Shape;1755;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 name="Google Shape;1756;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7" name="Google Shape;1757;p218"/>
          <p:cNvGrpSpPr/>
          <p:nvPr/>
        </p:nvGrpSpPr>
        <p:grpSpPr>
          <a:xfrm>
            <a:off x="7191542" y="1"/>
            <a:ext cx="5000459" cy="1425992"/>
            <a:chOff x="7191542" y="1"/>
            <a:chExt cx="5000459" cy="1425992"/>
          </a:xfrm>
        </p:grpSpPr>
        <p:pic>
          <p:nvPicPr>
            <p:cNvPr id="1758" name="Google Shape;1758;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9" name="Google Shape;1759;p218"/>
            <p:cNvGrpSpPr/>
            <p:nvPr/>
          </p:nvGrpSpPr>
          <p:grpSpPr>
            <a:xfrm>
              <a:off x="7191542" y="1"/>
              <a:ext cx="5000459" cy="1425992"/>
              <a:chOff x="7186272" y="0"/>
              <a:chExt cx="5005729" cy="1427495"/>
            </a:xfrm>
          </p:grpSpPr>
          <p:sp>
            <p:nvSpPr>
              <p:cNvPr id="1760" name="Google Shape;1760;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1" name="Google Shape;1761;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62" name="Google Shape;1762;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766"/>
        <p:cNvGrpSpPr/>
        <p:nvPr/>
      </p:nvGrpSpPr>
      <p:grpSpPr>
        <a:xfrm>
          <a:off x="0" y="0"/>
          <a:ext cx="0" cy="0"/>
          <a:chOff x="0" y="0"/>
          <a:chExt cx="0" cy="0"/>
        </a:xfrm>
      </p:grpSpPr>
      <p:grpSp>
        <p:nvGrpSpPr>
          <p:cNvPr id="1767" name="Google Shape;1767;p219"/>
          <p:cNvGrpSpPr/>
          <p:nvPr/>
        </p:nvGrpSpPr>
        <p:grpSpPr>
          <a:xfrm>
            <a:off x="7191542" y="1"/>
            <a:ext cx="5000459" cy="1425992"/>
            <a:chOff x="7191542" y="1"/>
            <a:chExt cx="5000459" cy="1425992"/>
          </a:xfrm>
        </p:grpSpPr>
        <p:pic>
          <p:nvPicPr>
            <p:cNvPr id="1768" name="Google Shape;1768;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9" name="Google Shape;1769;p219"/>
            <p:cNvGrpSpPr/>
            <p:nvPr/>
          </p:nvGrpSpPr>
          <p:grpSpPr>
            <a:xfrm>
              <a:off x="7191542" y="1"/>
              <a:ext cx="5000459" cy="1425992"/>
              <a:chOff x="7186272" y="0"/>
              <a:chExt cx="5005729" cy="1427495"/>
            </a:xfrm>
          </p:grpSpPr>
          <p:sp>
            <p:nvSpPr>
              <p:cNvPr id="1770" name="Google Shape;1770;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1" name="Google Shape;1771;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72" name="Google Shape;1772;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 name="Google Shape;1773;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6" name="Google Shape;1776;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7" name="Google Shape;1777;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8" name="Google Shape;1778;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9" name="Google Shape;1779;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780"/>
        <p:cNvGrpSpPr/>
        <p:nvPr/>
      </p:nvGrpSpPr>
      <p:grpSpPr>
        <a:xfrm>
          <a:off x="0" y="0"/>
          <a:ext cx="0" cy="0"/>
          <a:chOff x="0" y="0"/>
          <a:chExt cx="0" cy="0"/>
        </a:xfrm>
      </p:grpSpPr>
      <p:grpSp>
        <p:nvGrpSpPr>
          <p:cNvPr id="1781" name="Google Shape;1781;p220"/>
          <p:cNvGrpSpPr/>
          <p:nvPr/>
        </p:nvGrpSpPr>
        <p:grpSpPr>
          <a:xfrm>
            <a:off x="7191542" y="1"/>
            <a:ext cx="5000459" cy="1425992"/>
            <a:chOff x="7191542" y="1"/>
            <a:chExt cx="5000459" cy="1425992"/>
          </a:xfrm>
        </p:grpSpPr>
        <p:pic>
          <p:nvPicPr>
            <p:cNvPr id="1782" name="Google Shape;1782;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3" name="Google Shape;1783;p220"/>
            <p:cNvGrpSpPr/>
            <p:nvPr/>
          </p:nvGrpSpPr>
          <p:grpSpPr>
            <a:xfrm>
              <a:off x="7191542" y="1"/>
              <a:ext cx="5000459" cy="1425992"/>
              <a:chOff x="7186272" y="0"/>
              <a:chExt cx="5005729" cy="1427495"/>
            </a:xfrm>
          </p:grpSpPr>
          <p:sp>
            <p:nvSpPr>
              <p:cNvPr id="1784" name="Google Shape;1784;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5" name="Google Shape;1785;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6" name="Google Shape;1786;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8" name="Google Shape;1788;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9" name="Google Shape;1789;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790"/>
        <p:cNvGrpSpPr/>
        <p:nvPr/>
      </p:nvGrpSpPr>
      <p:grpSpPr>
        <a:xfrm>
          <a:off x="0" y="0"/>
          <a:ext cx="0" cy="0"/>
          <a:chOff x="0" y="0"/>
          <a:chExt cx="0" cy="0"/>
        </a:xfrm>
      </p:grpSpPr>
      <p:grpSp>
        <p:nvGrpSpPr>
          <p:cNvPr id="1791" name="Google Shape;1791;p221"/>
          <p:cNvGrpSpPr/>
          <p:nvPr/>
        </p:nvGrpSpPr>
        <p:grpSpPr>
          <a:xfrm>
            <a:off x="0" y="0"/>
            <a:ext cx="12192000" cy="2148830"/>
            <a:chOff x="0" y="0"/>
            <a:chExt cx="12192000" cy="2148830"/>
          </a:xfrm>
        </p:grpSpPr>
        <p:sp>
          <p:nvSpPr>
            <p:cNvPr id="1792" name="Google Shape;1792;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3" name="Google Shape;1793;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94" name="Google Shape;1794;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5" name="Google Shape;1795;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6" name="Google Shape;1796;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97" name="Google Shape;1797;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8" name="Google Shape;1798;p2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799"/>
        <p:cNvGrpSpPr/>
        <p:nvPr/>
      </p:nvGrpSpPr>
      <p:grpSpPr>
        <a:xfrm>
          <a:off x="0" y="0"/>
          <a:ext cx="0" cy="0"/>
          <a:chOff x="0" y="0"/>
          <a:chExt cx="0" cy="0"/>
        </a:xfrm>
      </p:grpSpPr>
      <p:sp>
        <p:nvSpPr>
          <p:cNvPr id="1800" name="Google Shape;1800;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3" name="Google Shape;1803;p222"/>
          <p:cNvGrpSpPr/>
          <p:nvPr/>
        </p:nvGrpSpPr>
        <p:grpSpPr>
          <a:xfrm>
            <a:off x="7191542" y="1"/>
            <a:ext cx="5000459" cy="1425992"/>
            <a:chOff x="7191542" y="1"/>
            <a:chExt cx="5000459" cy="1425992"/>
          </a:xfrm>
        </p:grpSpPr>
        <p:pic>
          <p:nvPicPr>
            <p:cNvPr id="1804" name="Google Shape;1804;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5" name="Google Shape;1805;p222"/>
            <p:cNvGrpSpPr/>
            <p:nvPr/>
          </p:nvGrpSpPr>
          <p:grpSpPr>
            <a:xfrm>
              <a:off x="7191542" y="1"/>
              <a:ext cx="5000459" cy="1425992"/>
              <a:chOff x="7186272" y="0"/>
              <a:chExt cx="5005729" cy="1427495"/>
            </a:xfrm>
          </p:grpSpPr>
          <p:sp>
            <p:nvSpPr>
              <p:cNvPr id="1806" name="Google Shape;1806;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7" name="Google Shape;1807;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8"/>
        <p:cNvGrpSpPr/>
        <p:nvPr/>
      </p:nvGrpSpPr>
      <p:grpSpPr>
        <a:xfrm>
          <a:off x="0" y="0"/>
          <a:ext cx="0" cy="0"/>
          <a:chOff x="0" y="0"/>
          <a:chExt cx="0" cy="0"/>
        </a:xfrm>
      </p:grpSpPr>
      <p:sp>
        <p:nvSpPr>
          <p:cNvPr id="1809" name="Google Shape;1809;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0" name="Google Shape;1810;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 name="Google Shape;1811;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3" name="Google Shape;1813;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4" name="Google Shape;1814;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5" name="Google Shape;1815;p223"/>
          <p:cNvGrpSpPr/>
          <p:nvPr/>
        </p:nvGrpSpPr>
        <p:grpSpPr>
          <a:xfrm>
            <a:off x="7191542" y="1"/>
            <a:ext cx="5000459" cy="1425992"/>
            <a:chOff x="7191542" y="1"/>
            <a:chExt cx="5000459" cy="1425992"/>
          </a:xfrm>
        </p:grpSpPr>
        <p:pic>
          <p:nvPicPr>
            <p:cNvPr id="1816" name="Google Shape;1816;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7" name="Google Shape;1817;p223"/>
            <p:cNvGrpSpPr/>
            <p:nvPr/>
          </p:nvGrpSpPr>
          <p:grpSpPr>
            <a:xfrm>
              <a:off x="7191542" y="1"/>
              <a:ext cx="5000459" cy="1425992"/>
              <a:chOff x="7186272" y="0"/>
              <a:chExt cx="5005729" cy="1427495"/>
            </a:xfrm>
          </p:grpSpPr>
          <p:sp>
            <p:nvSpPr>
              <p:cNvPr id="1818" name="Google Shape;1818;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9" name="Google Shape;1819;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20" name="Google Shape;1820;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21"/>
        <p:cNvGrpSpPr/>
        <p:nvPr/>
      </p:nvGrpSpPr>
      <p:grpSpPr>
        <a:xfrm>
          <a:off x="0" y="0"/>
          <a:ext cx="0" cy="0"/>
          <a:chOff x="0" y="0"/>
          <a:chExt cx="0" cy="0"/>
        </a:xfrm>
      </p:grpSpPr>
      <p:sp>
        <p:nvSpPr>
          <p:cNvPr id="1822" name="Google Shape;1822;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 name="Google Shape;1823;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4" name="Google Shape;1824;p224"/>
          <p:cNvGrpSpPr/>
          <p:nvPr/>
        </p:nvGrpSpPr>
        <p:grpSpPr>
          <a:xfrm flipH="1">
            <a:off x="-1" y="1"/>
            <a:ext cx="6418725" cy="1509822"/>
            <a:chOff x="7522541" y="1"/>
            <a:chExt cx="4669459" cy="1098357"/>
          </a:xfrm>
        </p:grpSpPr>
        <p:sp>
          <p:nvSpPr>
            <p:cNvPr id="1825" name="Google Shape;1825;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6" name="Google Shape;1826;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27" name="Google Shape;1827;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8"/>
        <p:cNvGrpSpPr/>
        <p:nvPr/>
      </p:nvGrpSpPr>
      <p:grpSpPr>
        <a:xfrm>
          <a:off x="0" y="0"/>
          <a:ext cx="0" cy="0"/>
          <a:chOff x="0" y="0"/>
          <a:chExt cx="0" cy="0"/>
        </a:xfrm>
      </p:grpSpPr>
      <p:sp>
        <p:nvSpPr>
          <p:cNvPr id="1829" name="Google Shape;1829;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0" name="Google Shape;1830;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2" name="Google Shape;1832;p225"/>
          <p:cNvSpPr>
            <a:spLocks noGrp="1"/>
          </p:cNvSpPr>
          <p:nvPr>
            <p:ph type="pic" idx="2"/>
          </p:nvPr>
        </p:nvSpPr>
        <p:spPr>
          <a:xfrm>
            <a:off x="7118684" y="233915"/>
            <a:ext cx="5073316" cy="5943600"/>
          </a:xfrm>
          <a:prstGeom prst="rect">
            <a:avLst/>
          </a:prstGeom>
          <a:noFill/>
          <a:ln>
            <a:noFill/>
          </a:ln>
        </p:spPr>
      </p:sp>
      <p:grpSp>
        <p:nvGrpSpPr>
          <p:cNvPr id="1833" name="Google Shape;1833;p225"/>
          <p:cNvGrpSpPr/>
          <p:nvPr/>
        </p:nvGrpSpPr>
        <p:grpSpPr>
          <a:xfrm>
            <a:off x="0" y="5020348"/>
            <a:ext cx="12192000" cy="1837653"/>
            <a:chOff x="0" y="5020348"/>
            <a:chExt cx="12192000" cy="1837653"/>
          </a:xfrm>
        </p:grpSpPr>
        <p:sp>
          <p:nvSpPr>
            <p:cNvPr id="1834" name="Google Shape;1834;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5" name="Google Shape;1835;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36" name="Google Shape;1836;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837"/>
        <p:cNvGrpSpPr/>
        <p:nvPr/>
      </p:nvGrpSpPr>
      <p:grpSpPr>
        <a:xfrm>
          <a:off x="0" y="0"/>
          <a:ext cx="0" cy="0"/>
          <a:chOff x="0" y="0"/>
          <a:chExt cx="0" cy="0"/>
        </a:xfrm>
      </p:grpSpPr>
      <p:grpSp>
        <p:nvGrpSpPr>
          <p:cNvPr id="1838" name="Google Shape;1838;p226"/>
          <p:cNvGrpSpPr/>
          <p:nvPr/>
        </p:nvGrpSpPr>
        <p:grpSpPr>
          <a:xfrm>
            <a:off x="0" y="5020347"/>
            <a:ext cx="12192000" cy="1837653"/>
            <a:chOff x="0" y="5020347"/>
            <a:chExt cx="12192000" cy="1837653"/>
          </a:xfrm>
        </p:grpSpPr>
        <p:sp>
          <p:nvSpPr>
            <p:cNvPr id="1839" name="Google Shape;1839;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0" name="Google Shape;1840;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1" name="Google Shape;1841;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42" name="Google Shape;1842;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3" name="Google Shape;1843;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4" name="Google Shape;1844;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5"/>
        <p:cNvGrpSpPr/>
        <p:nvPr/>
      </p:nvGrpSpPr>
      <p:grpSpPr>
        <a:xfrm>
          <a:off x="0" y="0"/>
          <a:ext cx="0" cy="0"/>
          <a:chOff x="0" y="0"/>
          <a:chExt cx="0" cy="0"/>
        </a:xfrm>
      </p:grpSpPr>
      <p:sp>
        <p:nvSpPr>
          <p:cNvPr id="1846" name="Google Shape;1846;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27"/>
          <p:cNvGrpSpPr/>
          <p:nvPr/>
        </p:nvGrpSpPr>
        <p:grpSpPr>
          <a:xfrm>
            <a:off x="0" y="5379426"/>
            <a:ext cx="2807368" cy="753891"/>
            <a:chOff x="0" y="5379426"/>
            <a:chExt cx="2807368" cy="753891"/>
          </a:xfrm>
        </p:grpSpPr>
        <p:sp>
          <p:nvSpPr>
            <p:cNvPr id="1849" name="Google Shape;1849;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0" name="Google Shape;1850;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51" name="Google Shape;1851;p227"/>
          <p:cNvSpPr>
            <a:spLocks noGrp="1"/>
          </p:cNvSpPr>
          <p:nvPr>
            <p:ph type="pic" idx="2"/>
          </p:nvPr>
        </p:nvSpPr>
        <p:spPr>
          <a:xfrm>
            <a:off x="2807368" y="457202"/>
            <a:ext cx="8915400" cy="5943598"/>
          </a:xfrm>
          <a:prstGeom prst="rect">
            <a:avLst/>
          </a:prstGeom>
          <a:noFill/>
          <a:ln>
            <a:noFill/>
          </a:ln>
        </p:spPr>
      </p:sp>
      <p:pic>
        <p:nvPicPr>
          <p:cNvPr id="1852" name="Google Shape;1852;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53"/>
        <p:cNvGrpSpPr/>
        <p:nvPr/>
      </p:nvGrpSpPr>
      <p:grpSpPr>
        <a:xfrm>
          <a:off x="0" y="0"/>
          <a:ext cx="0" cy="0"/>
          <a:chOff x="0" y="0"/>
          <a:chExt cx="0" cy="0"/>
        </a:xfrm>
      </p:grpSpPr>
      <p:sp>
        <p:nvSpPr>
          <p:cNvPr id="1854" name="Google Shape;1854;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5" name="Google Shape;1855;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6" name="Google Shape;1856;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8" name="Google Shape;1858;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9" name="Google Shape;1859;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60" name="Google Shape;1860;p228"/>
          <p:cNvGrpSpPr/>
          <p:nvPr/>
        </p:nvGrpSpPr>
        <p:grpSpPr>
          <a:xfrm>
            <a:off x="7191542" y="1"/>
            <a:ext cx="5000459" cy="1425992"/>
            <a:chOff x="7191542" y="1"/>
            <a:chExt cx="5000459" cy="1425992"/>
          </a:xfrm>
        </p:grpSpPr>
        <p:pic>
          <p:nvPicPr>
            <p:cNvPr id="1861" name="Google Shape;1861;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2" name="Google Shape;1862;p228"/>
            <p:cNvGrpSpPr/>
            <p:nvPr/>
          </p:nvGrpSpPr>
          <p:grpSpPr>
            <a:xfrm>
              <a:off x="7191542" y="1"/>
              <a:ext cx="5000459" cy="1425992"/>
              <a:chOff x="7186272" y="0"/>
              <a:chExt cx="5005729" cy="1427495"/>
            </a:xfrm>
          </p:grpSpPr>
          <p:sp>
            <p:nvSpPr>
              <p:cNvPr id="1863" name="Google Shape;1863;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65" name="Google Shape;1865;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866"/>
        <p:cNvGrpSpPr/>
        <p:nvPr/>
      </p:nvGrpSpPr>
      <p:grpSpPr>
        <a:xfrm>
          <a:off x="0" y="0"/>
          <a:ext cx="0" cy="0"/>
          <a:chOff x="0" y="0"/>
          <a:chExt cx="0" cy="0"/>
        </a:xfrm>
      </p:grpSpPr>
      <p:sp>
        <p:nvSpPr>
          <p:cNvPr id="1867" name="Google Shape;1867;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8" name="Google Shape;1868;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9" name="Google Shape;1869;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0" name="Google Shape;1870;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1" name="Google Shape;1871;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2" name="Google Shape;1872;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73" name="Google Shape;1873;p229"/>
          <p:cNvGrpSpPr/>
          <p:nvPr/>
        </p:nvGrpSpPr>
        <p:grpSpPr>
          <a:xfrm>
            <a:off x="7191542" y="1"/>
            <a:ext cx="5000459" cy="1425992"/>
            <a:chOff x="7191542" y="1"/>
            <a:chExt cx="5000459" cy="1425992"/>
          </a:xfrm>
        </p:grpSpPr>
        <p:pic>
          <p:nvPicPr>
            <p:cNvPr id="1874" name="Google Shape;1874;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5" name="Google Shape;1875;p229"/>
            <p:cNvGrpSpPr/>
            <p:nvPr/>
          </p:nvGrpSpPr>
          <p:grpSpPr>
            <a:xfrm>
              <a:off x="7191542" y="1"/>
              <a:ext cx="5000459" cy="1425992"/>
              <a:chOff x="7186272" y="0"/>
              <a:chExt cx="5005729" cy="1427495"/>
            </a:xfrm>
          </p:grpSpPr>
          <p:sp>
            <p:nvSpPr>
              <p:cNvPr id="1876" name="Google Shape;1876;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78" name="Google Shape;1878;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879"/>
        <p:cNvGrpSpPr/>
        <p:nvPr/>
      </p:nvGrpSpPr>
      <p:grpSpPr>
        <a:xfrm>
          <a:off x="0" y="0"/>
          <a:ext cx="0" cy="0"/>
          <a:chOff x="0" y="0"/>
          <a:chExt cx="0" cy="0"/>
        </a:xfrm>
      </p:grpSpPr>
      <p:grpSp>
        <p:nvGrpSpPr>
          <p:cNvPr id="1880" name="Google Shape;1880;p230"/>
          <p:cNvGrpSpPr/>
          <p:nvPr/>
        </p:nvGrpSpPr>
        <p:grpSpPr>
          <a:xfrm>
            <a:off x="7191542" y="1"/>
            <a:ext cx="5000459" cy="1425992"/>
            <a:chOff x="7191542" y="1"/>
            <a:chExt cx="5000459" cy="1425992"/>
          </a:xfrm>
        </p:grpSpPr>
        <p:pic>
          <p:nvPicPr>
            <p:cNvPr id="1881" name="Google Shape;1881;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2" name="Google Shape;1882;p230"/>
            <p:cNvGrpSpPr/>
            <p:nvPr/>
          </p:nvGrpSpPr>
          <p:grpSpPr>
            <a:xfrm>
              <a:off x="7191542" y="1"/>
              <a:ext cx="5000459" cy="1425992"/>
              <a:chOff x="7186272" y="0"/>
              <a:chExt cx="5005729" cy="1427495"/>
            </a:xfrm>
          </p:grpSpPr>
          <p:sp>
            <p:nvSpPr>
              <p:cNvPr id="1883" name="Google Shape;1883;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85" name="Google Shape;1885;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 name="Google Shape;1886;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 name="Google Shape;1887;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8" name="Google Shape;1888;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9" name="Google Shape;1889;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90"/>
        <p:cNvGrpSpPr/>
        <p:nvPr/>
      </p:nvGrpSpPr>
      <p:grpSpPr>
        <a:xfrm>
          <a:off x="0" y="0"/>
          <a:ext cx="0" cy="0"/>
          <a:chOff x="0" y="0"/>
          <a:chExt cx="0" cy="0"/>
        </a:xfrm>
      </p:grpSpPr>
      <p:sp>
        <p:nvSpPr>
          <p:cNvPr id="1891" name="Google Shape;1891;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3" name="Google Shape;1893;p231"/>
          <p:cNvGrpSpPr/>
          <p:nvPr/>
        </p:nvGrpSpPr>
        <p:grpSpPr>
          <a:xfrm>
            <a:off x="7191542" y="1"/>
            <a:ext cx="5000459" cy="1425992"/>
            <a:chOff x="7191542" y="1"/>
            <a:chExt cx="5000459" cy="1425992"/>
          </a:xfrm>
        </p:grpSpPr>
        <p:pic>
          <p:nvPicPr>
            <p:cNvPr id="1894" name="Google Shape;1894;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5" name="Google Shape;1895;p231"/>
            <p:cNvGrpSpPr/>
            <p:nvPr/>
          </p:nvGrpSpPr>
          <p:grpSpPr>
            <a:xfrm>
              <a:off x="7191542" y="1"/>
              <a:ext cx="5000459" cy="1425992"/>
              <a:chOff x="7186272" y="0"/>
              <a:chExt cx="5005729" cy="1427495"/>
            </a:xfrm>
          </p:grpSpPr>
          <p:sp>
            <p:nvSpPr>
              <p:cNvPr id="1896" name="Google Shape;1896;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8" name="Google Shape;1898;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 name="Google Shape;1899;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0" name="Google Shape;1900;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 name="Google Shape;1901;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902"/>
        <p:cNvGrpSpPr/>
        <p:nvPr/>
      </p:nvGrpSpPr>
      <p:grpSpPr>
        <a:xfrm>
          <a:off x="0" y="0"/>
          <a:ext cx="0" cy="0"/>
          <a:chOff x="0" y="0"/>
          <a:chExt cx="0" cy="0"/>
        </a:xfrm>
      </p:grpSpPr>
      <p:grpSp>
        <p:nvGrpSpPr>
          <p:cNvPr id="1903" name="Google Shape;1903;p232"/>
          <p:cNvGrpSpPr/>
          <p:nvPr/>
        </p:nvGrpSpPr>
        <p:grpSpPr>
          <a:xfrm>
            <a:off x="7191542" y="1"/>
            <a:ext cx="5000459" cy="1425992"/>
            <a:chOff x="7191542" y="1"/>
            <a:chExt cx="5000459" cy="1425992"/>
          </a:xfrm>
        </p:grpSpPr>
        <p:pic>
          <p:nvPicPr>
            <p:cNvPr id="1904" name="Google Shape;190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2"/>
            <p:cNvGrpSpPr/>
            <p:nvPr/>
          </p:nvGrpSpPr>
          <p:grpSpPr>
            <a:xfrm>
              <a:off x="7191542" y="1"/>
              <a:ext cx="5000459" cy="1425992"/>
              <a:chOff x="7186272" y="0"/>
              <a:chExt cx="5005729" cy="1427495"/>
            </a:xfrm>
          </p:grpSpPr>
          <p:sp>
            <p:nvSpPr>
              <p:cNvPr id="1906" name="Google Shape;1906;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 name="Google Shape;1912;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 name="Google Shape;1913;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4" name="Google Shape;1914;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 name="Google Shape;1915;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916"/>
        <p:cNvGrpSpPr/>
        <p:nvPr/>
      </p:nvGrpSpPr>
      <p:grpSpPr>
        <a:xfrm>
          <a:off x="0" y="0"/>
          <a:ext cx="0" cy="0"/>
          <a:chOff x="0" y="0"/>
          <a:chExt cx="0" cy="0"/>
        </a:xfrm>
      </p:grpSpPr>
      <p:grpSp>
        <p:nvGrpSpPr>
          <p:cNvPr id="1917" name="Google Shape;1917;p233"/>
          <p:cNvGrpSpPr/>
          <p:nvPr/>
        </p:nvGrpSpPr>
        <p:grpSpPr>
          <a:xfrm>
            <a:off x="7191542" y="1"/>
            <a:ext cx="5000459" cy="1425992"/>
            <a:chOff x="7191542" y="1"/>
            <a:chExt cx="5000459" cy="1425992"/>
          </a:xfrm>
        </p:grpSpPr>
        <p:pic>
          <p:nvPicPr>
            <p:cNvPr id="1918" name="Google Shape;1918;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9" name="Google Shape;1919;p233"/>
            <p:cNvGrpSpPr/>
            <p:nvPr/>
          </p:nvGrpSpPr>
          <p:grpSpPr>
            <a:xfrm>
              <a:off x="7191542" y="1"/>
              <a:ext cx="5000459" cy="1425992"/>
              <a:chOff x="7186272" y="0"/>
              <a:chExt cx="5005729" cy="1427495"/>
            </a:xfrm>
          </p:grpSpPr>
          <p:sp>
            <p:nvSpPr>
              <p:cNvPr id="1920" name="Google Shape;1920;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2" name="Google Shape;1922;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3" name="Google Shape;1923;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4" name="Google Shape;1924;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 name="Google Shape;1925;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926"/>
        <p:cNvGrpSpPr/>
        <p:nvPr/>
      </p:nvGrpSpPr>
      <p:grpSpPr>
        <a:xfrm>
          <a:off x="0" y="0"/>
          <a:ext cx="0" cy="0"/>
          <a:chOff x="0" y="0"/>
          <a:chExt cx="0" cy="0"/>
        </a:xfrm>
      </p:grpSpPr>
      <p:grpSp>
        <p:nvGrpSpPr>
          <p:cNvPr id="1927" name="Google Shape;1927;p234"/>
          <p:cNvGrpSpPr/>
          <p:nvPr/>
        </p:nvGrpSpPr>
        <p:grpSpPr>
          <a:xfrm>
            <a:off x="0" y="0"/>
            <a:ext cx="12192000" cy="2148830"/>
            <a:chOff x="0" y="0"/>
            <a:chExt cx="12192000" cy="2148830"/>
          </a:xfrm>
        </p:grpSpPr>
        <p:sp>
          <p:nvSpPr>
            <p:cNvPr id="1928" name="Google Shape;1928;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30" name="Google Shape;1930;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31" name="Google Shape;1931;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2" name="Google Shape;1932;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3" name="Google Shape;1933;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4" name="Google Shape;1934;p2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935"/>
        <p:cNvGrpSpPr/>
        <p:nvPr/>
      </p:nvGrpSpPr>
      <p:grpSpPr>
        <a:xfrm>
          <a:off x="0" y="0"/>
          <a:ext cx="0" cy="0"/>
          <a:chOff x="0" y="0"/>
          <a:chExt cx="0" cy="0"/>
        </a:xfrm>
      </p:grpSpPr>
      <p:sp>
        <p:nvSpPr>
          <p:cNvPr id="1936" name="Google Shape;1936;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9" name="Google Shape;1939;p235"/>
          <p:cNvGrpSpPr/>
          <p:nvPr/>
        </p:nvGrpSpPr>
        <p:grpSpPr>
          <a:xfrm>
            <a:off x="7191542" y="1"/>
            <a:ext cx="5000459" cy="1425992"/>
            <a:chOff x="7191542" y="1"/>
            <a:chExt cx="5000459" cy="1425992"/>
          </a:xfrm>
        </p:grpSpPr>
        <p:pic>
          <p:nvPicPr>
            <p:cNvPr id="1940" name="Google Shape;1940;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1" name="Google Shape;1941;p235"/>
            <p:cNvGrpSpPr/>
            <p:nvPr/>
          </p:nvGrpSpPr>
          <p:grpSpPr>
            <a:xfrm>
              <a:off x="7191542" y="1"/>
              <a:ext cx="5000459" cy="1425992"/>
              <a:chOff x="7186272" y="0"/>
              <a:chExt cx="5005729" cy="1427495"/>
            </a:xfrm>
          </p:grpSpPr>
          <p:sp>
            <p:nvSpPr>
              <p:cNvPr id="1942" name="Google Shape;1942;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3" name="Google Shape;1943;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4"/>
        <p:cNvGrpSpPr/>
        <p:nvPr/>
      </p:nvGrpSpPr>
      <p:grpSpPr>
        <a:xfrm>
          <a:off x="0" y="0"/>
          <a:ext cx="0" cy="0"/>
          <a:chOff x="0" y="0"/>
          <a:chExt cx="0" cy="0"/>
        </a:xfrm>
      </p:grpSpPr>
      <p:sp>
        <p:nvSpPr>
          <p:cNvPr id="1945" name="Google Shape;1945;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6" name="Google Shape;1946;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7" name="Google Shape;1947;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8" name="Google Shape;1948;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9" name="Google Shape;1949;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50" name="Google Shape;1950;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1" name="Google Shape;1951;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2" name="Google Shape;1952;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3" name="Google Shape;1953;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55" name="Google Shape;1955;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6"/>
        <p:cNvGrpSpPr/>
        <p:nvPr/>
      </p:nvGrpSpPr>
      <p:grpSpPr>
        <a:xfrm>
          <a:off x="0" y="0"/>
          <a:ext cx="0" cy="0"/>
          <a:chOff x="0" y="0"/>
          <a:chExt cx="0" cy="0"/>
        </a:xfrm>
      </p:grpSpPr>
      <p:sp>
        <p:nvSpPr>
          <p:cNvPr id="1957" name="Google Shape;1957;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8" name="Google Shape;1958;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9" name="Google Shape;1959;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1" name="Google Shape;1961;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2" name="Google Shape;1962;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3" name="Google Shape;1963;p237"/>
          <p:cNvGrpSpPr/>
          <p:nvPr/>
        </p:nvGrpSpPr>
        <p:grpSpPr>
          <a:xfrm>
            <a:off x="7191542" y="1"/>
            <a:ext cx="5000459" cy="1425992"/>
            <a:chOff x="7191542" y="1"/>
            <a:chExt cx="5000459" cy="1425992"/>
          </a:xfrm>
        </p:grpSpPr>
        <p:pic>
          <p:nvPicPr>
            <p:cNvPr id="1964" name="Google Shape;1964;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 name="Google Shape;1965;p237"/>
            <p:cNvGrpSpPr/>
            <p:nvPr/>
          </p:nvGrpSpPr>
          <p:grpSpPr>
            <a:xfrm>
              <a:off x="7191542" y="1"/>
              <a:ext cx="5000459" cy="1425992"/>
              <a:chOff x="7186272" y="0"/>
              <a:chExt cx="5005729" cy="1427495"/>
            </a:xfrm>
          </p:grpSpPr>
          <p:sp>
            <p:nvSpPr>
              <p:cNvPr id="1966" name="Google Shape;1966;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7" name="Google Shape;1967;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68" name="Google Shape;1968;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69"/>
        <p:cNvGrpSpPr/>
        <p:nvPr/>
      </p:nvGrpSpPr>
      <p:grpSpPr>
        <a:xfrm>
          <a:off x="0" y="0"/>
          <a:ext cx="0" cy="0"/>
          <a:chOff x="0" y="0"/>
          <a:chExt cx="0" cy="0"/>
        </a:xfrm>
      </p:grpSpPr>
      <p:sp>
        <p:nvSpPr>
          <p:cNvPr id="1970" name="Google Shape;1970;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1" name="Google Shape;1971;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2" name="Google Shape;1972;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3" name="Google Shape;1973;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74" name="Google Shape;19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5" name="Google Shape;19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6" name="Google Shape;1976;p238"/>
          <p:cNvGrpSpPr/>
          <p:nvPr/>
        </p:nvGrpSpPr>
        <p:grpSpPr>
          <a:xfrm>
            <a:off x="7191542" y="1"/>
            <a:ext cx="5000459" cy="1425992"/>
            <a:chOff x="7191542" y="1"/>
            <a:chExt cx="5000459" cy="1425992"/>
          </a:xfrm>
        </p:grpSpPr>
        <p:pic>
          <p:nvPicPr>
            <p:cNvPr id="1977" name="Google Shape;1977;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 name="Google Shape;1978;p238"/>
            <p:cNvGrpSpPr/>
            <p:nvPr/>
          </p:nvGrpSpPr>
          <p:grpSpPr>
            <a:xfrm>
              <a:off x="7191542" y="1"/>
              <a:ext cx="5000459" cy="1425992"/>
              <a:chOff x="7186272" y="0"/>
              <a:chExt cx="5005729" cy="1427495"/>
            </a:xfrm>
          </p:grpSpPr>
          <p:sp>
            <p:nvSpPr>
              <p:cNvPr id="1979" name="Google Shape;1979;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80" name="Google Shape;1980;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1" name="Google Shape;1981;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671" Type="http://schemas.openxmlformats.org/officeDocument/2006/relationships/slideLayout" Target="../slideLayouts/slideLayout671.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642" Type="http://schemas.openxmlformats.org/officeDocument/2006/relationships/slideLayout" Target="../slideLayouts/slideLayout642.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653" Type="http://schemas.openxmlformats.org/officeDocument/2006/relationships/slideLayout" Target="../slideLayouts/slideLayout653.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664" Type="http://schemas.openxmlformats.org/officeDocument/2006/relationships/slideLayout" Target="../slideLayouts/slideLayout664.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675" Type="http://schemas.openxmlformats.org/officeDocument/2006/relationships/slideLayout" Target="../slideLayouts/slideLayout675.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112" Type="http://schemas.openxmlformats.org/officeDocument/2006/relationships/slideLayout" Target="../slideLayouts/slideLayout112.xml"/><Relationship Id="rId557" Type="http://schemas.openxmlformats.org/officeDocument/2006/relationships/slideLayout" Target="../slideLayouts/slideLayout557.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624" Type="http://schemas.openxmlformats.org/officeDocument/2006/relationships/slideLayout" Target="../slideLayouts/slideLayout624.xml"/><Relationship Id="rId263" Type="http://schemas.openxmlformats.org/officeDocument/2006/relationships/slideLayout" Target="../slideLayouts/slideLayout263.xml"/><Relationship Id="rId470" Type="http://schemas.openxmlformats.org/officeDocument/2006/relationships/slideLayout" Target="../slideLayouts/slideLayout470.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79" Type="http://schemas.openxmlformats.org/officeDocument/2006/relationships/slideLayout" Target="../slideLayouts/slideLayout579.xml"/><Relationship Id="rId341" Type="http://schemas.openxmlformats.org/officeDocument/2006/relationships/slideLayout" Target="../slideLayouts/slideLayout341.xml"/><Relationship Id="rId439" Type="http://schemas.openxmlformats.org/officeDocument/2006/relationships/slideLayout" Target="../slideLayouts/slideLayout439.xml"/><Relationship Id="rId646" Type="http://schemas.openxmlformats.org/officeDocument/2006/relationships/slideLayout" Target="../slideLayouts/slideLayout646.xml"/><Relationship Id="rId201" Type="http://schemas.openxmlformats.org/officeDocument/2006/relationships/slideLayout" Target="../slideLayouts/slideLayout201.xml"/><Relationship Id="rId285" Type="http://schemas.openxmlformats.org/officeDocument/2006/relationships/slideLayout" Target="../slideLayouts/slideLayout285.xml"/><Relationship Id="rId506" Type="http://schemas.openxmlformats.org/officeDocument/2006/relationships/slideLayout" Target="../slideLayouts/slideLayout506.xml"/><Relationship Id="rId492" Type="http://schemas.openxmlformats.org/officeDocument/2006/relationships/slideLayout" Target="../slideLayouts/slideLayout492.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657" Type="http://schemas.openxmlformats.org/officeDocument/2006/relationships/slideLayout" Target="../slideLayouts/slideLayout657.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668" Type="http://schemas.openxmlformats.org/officeDocument/2006/relationships/slideLayout" Target="../slideLayouts/slideLayout668.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679" Type="http://schemas.openxmlformats.org/officeDocument/2006/relationships/slideLayout" Target="../slideLayouts/slideLayout67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648" Type="http://schemas.openxmlformats.org/officeDocument/2006/relationships/slideLayout" Target="../slideLayouts/slideLayout648.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659" Type="http://schemas.openxmlformats.org/officeDocument/2006/relationships/slideLayout" Target="../slideLayouts/slideLayout659.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670" Type="http://schemas.openxmlformats.org/officeDocument/2006/relationships/slideLayout" Target="../slideLayouts/slideLayout670.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681" Type="http://schemas.openxmlformats.org/officeDocument/2006/relationships/theme" Target="../theme/theme1.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slideLayout" Target="../slideLayouts/slideLayout63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650" Type="http://schemas.openxmlformats.org/officeDocument/2006/relationships/slideLayout" Target="../slideLayouts/slideLayout650.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661" Type="http://schemas.openxmlformats.org/officeDocument/2006/relationships/slideLayout" Target="../slideLayouts/slideLayout661.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672" Type="http://schemas.openxmlformats.org/officeDocument/2006/relationships/slideLayout" Target="../slideLayouts/slideLayout672.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641" Type="http://schemas.openxmlformats.org/officeDocument/2006/relationships/slideLayout" Target="../slideLayouts/slideLayout641.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652" Type="http://schemas.openxmlformats.org/officeDocument/2006/relationships/slideLayout" Target="../slideLayouts/slideLayout652.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663" Type="http://schemas.openxmlformats.org/officeDocument/2006/relationships/slideLayout" Target="../slideLayouts/slideLayout663.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674" Type="http://schemas.openxmlformats.org/officeDocument/2006/relationships/slideLayout" Target="../slideLayouts/slideLayout674.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643" Type="http://schemas.openxmlformats.org/officeDocument/2006/relationships/slideLayout" Target="../slideLayouts/slideLayout643.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654" Type="http://schemas.openxmlformats.org/officeDocument/2006/relationships/slideLayout" Target="../slideLayouts/slideLayout654.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665" Type="http://schemas.openxmlformats.org/officeDocument/2006/relationships/slideLayout" Target="../slideLayouts/slideLayout665.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676" Type="http://schemas.openxmlformats.org/officeDocument/2006/relationships/slideLayout" Target="../slideLayouts/slideLayout676.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645" Type="http://schemas.openxmlformats.org/officeDocument/2006/relationships/slideLayout" Target="../slideLayouts/slideLayout645.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656" Type="http://schemas.openxmlformats.org/officeDocument/2006/relationships/slideLayout" Target="../slideLayouts/slideLayout656.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667" Type="http://schemas.openxmlformats.org/officeDocument/2006/relationships/slideLayout" Target="../slideLayouts/slideLayout667.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678" Type="http://schemas.openxmlformats.org/officeDocument/2006/relationships/slideLayout" Target="../slideLayouts/slideLayout678.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647" Type="http://schemas.openxmlformats.org/officeDocument/2006/relationships/slideLayout" Target="../slideLayouts/slideLayout647.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658" Type="http://schemas.openxmlformats.org/officeDocument/2006/relationships/slideLayout" Target="../slideLayouts/slideLayout658.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669" Type="http://schemas.openxmlformats.org/officeDocument/2006/relationships/slideLayout" Target="../slideLayouts/slideLayout669.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680" Type="http://schemas.openxmlformats.org/officeDocument/2006/relationships/slideLayout" Target="../slideLayouts/slideLayout680.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649" Type="http://schemas.openxmlformats.org/officeDocument/2006/relationships/slideLayout" Target="../slideLayouts/slideLayout64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660" Type="http://schemas.openxmlformats.org/officeDocument/2006/relationships/slideLayout" Target="../slideLayouts/slideLayout660.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640" Type="http://schemas.openxmlformats.org/officeDocument/2006/relationships/slideLayout" Target="../slideLayouts/slideLayout640.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651" Type="http://schemas.openxmlformats.org/officeDocument/2006/relationships/slideLayout" Target="../slideLayouts/slideLayout651.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662" Type="http://schemas.openxmlformats.org/officeDocument/2006/relationships/slideLayout" Target="../slideLayouts/slideLayout662.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673" Type="http://schemas.openxmlformats.org/officeDocument/2006/relationships/slideLayout" Target="../slideLayouts/slideLayout673.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644" Type="http://schemas.openxmlformats.org/officeDocument/2006/relationships/slideLayout" Target="../slideLayouts/slideLayout644.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 Id="rId655" Type="http://schemas.openxmlformats.org/officeDocument/2006/relationships/slideLayout" Target="../slideLayouts/slideLayout655.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89" Type="http://schemas.openxmlformats.org/officeDocument/2006/relationships/slideLayout" Target="../slideLayouts/slideLayout89.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99" Type="http://schemas.openxmlformats.org/officeDocument/2006/relationships/slideLayout" Target="../slideLayouts/slideLayout599.xml"/><Relationship Id="rId459" Type="http://schemas.openxmlformats.org/officeDocument/2006/relationships/slideLayout" Target="../slideLayouts/slideLayout459.xml"/><Relationship Id="rId666" Type="http://schemas.openxmlformats.org/officeDocument/2006/relationships/slideLayout" Target="../slideLayouts/slideLayout66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319" Type="http://schemas.openxmlformats.org/officeDocument/2006/relationships/slideLayout" Target="../slideLayouts/slideLayout319.xml"/><Relationship Id="rId526" Type="http://schemas.openxmlformats.org/officeDocument/2006/relationships/slideLayout" Target="../slideLayouts/slideLayout526.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677" Type="http://schemas.openxmlformats.org/officeDocument/2006/relationships/slideLayout" Target="../slideLayouts/slideLayout677.xml"/><Relationship Id="rId232" Type="http://schemas.openxmlformats.org/officeDocument/2006/relationships/slideLayout" Target="../slideLayouts/slideLayout232.xml"/><Relationship Id="rId27" Type="http://schemas.openxmlformats.org/officeDocument/2006/relationships/slideLayout" Target="../slideLayouts/slideLayout27.xml"/><Relationship Id="rId537" Type="http://schemas.openxmlformats.org/officeDocument/2006/relationships/slideLayout" Target="../slideLayouts/slideLayout537.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83" Type="http://schemas.openxmlformats.org/officeDocument/2006/relationships/slideLayout" Target="../slideLayouts/slideLayout383.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43" Type="http://schemas.openxmlformats.org/officeDocument/2006/relationships/slideLayout" Target="../slideLayouts/slideLayout243.xml"/><Relationship Id="rId450" Type="http://schemas.openxmlformats.org/officeDocument/2006/relationships/slideLayout" Target="../slideLayouts/slideLayout450.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548" Type="http://schemas.openxmlformats.org/officeDocument/2006/relationships/slideLayout" Target="../slideLayouts/slideLayout5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88.xml"/><Relationship Id="rId3" Type="http://schemas.openxmlformats.org/officeDocument/2006/relationships/slideLayout" Target="../slideLayouts/slideLayout683.xml"/><Relationship Id="rId7" Type="http://schemas.openxmlformats.org/officeDocument/2006/relationships/slideLayout" Target="../slideLayouts/slideLayout687.xml"/><Relationship Id="rId12" Type="http://schemas.openxmlformats.org/officeDocument/2006/relationships/theme" Target="../theme/theme2.xml"/><Relationship Id="rId2" Type="http://schemas.openxmlformats.org/officeDocument/2006/relationships/slideLayout" Target="../slideLayouts/slideLayout682.xml"/><Relationship Id="rId1" Type="http://schemas.openxmlformats.org/officeDocument/2006/relationships/slideLayout" Target="../slideLayouts/slideLayout681.xml"/><Relationship Id="rId6" Type="http://schemas.openxmlformats.org/officeDocument/2006/relationships/slideLayout" Target="../slideLayouts/slideLayout686.xml"/><Relationship Id="rId11" Type="http://schemas.openxmlformats.org/officeDocument/2006/relationships/slideLayout" Target="../slideLayouts/slideLayout691.xml"/><Relationship Id="rId5" Type="http://schemas.openxmlformats.org/officeDocument/2006/relationships/slideLayout" Target="../slideLayouts/slideLayout685.xml"/><Relationship Id="rId10" Type="http://schemas.openxmlformats.org/officeDocument/2006/relationships/slideLayout" Target="../slideLayouts/slideLayout690.xml"/><Relationship Id="rId4" Type="http://schemas.openxmlformats.org/officeDocument/2006/relationships/slideLayout" Target="../slideLayouts/slideLayout684.xml"/><Relationship Id="rId9" Type="http://schemas.openxmlformats.org/officeDocument/2006/relationships/slideLayout" Target="../slideLayouts/slideLayout689.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808.xml"/><Relationship Id="rId21" Type="http://schemas.openxmlformats.org/officeDocument/2006/relationships/slideLayout" Target="../slideLayouts/slideLayout712.xml"/><Relationship Id="rId42" Type="http://schemas.openxmlformats.org/officeDocument/2006/relationships/slideLayout" Target="../slideLayouts/slideLayout733.xml"/><Relationship Id="rId63" Type="http://schemas.openxmlformats.org/officeDocument/2006/relationships/slideLayout" Target="../slideLayouts/slideLayout754.xml"/><Relationship Id="rId84" Type="http://schemas.openxmlformats.org/officeDocument/2006/relationships/slideLayout" Target="../slideLayouts/slideLayout775.xml"/><Relationship Id="rId138" Type="http://schemas.openxmlformats.org/officeDocument/2006/relationships/slideLayout" Target="../slideLayouts/slideLayout829.xml"/><Relationship Id="rId159" Type="http://schemas.openxmlformats.org/officeDocument/2006/relationships/slideLayout" Target="../slideLayouts/slideLayout850.xml"/><Relationship Id="rId170" Type="http://schemas.openxmlformats.org/officeDocument/2006/relationships/slideLayout" Target="../slideLayouts/slideLayout861.xml"/><Relationship Id="rId191" Type="http://schemas.openxmlformats.org/officeDocument/2006/relationships/slideLayout" Target="../slideLayouts/slideLayout882.xml"/><Relationship Id="rId107" Type="http://schemas.openxmlformats.org/officeDocument/2006/relationships/slideLayout" Target="../slideLayouts/slideLayout798.xml"/><Relationship Id="rId11" Type="http://schemas.openxmlformats.org/officeDocument/2006/relationships/slideLayout" Target="../slideLayouts/slideLayout702.xml"/><Relationship Id="rId32" Type="http://schemas.openxmlformats.org/officeDocument/2006/relationships/slideLayout" Target="../slideLayouts/slideLayout723.xml"/><Relationship Id="rId53" Type="http://schemas.openxmlformats.org/officeDocument/2006/relationships/slideLayout" Target="../slideLayouts/slideLayout744.xml"/><Relationship Id="rId74" Type="http://schemas.openxmlformats.org/officeDocument/2006/relationships/slideLayout" Target="../slideLayouts/slideLayout765.xml"/><Relationship Id="rId128" Type="http://schemas.openxmlformats.org/officeDocument/2006/relationships/slideLayout" Target="../slideLayouts/slideLayout819.xml"/><Relationship Id="rId149" Type="http://schemas.openxmlformats.org/officeDocument/2006/relationships/slideLayout" Target="../slideLayouts/slideLayout840.xml"/><Relationship Id="rId5" Type="http://schemas.openxmlformats.org/officeDocument/2006/relationships/slideLayout" Target="../slideLayouts/slideLayout696.xml"/><Relationship Id="rId95" Type="http://schemas.openxmlformats.org/officeDocument/2006/relationships/slideLayout" Target="../slideLayouts/slideLayout786.xml"/><Relationship Id="rId160" Type="http://schemas.openxmlformats.org/officeDocument/2006/relationships/slideLayout" Target="../slideLayouts/slideLayout851.xml"/><Relationship Id="rId181" Type="http://schemas.openxmlformats.org/officeDocument/2006/relationships/slideLayout" Target="../slideLayouts/slideLayout872.xml"/><Relationship Id="rId22" Type="http://schemas.openxmlformats.org/officeDocument/2006/relationships/slideLayout" Target="../slideLayouts/slideLayout713.xml"/><Relationship Id="rId43" Type="http://schemas.openxmlformats.org/officeDocument/2006/relationships/slideLayout" Target="../slideLayouts/slideLayout734.xml"/><Relationship Id="rId64" Type="http://schemas.openxmlformats.org/officeDocument/2006/relationships/slideLayout" Target="../slideLayouts/slideLayout755.xml"/><Relationship Id="rId118" Type="http://schemas.openxmlformats.org/officeDocument/2006/relationships/slideLayout" Target="../slideLayouts/slideLayout809.xml"/><Relationship Id="rId139" Type="http://schemas.openxmlformats.org/officeDocument/2006/relationships/slideLayout" Target="../slideLayouts/slideLayout830.xml"/><Relationship Id="rId85" Type="http://schemas.openxmlformats.org/officeDocument/2006/relationships/slideLayout" Target="../slideLayouts/slideLayout776.xml"/><Relationship Id="rId150" Type="http://schemas.openxmlformats.org/officeDocument/2006/relationships/slideLayout" Target="../slideLayouts/slideLayout841.xml"/><Relationship Id="rId171" Type="http://schemas.openxmlformats.org/officeDocument/2006/relationships/slideLayout" Target="../slideLayouts/slideLayout862.xml"/><Relationship Id="rId192" Type="http://schemas.openxmlformats.org/officeDocument/2006/relationships/slideLayout" Target="../slideLayouts/slideLayout883.xml"/><Relationship Id="rId12" Type="http://schemas.openxmlformats.org/officeDocument/2006/relationships/slideLayout" Target="../slideLayouts/slideLayout703.xml"/><Relationship Id="rId33" Type="http://schemas.openxmlformats.org/officeDocument/2006/relationships/slideLayout" Target="../slideLayouts/slideLayout724.xml"/><Relationship Id="rId108" Type="http://schemas.openxmlformats.org/officeDocument/2006/relationships/slideLayout" Target="../slideLayouts/slideLayout799.xml"/><Relationship Id="rId129" Type="http://schemas.openxmlformats.org/officeDocument/2006/relationships/slideLayout" Target="../slideLayouts/slideLayout820.xml"/><Relationship Id="rId54" Type="http://schemas.openxmlformats.org/officeDocument/2006/relationships/slideLayout" Target="../slideLayouts/slideLayout745.xml"/><Relationship Id="rId75" Type="http://schemas.openxmlformats.org/officeDocument/2006/relationships/slideLayout" Target="../slideLayouts/slideLayout766.xml"/><Relationship Id="rId96" Type="http://schemas.openxmlformats.org/officeDocument/2006/relationships/slideLayout" Target="../slideLayouts/slideLayout787.xml"/><Relationship Id="rId140" Type="http://schemas.openxmlformats.org/officeDocument/2006/relationships/slideLayout" Target="../slideLayouts/slideLayout831.xml"/><Relationship Id="rId161" Type="http://schemas.openxmlformats.org/officeDocument/2006/relationships/slideLayout" Target="../slideLayouts/slideLayout852.xml"/><Relationship Id="rId182" Type="http://schemas.openxmlformats.org/officeDocument/2006/relationships/slideLayout" Target="../slideLayouts/slideLayout873.xml"/><Relationship Id="rId6" Type="http://schemas.openxmlformats.org/officeDocument/2006/relationships/slideLayout" Target="../slideLayouts/slideLayout697.xml"/><Relationship Id="rId23" Type="http://schemas.openxmlformats.org/officeDocument/2006/relationships/slideLayout" Target="../slideLayouts/slideLayout714.xml"/><Relationship Id="rId119" Type="http://schemas.openxmlformats.org/officeDocument/2006/relationships/slideLayout" Target="../slideLayouts/slideLayout810.xml"/><Relationship Id="rId44" Type="http://schemas.openxmlformats.org/officeDocument/2006/relationships/slideLayout" Target="../slideLayouts/slideLayout735.xml"/><Relationship Id="rId65" Type="http://schemas.openxmlformats.org/officeDocument/2006/relationships/slideLayout" Target="../slideLayouts/slideLayout756.xml"/><Relationship Id="rId86" Type="http://schemas.openxmlformats.org/officeDocument/2006/relationships/slideLayout" Target="../slideLayouts/slideLayout777.xml"/><Relationship Id="rId130" Type="http://schemas.openxmlformats.org/officeDocument/2006/relationships/slideLayout" Target="../slideLayouts/slideLayout821.xml"/><Relationship Id="rId151" Type="http://schemas.openxmlformats.org/officeDocument/2006/relationships/slideLayout" Target="../slideLayouts/slideLayout842.xml"/><Relationship Id="rId172" Type="http://schemas.openxmlformats.org/officeDocument/2006/relationships/slideLayout" Target="../slideLayouts/slideLayout863.xml"/><Relationship Id="rId193" Type="http://schemas.openxmlformats.org/officeDocument/2006/relationships/slideLayout" Target="../slideLayouts/slideLayout884.xml"/><Relationship Id="rId13" Type="http://schemas.openxmlformats.org/officeDocument/2006/relationships/slideLayout" Target="../slideLayouts/slideLayout704.xml"/><Relationship Id="rId109" Type="http://schemas.openxmlformats.org/officeDocument/2006/relationships/slideLayout" Target="../slideLayouts/slideLayout800.xml"/><Relationship Id="rId34" Type="http://schemas.openxmlformats.org/officeDocument/2006/relationships/slideLayout" Target="../slideLayouts/slideLayout725.xml"/><Relationship Id="rId55" Type="http://schemas.openxmlformats.org/officeDocument/2006/relationships/slideLayout" Target="../slideLayouts/slideLayout746.xml"/><Relationship Id="rId76" Type="http://schemas.openxmlformats.org/officeDocument/2006/relationships/slideLayout" Target="../slideLayouts/slideLayout767.xml"/><Relationship Id="rId97" Type="http://schemas.openxmlformats.org/officeDocument/2006/relationships/slideLayout" Target="../slideLayouts/slideLayout788.xml"/><Relationship Id="rId120" Type="http://schemas.openxmlformats.org/officeDocument/2006/relationships/slideLayout" Target="../slideLayouts/slideLayout811.xml"/><Relationship Id="rId141" Type="http://schemas.openxmlformats.org/officeDocument/2006/relationships/slideLayout" Target="../slideLayouts/slideLayout832.xml"/><Relationship Id="rId7" Type="http://schemas.openxmlformats.org/officeDocument/2006/relationships/slideLayout" Target="../slideLayouts/slideLayout698.xml"/><Relationship Id="rId71" Type="http://schemas.openxmlformats.org/officeDocument/2006/relationships/slideLayout" Target="../slideLayouts/slideLayout762.xml"/><Relationship Id="rId92" Type="http://schemas.openxmlformats.org/officeDocument/2006/relationships/slideLayout" Target="../slideLayouts/slideLayout783.xml"/><Relationship Id="rId162" Type="http://schemas.openxmlformats.org/officeDocument/2006/relationships/slideLayout" Target="../slideLayouts/slideLayout853.xml"/><Relationship Id="rId183" Type="http://schemas.openxmlformats.org/officeDocument/2006/relationships/slideLayout" Target="../slideLayouts/slideLayout874.xml"/><Relationship Id="rId2" Type="http://schemas.openxmlformats.org/officeDocument/2006/relationships/slideLayout" Target="../slideLayouts/slideLayout693.xml"/><Relationship Id="rId29" Type="http://schemas.openxmlformats.org/officeDocument/2006/relationships/slideLayout" Target="../slideLayouts/slideLayout720.xml"/><Relationship Id="rId24" Type="http://schemas.openxmlformats.org/officeDocument/2006/relationships/slideLayout" Target="../slideLayouts/slideLayout715.xml"/><Relationship Id="rId40" Type="http://schemas.openxmlformats.org/officeDocument/2006/relationships/slideLayout" Target="../slideLayouts/slideLayout731.xml"/><Relationship Id="rId45" Type="http://schemas.openxmlformats.org/officeDocument/2006/relationships/slideLayout" Target="../slideLayouts/slideLayout736.xml"/><Relationship Id="rId66" Type="http://schemas.openxmlformats.org/officeDocument/2006/relationships/slideLayout" Target="../slideLayouts/slideLayout757.xml"/><Relationship Id="rId87" Type="http://schemas.openxmlformats.org/officeDocument/2006/relationships/slideLayout" Target="../slideLayouts/slideLayout778.xml"/><Relationship Id="rId110" Type="http://schemas.openxmlformats.org/officeDocument/2006/relationships/slideLayout" Target="../slideLayouts/slideLayout801.xml"/><Relationship Id="rId115" Type="http://schemas.openxmlformats.org/officeDocument/2006/relationships/slideLayout" Target="../slideLayouts/slideLayout806.xml"/><Relationship Id="rId131" Type="http://schemas.openxmlformats.org/officeDocument/2006/relationships/slideLayout" Target="../slideLayouts/slideLayout822.xml"/><Relationship Id="rId136" Type="http://schemas.openxmlformats.org/officeDocument/2006/relationships/slideLayout" Target="../slideLayouts/slideLayout827.xml"/><Relationship Id="rId157" Type="http://schemas.openxmlformats.org/officeDocument/2006/relationships/slideLayout" Target="../slideLayouts/slideLayout848.xml"/><Relationship Id="rId178" Type="http://schemas.openxmlformats.org/officeDocument/2006/relationships/slideLayout" Target="../slideLayouts/slideLayout869.xml"/><Relationship Id="rId61" Type="http://schemas.openxmlformats.org/officeDocument/2006/relationships/slideLayout" Target="../slideLayouts/slideLayout752.xml"/><Relationship Id="rId82" Type="http://schemas.openxmlformats.org/officeDocument/2006/relationships/slideLayout" Target="../slideLayouts/slideLayout773.xml"/><Relationship Id="rId152" Type="http://schemas.openxmlformats.org/officeDocument/2006/relationships/slideLayout" Target="../slideLayouts/slideLayout843.xml"/><Relationship Id="rId173" Type="http://schemas.openxmlformats.org/officeDocument/2006/relationships/slideLayout" Target="../slideLayouts/slideLayout864.xml"/><Relationship Id="rId194" Type="http://schemas.openxmlformats.org/officeDocument/2006/relationships/slideLayout" Target="../slideLayouts/slideLayout885.xml"/><Relationship Id="rId199" Type="http://schemas.openxmlformats.org/officeDocument/2006/relationships/theme" Target="../theme/theme3.xml"/><Relationship Id="rId19" Type="http://schemas.openxmlformats.org/officeDocument/2006/relationships/slideLayout" Target="../slideLayouts/slideLayout710.xml"/><Relationship Id="rId14" Type="http://schemas.openxmlformats.org/officeDocument/2006/relationships/slideLayout" Target="../slideLayouts/slideLayout705.xml"/><Relationship Id="rId30" Type="http://schemas.openxmlformats.org/officeDocument/2006/relationships/slideLayout" Target="../slideLayouts/slideLayout721.xml"/><Relationship Id="rId35" Type="http://schemas.openxmlformats.org/officeDocument/2006/relationships/slideLayout" Target="../slideLayouts/slideLayout726.xml"/><Relationship Id="rId56" Type="http://schemas.openxmlformats.org/officeDocument/2006/relationships/slideLayout" Target="../slideLayouts/slideLayout747.xml"/><Relationship Id="rId77" Type="http://schemas.openxmlformats.org/officeDocument/2006/relationships/slideLayout" Target="../slideLayouts/slideLayout768.xml"/><Relationship Id="rId100" Type="http://schemas.openxmlformats.org/officeDocument/2006/relationships/slideLayout" Target="../slideLayouts/slideLayout791.xml"/><Relationship Id="rId105" Type="http://schemas.openxmlformats.org/officeDocument/2006/relationships/slideLayout" Target="../slideLayouts/slideLayout796.xml"/><Relationship Id="rId126" Type="http://schemas.openxmlformats.org/officeDocument/2006/relationships/slideLayout" Target="../slideLayouts/slideLayout817.xml"/><Relationship Id="rId147" Type="http://schemas.openxmlformats.org/officeDocument/2006/relationships/slideLayout" Target="../slideLayouts/slideLayout838.xml"/><Relationship Id="rId168" Type="http://schemas.openxmlformats.org/officeDocument/2006/relationships/slideLayout" Target="../slideLayouts/slideLayout859.xml"/><Relationship Id="rId8" Type="http://schemas.openxmlformats.org/officeDocument/2006/relationships/slideLayout" Target="../slideLayouts/slideLayout699.xml"/><Relationship Id="rId51" Type="http://schemas.openxmlformats.org/officeDocument/2006/relationships/slideLayout" Target="../slideLayouts/slideLayout742.xml"/><Relationship Id="rId72" Type="http://schemas.openxmlformats.org/officeDocument/2006/relationships/slideLayout" Target="../slideLayouts/slideLayout763.xml"/><Relationship Id="rId93" Type="http://schemas.openxmlformats.org/officeDocument/2006/relationships/slideLayout" Target="../slideLayouts/slideLayout784.xml"/><Relationship Id="rId98" Type="http://schemas.openxmlformats.org/officeDocument/2006/relationships/slideLayout" Target="../slideLayouts/slideLayout789.xml"/><Relationship Id="rId121" Type="http://schemas.openxmlformats.org/officeDocument/2006/relationships/slideLayout" Target="../slideLayouts/slideLayout812.xml"/><Relationship Id="rId142" Type="http://schemas.openxmlformats.org/officeDocument/2006/relationships/slideLayout" Target="../slideLayouts/slideLayout833.xml"/><Relationship Id="rId163" Type="http://schemas.openxmlformats.org/officeDocument/2006/relationships/slideLayout" Target="../slideLayouts/slideLayout854.xml"/><Relationship Id="rId184" Type="http://schemas.openxmlformats.org/officeDocument/2006/relationships/slideLayout" Target="../slideLayouts/slideLayout875.xml"/><Relationship Id="rId189" Type="http://schemas.openxmlformats.org/officeDocument/2006/relationships/slideLayout" Target="../slideLayouts/slideLayout880.xml"/><Relationship Id="rId3" Type="http://schemas.openxmlformats.org/officeDocument/2006/relationships/slideLayout" Target="../slideLayouts/slideLayout694.xml"/><Relationship Id="rId25" Type="http://schemas.openxmlformats.org/officeDocument/2006/relationships/slideLayout" Target="../slideLayouts/slideLayout716.xml"/><Relationship Id="rId46" Type="http://schemas.openxmlformats.org/officeDocument/2006/relationships/slideLayout" Target="../slideLayouts/slideLayout737.xml"/><Relationship Id="rId67" Type="http://schemas.openxmlformats.org/officeDocument/2006/relationships/slideLayout" Target="../slideLayouts/slideLayout758.xml"/><Relationship Id="rId116" Type="http://schemas.openxmlformats.org/officeDocument/2006/relationships/slideLayout" Target="../slideLayouts/slideLayout807.xml"/><Relationship Id="rId137" Type="http://schemas.openxmlformats.org/officeDocument/2006/relationships/slideLayout" Target="../slideLayouts/slideLayout828.xml"/><Relationship Id="rId158" Type="http://schemas.openxmlformats.org/officeDocument/2006/relationships/slideLayout" Target="../slideLayouts/slideLayout849.xml"/><Relationship Id="rId20" Type="http://schemas.openxmlformats.org/officeDocument/2006/relationships/slideLayout" Target="../slideLayouts/slideLayout711.xml"/><Relationship Id="rId41" Type="http://schemas.openxmlformats.org/officeDocument/2006/relationships/slideLayout" Target="../slideLayouts/slideLayout732.xml"/><Relationship Id="rId62" Type="http://schemas.openxmlformats.org/officeDocument/2006/relationships/slideLayout" Target="../slideLayouts/slideLayout753.xml"/><Relationship Id="rId83" Type="http://schemas.openxmlformats.org/officeDocument/2006/relationships/slideLayout" Target="../slideLayouts/slideLayout774.xml"/><Relationship Id="rId88" Type="http://schemas.openxmlformats.org/officeDocument/2006/relationships/slideLayout" Target="../slideLayouts/slideLayout779.xml"/><Relationship Id="rId111" Type="http://schemas.openxmlformats.org/officeDocument/2006/relationships/slideLayout" Target="../slideLayouts/slideLayout802.xml"/><Relationship Id="rId132" Type="http://schemas.openxmlformats.org/officeDocument/2006/relationships/slideLayout" Target="../slideLayouts/slideLayout823.xml"/><Relationship Id="rId153" Type="http://schemas.openxmlformats.org/officeDocument/2006/relationships/slideLayout" Target="../slideLayouts/slideLayout844.xml"/><Relationship Id="rId174" Type="http://schemas.openxmlformats.org/officeDocument/2006/relationships/slideLayout" Target="../slideLayouts/slideLayout865.xml"/><Relationship Id="rId179" Type="http://schemas.openxmlformats.org/officeDocument/2006/relationships/slideLayout" Target="../slideLayouts/slideLayout870.xml"/><Relationship Id="rId195" Type="http://schemas.openxmlformats.org/officeDocument/2006/relationships/slideLayout" Target="../slideLayouts/slideLayout886.xml"/><Relationship Id="rId190" Type="http://schemas.openxmlformats.org/officeDocument/2006/relationships/slideLayout" Target="../slideLayouts/slideLayout881.xml"/><Relationship Id="rId15" Type="http://schemas.openxmlformats.org/officeDocument/2006/relationships/slideLayout" Target="../slideLayouts/slideLayout706.xml"/><Relationship Id="rId36" Type="http://schemas.openxmlformats.org/officeDocument/2006/relationships/slideLayout" Target="../slideLayouts/slideLayout727.xml"/><Relationship Id="rId57" Type="http://schemas.openxmlformats.org/officeDocument/2006/relationships/slideLayout" Target="../slideLayouts/slideLayout748.xml"/><Relationship Id="rId106" Type="http://schemas.openxmlformats.org/officeDocument/2006/relationships/slideLayout" Target="../slideLayouts/slideLayout797.xml"/><Relationship Id="rId127" Type="http://schemas.openxmlformats.org/officeDocument/2006/relationships/slideLayout" Target="../slideLayouts/slideLayout818.xml"/><Relationship Id="rId10" Type="http://schemas.openxmlformats.org/officeDocument/2006/relationships/slideLayout" Target="../slideLayouts/slideLayout701.xml"/><Relationship Id="rId31" Type="http://schemas.openxmlformats.org/officeDocument/2006/relationships/slideLayout" Target="../slideLayouts/slideLayout722.xml"/><Relationship Id="rId52" Type="http://schemas.openxmlformats.org/officeDocument/2006/relationships/slideLayout" Target="../slideLayouts/slideLayout743.xml"/><Relationship Id="rId73" Type="http://schemas.openxmlformats.org/officeDocument/2006/relationships/slideLayout" Target="../slideLayouts/slideLayout764.xml"/><Relationship Id="rId78" Type="http://schemas.openxmlformats.org/officeDocument/2006/relationships/slideLayout" Target="../slideLayouts/slideLayout769.xml"/><Relationship Id="rId94" Type="http://schemas.openxmlformats.org/officeDocument/2006/relationships/slideLayout" Target="../slideLayouts/slideLayout785.xml"/><Relationship Id="rId99" Type="http://schemas.openxmlformats.org/officeDocument/2006/relationships/slideLayout" Target="../slideLayouts/slideLayout790.xml"/><Relationship Id="rId101" Type="http://schemas.openxmlformats.org/officeDocument/2006/relationships/slideLayout" Target="../slideLayouts/slideLayout792.xml"/><Relationship Id="rId122" Type="http://schemas.openxmlformats.org/officeDocument/2006/relationships/slideLayout" Target="../slideLayouts/slideLayout813.xml"/><Relationship Id="rId143" Type="http://schemas.openxmlformats.org/officeDocument/2006/relationships/slideLayout" Target="../slideLayouts/slideLayout834.xml"/><Relationship Id="rId148" Type="http://schemas.openxmlformats.org/officeDocument/2006/relationships/slideLayout" Target="../slideLayouts/slideLayout839.xml"/><Relationship Id="rId164" Type="http://schemas.openxmlformats.org/officeDocument/2006/relationships/slideLayout" Target="../slideLayouts/slideLayout855.xml"/><Relationship Id="rId169" Type="http://schemas.openxmlformats.org/officeDocument/2006/relationships/slideLayout" Target="../slideLayouts/slideLayout860.xml"/><Relationship Id="rId185" Type="http://schemas.openxmlformats.org/officeDocument/2006/relationships/slideLayout" Target="../slideLayouts/slideLayout876.xml"/><Relationship Id="rId4" Type="http://schemas.openxmlformats.org/officeDocument/2006/relationships/slideLayout" Target="../slideLayouts/slideLayout695.xml"/><Relationship Id="rId9" Type="http://schemas.openxmlformats.org/officeDocument/2006/relationships/slideLayout" Target="../slideLayouts/slideLayout700.xml"/><Relationship Id="rId180" Type="http://schemas.openxmlformats.org/officeDocument/2006/relationships/slideLayout" Target="../slideLayouts/slideLayout871.xml"/><Relationship Id="rId26" Type="http://schemas.openxmlformats.org/officeDocument/2006/relationships/slideLayout" Target="../slideLayouts/slideLayout717.xml"/><Relationship Id="rId47" Type="http://schemas.openxmlformats.org/officeDocument/2006/relationships/slideLayout" Target="../slideLayouts/slideLayout738.xml"/><Relationship Id="rId68" Type="http://schemas.openxmlformats.org/officeDocument/2006/relationships/slideLayout" Target="../slideLayouts/slideLayout759.xml"/><Relationship Id="rId89" Type="http://schemas.openxmlformats.org/officeDocument/2006/relationships/slideLayout" Target="../slideLayouts/slideLayout780.xml"/><Relationship Id="rId112" Type="http://schemas.openxmlformats.org/officeDocument/2006/relationships/slideLayout" Target="../slideLayouts/slideLayout803.xml"/><Relationship Id="rId133" Type="http://schemas.openxmlformats.org/officeDocument/2006/relationships/slideLayout" Target="../slideLayouts/slideLayout824.xml"/><Relationship Id="rId154" Type="http://schemas.openxmlformats.org/officeDocument/2006/relationships/slideLayout" Target="../slideLayouts/slideLayout845.xml"/><Relationship Id="rId175" Type="http://schemas.openxmlformats.org/officeDocument/2006/relationships/slideLayout" Target="../slideLayouts/slideLayout866.xml"/><Relationship Id="rId196" Type="http://schemas.openxmlformats.org/officeDocument/2006/relationships/slideLayout" Target="../slideLayouts/slideLayout887.xml"/><Relationship Id="rId16" Type="http://schemas.openxmlformats.org/officeDocument/2006/relationships/slideLayout" Target="../slideLayouts/slideLayout707.xml"/><Relationship Id="rId37" Type="http://schemas.openxmlformats.org/officeDocument/2006/relationships/slideLayout" Target="../slideLayouts/slideLayout728.xml"/><Relationship Id="rId58" Type="http://schemas.openxmlformats.org/officeDocument/2006/relationships/slideLayout" Target="../slideLayouts/slideLayout749.xml"/><Relationship Id="rId79" Type="http://schemas.openxmlformats.org/officeDocument/2006/relationships/slideLayout" Target="../slideLayouts/slideLayout770.xml"/><Relationship Id="rId102" Type="http://schemas.openxmlformats.org/officeDocument/2006/relationships/slideLayout" Target="../slideLayouts/slideLayout793.xml"/><Relationship Id="rId123" Type="http://schemas.openxmlformats.org/officeDocument/2006/relationships/slideLayout" Target="../slideLayouts/slideLayout814.xml"/><Relationship Id="rId144" Type="http://schemas.openxmlformats.org/officeDocument/2006/relationships/slideLayout" Target="../slideLayouts/slideLayout835.xml"/><Relationship Id="rId90" Type="http://schemas.openxmlformats.org/officeDocument/2006/relationships/slideLayout" Target="../slideLayouts/slideLayout781.xml"/><Relationship Id="rId165" Type="http://schemas.openxmlformats.org/officeDocument/2006/relationships/slideLayout" Target="../slideLayouts/slideLayout856.xml"/><Relationship Id="rId186" Type="http://schemas.openxmlformats.org/officeDocument/2006/relationships/slideLayout" Target="../slideLayouts/slideLayout877.xml"/><Relationship Id="rId27" Type="http://schemas.openxmlformats.org/officeDocument/2006/relationships/slideLayout" Target="../slideLayouts/slideLayout718.xml"/><Relationship Id="rId48" Type="http://schemas.openxmlformats.org/officeDocument/2006/relationships/slideLayout" Target="../slideLayouts/slideLayout739.xml"/><Relationship Id="rId69" Type="http://schemas.openxmlformats.org/officeDocument/2006/relationships/slideLayout" Target="../slideLayouts/slideLayout760.xml"/><Relationship Id="rId113" Type="http://schemas.openxmlformats.org/officeDocument/2006/relationships/slideLayout" Target="../slideLayouts/slideLayout804.xml"/><Relationship Id="rId134" Type="http://schemas.openxmlformats.org/officeDocument/2006/relationships/slideLayout" Target="../slideLayouts/slideLayout825.xml"/><Relationship Id="rId80" Type="http://schemas.openxmlformats.org/officeDocument/2006/relationships/slideLayout" Target="../slideLayouts/slideLayout771.xml"/><Relationship Id="rId155" Type="http://schemas.openxmlformats.org/officeDocument/2006/relationships/slideLayout" Target="../slideLayouts/slideLayout846.xml"/><Relationship Id="rId176" Type="http://schemas.openxmlformats.org/officeDocument/2006/relationships/slideLayout" Target="../slideLayouts/slideLayout867.xml"/><Relationship Id="rId197" Type="http://schemas.openxmlformats.org/officeDocument/2006/relationships/slideLayout" Target="../slideLayouts/slideLayout888.xml"/><Relationship Id="rId17" Type="http://schemas.openxmlformats.org/officeDocument/2006/relationships/slideLayout" Target="../slideLayouts/slideLayout708.xml"/><Relationship Id="rId38" Type="http://schemas.openxmlformats.org/officeDocument/2006/relationships/slideLayout" Target="../slideLayouts/slideLayout729.xml"/><Relationship Id="rId59" Type="http://schemas.openxmlformats.org/officeDocument/2006/relationships/slideLayout" Target="../slideLayouts/slideLayout750.xml"/><Relationship Id="rId103" Type="http://schemas.openxmlformats.org/officeDocument/2006/relationships/slideLayout" Target="../slideLayouts/slideLayout794.xml"/><Relationship Id="rId124" Type="http://schemas.openxmlformats.org/officeDocument/2006/relationships/slideLayout" Target="../slideLayouts/slideLayout815.xml"/><Relationship Id="rId70" Type="http://schemas.openxmlformats.org/officeDocument/2006/relationships/slideLayout" Target="../slideLayouts/slideLayout761.xml"/><Relationship Id="rId91" Type="http://schemas.openxmlformats.org/officeDocument/2006/relationships/slideLayout" Target="../slideLayouts/slideLayout782.xml"/><Relationship Id="rId145" Type="http://schemas.openxmlformats.org/officeDocument/2006/relationships/slideLayout" Target="../slideLayouts/slideLayout836.xml"/><Relationship Id="rId166" Type="http://schemas.openxmlformats.org/officeDocument/2006/relationships/slideLayout" Target="../slideLayouts/slideLayout857.xml"/><Relationship Id="rId187" Type="http://schemas.openxmlformats.org/officeDocument/2006/relationships/slideLayout" Target="../slideLayouts/slideLayout878.xml"/><Relationship Id="rId1" Type="http://schemas.openxmlformats.org/officeDocument/2006/relationships/slideLayout" Target="../slideLayouts/slideLayout692.xml"/><Relationship Id="rId28" Type="http://schemas.openxmlformats.org/officeDocument/2006/relationships/slideLayout" Target="../slideLayouts/slideLayout719.xml"/><Relationship Id="rId49" Type="http://schemas.openxmlformats.org/officeDocument/2006/relationships/slideLayout" Target="../slideLayouts/slideLayout740.xml"/><Relationship Id="rId114" Type="http://schemas.openxmlformats.org/officeDocument/2006/relationships/slideLayout" Target="../slideLayouts/slideLayout805.xml"/><Relationship Id="rId60" Type="http://schemas.openxmlformats.org/officeDocument/2006/relationships/slideLayout" Target="../slideLayouts/slideLayout751.xml"/><Relationship Id="rId81" Type="http://schemas.openxmlformats.org/officeDocument/2006/relationships/slideLayout" Target="../slideLayouts/slideLayout772.xml"/><Relationship Id="rId135" Type="http://schemas.openxmlformats.org/officeDocument/2006/relationships/slideLayout" Target="../slideLayouts/slideLayout826.xml"/><Relationship Id="rId156" Type="http://schemas.openxmlformats.org/officeDocument/2006/relationships/slideLayout" Target="../slideLayouts/slideLayout847.xml"/><Relationship Id="rId177" Type="http://schemas.openxmlformats.org/officeDocument/2006/relationships/slideLayout" Target="../slideLayouts/slideLayout868.xml"/><Relationship Id="rId198" Type="http://schemas.openxmlformats.org/officeDocument/2006/relationships/slideLayout" Target="../slideLayouts/slideLayout889.xml"/><Relationship Id="rId18" Type="http://schemas.openxmlformats.org/officeDocument/2006/relationships/slideLayout" Target="../slideLayouts/slideLayout709.xml"/><Relationship Id="rId39" Type="http://schemas.openxmlformats.org/officeDocument/2006/relationships/slideLayout" Target="../slideLayouts/slideLayout730.xml"/><Relationship Id="rId50" Type="http://schemas.openxmlformats.org/officeDocument/2006/relationships/slideLayout" Target="../slideLayouts/slideLayout741.xml"/><Relationship Id="rId104" Type="http://schemas.openxmlformats.org/officeDocument/2006/relationships/slideLayout" Target="../slideLayouts/slideLayout795.xml"/><Relationship Id="rId125" Type="http://schemas.openxmlformats.org/officeDocument/2006/relationships/slideLayout" Target="../slideLayouts/slideLayout816.xml"/><Relationship Id="rId146" Type="http://schemas.openxmlformats.org/officeDocument/2006/relationships/slideLayout" Target="../slideLayouts/slideLayout837.xml"/><Relationship Id="rId167" Type="http://schemas.openxmlformats.org/officeDocument/2006/relationships/slideLayout" Target="../slideLayouts/slideLayout858.xml"/><Relationship Id="rId188" Type="http://schemas.openxmlformats.org/officeDocument/2006/relationships/slideLayout" Target="../slideLayouts/slideLayout8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6" r:id="rId40"/>
    <p:sldLayoutId id="2147487207" r:id="rId41"/>
    <p:sldLayoutId id="2147487208" r:id="rId42"/>
    <p:sldLayoutId id="2147487209" r:id="rId43"/>
    <p:sldLayoutId id="2147487210" r:id="rId44"/>
    <p:sldLayoutId id="2147487211" r:id="rId45"/>
    <p:sldLayoutId id="2147487212" r:id="rId46"/>
    <p:sldLayoutId id="2147487213" r:id="rId47"/>
    <p:sldLayoutId id="2147487214" r:id="rId48"/>
    <p:sldLayoutId id="2147487215" r:id="rId49"/>
    <p:sldLayoutId id="2147487216" r:id="rId50"/>
    <p:sldLayoutId id="2147487217" r:id="rId51"/>
    <p:sldLayoutId id="2147487218" r:id="rId52"/>
    <p:sldLayoutId id="2147487219" r:id="rId53"/>
    <p:sldLayoutId id="2147487220" r:id="rId54"/>
    <p:sldLayoutId id="2147487221" r:id="rId55"/>
    <p:sldLayoutId id="2147487222" r:id="rId56"/>
    <p:sldLayoutId id="2147487223" r:id="rId57"/>
    <p:sldLayoutId id="2147487224" r:id="rId58"/>
    <p:sldLayoutId id="2147487225" r:id="rId59"/>
    <p:sldLayoutId id="2147487226" r:id="rId60"/>
    <p:sldLayoutId id="2147487227" r:id="rId61"/>
    <p:sldLayoutId id="2147487228" r:id="rId62"/>
    <p:sldLayoutId id="2147487229" r:id="rId63"/>
    <p:sldLayoutId id="2147487058" r:id="rId64"/>
    <p:sldLayoutId id="2147487231" r:id="rId65"/>
    <p:sldLayoutId id="2147487232" r:id="rId66"/>
    <p:sldLayoutId id="2147487233" r:id="rId67"/>
    <p:sldLayoutId id="2147487234" r:id="rId68"/>
    <p:sldLayoutId id="2147487235" r:id="rId69"/>
    <p:sldLayoutId id="2147487236" r:id="rId70"/>
    <p:sldLayoutId id="2147487237" r:id="rId71"/>
    <p:sldLayoutId id="2147487059" r:id="rId72"/>
    <p:sldLayoutId id="2147487060" r:id="rId73"/>
    <p:sldLayoutId id="2147487061" r:id="rId74"/>
    <p:sldLayoutId id="2147487062" r:id="rId75"/>
    <p:sldLayoutId id="2147487242" r:id="rId76"/>
    <p:sldLayoutId id="2147487063" r:id="rId77"/>
    <p:sldLayoutId id="2147487244" r:id="rId78"/>
    <p:sldLayoutId id="2147487245" r:id="rId79"/>
    <p:sldLayoutId id="2147487246" r:id="rId80"/>
    <p:sldLayoutId id="2147487064" r:id="rId81"/>
    <p:sldLayoutId id="2147487248" r:id="rId82"/>
    <p:sldLayoutId id="2147487249" r:id="rId83"/>
    <p:sldLayoutId id="2147487250" r:id="rId84"/>
    <p:sldLayoutId id="2147487251" r:id="rId85"/>
    <p:sldLayoutId id="2147487252" r:id="rId86"/>
    <p:sldLayoutId id="2147487253" r:id="rId87"/>
    <p:sldLayoutId id="2147487065" r:id="rId88"/>
    <p:sldLayoutId id="2147487066" r:id="rId89"/>
    <p:sldLayoutId id="2147487067" r:id="rId90"/>
    <p:sldLayoutId id="2147487068" r:id="rId91"/>
    <p:sldLayoutId id="2147487069" r:id="rId92"/>
    <p:sldLayoutId id="2147487070" r:id="rId93"/>
    <p:sldLayoutId id="2147487071" r:id="rId94"/>
    <p:sldLayoutId id="2147487072" r:id="rId95"/>
    <p:sldLayoutId id="2147487073" r:id="rId96"/>
    <p:sldLayoutId id="2147487074" r:id="rId97"/>
    <p:sldLayoutId id="2147487075" r:id="rId98"/>
    <p:sldLayoutId id="2147487155" r:id="rId99"/>
    <p:sldLayoutId id="2147487265" r:id="rId100"/>
    <p:sldLayoutId id="2147487266" r:id="rId101"/>
    <p:sldLayoutId id="2147487076" r:id="rId102"/>
    <p:sldLayoutId id="2147487077" r:id="rId103"/>
    <p:sldLayoutId id="2147487078" r:id="rId104"/>
    <p:sldLayoutId id="2147487270" r:id="rId105"/>
    <p:sldLayoutId id="2147487271" r:id="rId106"/>
    <p:sldLayoutId id="2147487272" r:id="rId107"/>
    <p:sldLayoutId id="2147487273" r:id="rId108"/>
    <p:sldLayoutId id="2147487274" r:id="rId109"/>
    <p:sldLayoutId id="2147487275" r:id="rId110"/>
    <p:sldLayoutId id="2147487276" r:id="rId111"/>
    <p:sldLayoutId id="2147487277" r:id="rId112"/>
    <p:sldLayoutId id="2147487079" r:id="rId113"/>
    <p:sldLayoutId id="2147487080" r:id="rId114"/>
    <p:sldLayoutId id="2147487081" r:id="rId115"/>
    <p:sldLayoutId id="2147487082" r:id="rId116"/>
    <p:sldLayoutId id="2147487083" r:id="rId117"/>
    <p:sldLayoutId id="2147487084" r:id="rId118"/>
    <p:sldLayoutId id="2147487085" r:id="rId119"/>
    <p:sldLayoutId id="2147487086" r:id="rId120"/>
    <p:sldLayoutId id="2147487087" r:id="rId121"/>
    <p:sldLayoutId id="2147487088" r:id="rId122"/>
    <p:sldLayoutId id="2147487089" r:id="rId123"/>
    <p:sldLayoutId id="2147487090" r:id="rId124"/>
    <p:sldLayoutId id="2147487290" r:id="rId125"/>
    <p:sldLayoutId id="2147487291" r:id="rId126"/>
    <p:sldLayoutId id="2147487292" r:id="rId127"/>
    <p:sldLayoutId id="2147487294" r:id="rId128"/>
    <p:sldLayoutId id="2147487295" r:id="rId129"/>
    <p:sldLayoutId id="2147487296" r:id="rId130"/>
    <p:sldLayoutId id="2147487297" r:id="rId131"/>
    <p:sldLayoutId id="2147487298" r:id="rId132"/>
    <p:sldLayoutId id="2147487299" r:id="rId133"/>
    <p:sldLayoutId id="2147487300" r:id="rId134"/>
    <p:sldLayoutId id="2147487301" r:id="rId135"/>
    <p:sldLayoutId id="2147487092" r:id="rId136"/>
    <p:sldLayoutId id="2147487303" r:id="rId137"/>
    <p:sldLayoutId id="2147487304" r:id="rId138"/>
    <p:sldLayoutId id="2147487305" r:id="rId139"/>
    <p:sldLayoutId id="2147487306" r:id="rId140"/>
    <p:sldLayoutId id="2147487307" r:id="rId141"/>
    <p:sldLayoutId id="2147487308" r:id="rId142"/>
    <p:sldLayoutId id="2147487093" r:id="rId143"/>
    <p:sldLayoutId id="2147487310" r:id="rId144"/>
    <p:sldLayoutId id="2147487311" r:id="rId145"/>
    <p:sldLayoutId id="2147487094" r:id="rId146"/>
    <p:sldLayoutId id="2147487095" r:id="rId147"/>
    <p:sldLayoutId id="2147487096" r:id="rId148"/>
    <p:sldLayoutId id="2147487097" r:id="rId149"/>
    <p:sldLayoutId id="2147487098" r:id="rId150"/>
    <p:sldLayoutId id="2147487099" r:id="rId151"/>
    <p:sldLayoutId id="2147487318" r:id="rId152"/>
    <p:sldLayoutId id="2147487319" r:id="rId153"/>
    <p:sldLayoutId id="2147487320" r:id="rId154"/>
    <p:sldLayoutId id="2147487100" r:id="rId155"/>
    <p:sldLayoutId id="2147487101" r:id="rId156"/>
    <p:sldLayoutId id="2147487102" r:id="rId157"/>
    <p:sldLayoutId id="2147487103" r:id="rId158"/>
    <p:sldLayoutId id="2147487104" r:id="rId159"/>
    <p:sldLayoutId id="2147487326" r:id="rId160"/>
    <p:sldLayoutId id="2147487105" r:id="rId161"/>
    <p:sldLayoutId id="2147487106" r:id="rId162"/>
    <p:sldLayoutId id="2147487107" r:id="rId163"/>
    <p:sldLayoutId id="2147487108" r:id="rId164"/>
    <p:sldLayoutId id="2147487109" r:id="rId165"/>
    <p:sldLayoutId id="2147487110" r:id="rId166"/>
    <p:sldLayoutId id="2147487111" r:id="rId167"/>
    <p:sldLayoutId id="2147487112" r:id="rId168"/>
    <p:sldLayoutId id="2147487113" r:id="rId169"/>
    <p:sldLayoutId id="2147487114" r:id="rId170"/>
    <p:sldLayoutId id="2147487115" r:id="rId171"/>
    <p:sldLayoutId id="2147487116" r:id="rId172"/>
    <p:sldLayoutId id="2147487117" r:id="rId173"/>
    <p:sldLayoutId id="2147487118" r:id="rId174"/>
    <p:sldLayoutId id="2147487119" r:id="rId175"/>
    <p:sldLayoutId id="2147487120" r:id="rId176"/>
    <p:sldLayoutId id="2147487121" r:id="rId177"/>
    <p:sldLayoutId id="2147487122" r:id="rId178"/>
    <p:sldLayoutId id="2147487123" r:id="rId179"/>
    <p:sldLayoutId id="2147487346" r:id="rId180"/>
    <p:sldLayoutId id="2147487124" r:id="rId181"/>
    <p:sldLayoutId id="2147487348" r:id="rId182"/>
    <p:sldLayoutId id="2147487349" r:id="rId183"/>
    <p:sldLayoutId id="2147483847" r:id="rId184"/>
    <p:sldLayoutId id="2147483848" r:id="rId185"/>
    <p:sldLayoutId id="2147483849" r:id="rId186"/>
    <p:sldLayoutId id="2147483850" r:id="rId187"/>
    <p:sldLayoutId id="2147483851" r:id="rId188"/>
    <p:sldLayoutId id="2147483852" r:id="rId189"/>
    <p:sldLayoutId id="2147483853" r:id="rId190"/>
    <p:sldLayoutId id="2147483854" r:id="rId191"/>
    <p:sldLayoutId id="2147483855" r:id="rId192"/>
    <p:sldLayoutId id="2147483856" r:id="rId193"/>
    <p:sldLayoutId id="2147483857" r:id="rId194"/>
    <p:sldLayoutId id="2147483858" r:id="rId195"/>
    <p:sldLayoutId id="2147483859" r:id="rId196"/>
    <p:sldLayoutId id="2147487005" r:id="rId197"/>
    <p:sldLayoutId id="2147483861" r:id="rId198"/>
    <p:sldLayoutId id="2147483862" r:id="rId199"/>
    <p:sldLayoutId id="2147483863" r:id="rId200"/>
    <p:sldLayoutId id="2147483864" r:id="rId201"/>
    <p:sldLayoutId id="2147483865" r:id="rId202"/>
    <p:sldLayoutId id="2147483866" r:id="rId203"/>
    <p:sldLayoutId id="2147483867" r:id="rId204"/>
    <p:sldLayoutId id="2147483868" r:id="rId205"/>
    <p:sldLayoutId id="2147483869" r:id="rId206"/>
    <p:sldLayoutId id="2147483870" r:id="rId207"/>
    <p:sldLayoutId id="2147483871" r:id="rId208"/>
    <p:sldLayoutId id="2147483872" r:id="rId209"/>
    <p:sldLayoutId id="2147483873" r:id="rId210"/>
    <p:sldLayoutId id="2147483874" r:id="rId211"/>
    <p:sldLayoutId id="2147483875" r:id="rId212"/>
    <p:sldLayoutId id="2147483876" r:id="rId213"/>
    <p:sldLayoutId id="2147483877" r:id="rId214"/>
    <p:sldLayoutId id="2147483878" r:id="rId215"/>
    <p:sldLayoutId id="2147483879" r:id="rId216"/>
    <p:sldLayoutId id="2147483880" r:id="rId217"/>
    <p:sldLayoutId id="2147483881" r:id="rId218"/>
    <p:sldLayoutId id="2147483882" r:id="rId219"/>
    <p:sldLayoutId id="2147483883" r:id="rId220"/>
    <p:sldLayoutId id="2147483884" r:id="rId221"/>
    <p:sldLayoutId id="2147483885" r:id="rId222"/>
    <p:sldLayoutId id="2147483886" r:id="rId223"/>
    <p:sldLayoutId id="2147483887" r:id="rId224"/>
    <p:sldLayoutId id="2147483888" r:id="rId225"/>
    <p:sldLayoutId id="2147483889" r:id="rId226"/>
    <p:sldLayoutId id="2147483890" r:id="rId227"/>
    <p:sldLayoutId id="2147483891" r:id="rId228"/>
    <p:sldLayoutId id="2147483892" r:id="rId229"/>
    <p:sldLayoutId id="2147483893" r:id="rId230"/>
    <p:sldLayoutId id="2147483894" r:id="rId231"/>
    <p:sldLayoutId id="2147483895" r:id="rId232"/>
    <p:sldLayoutId id="2147483896" r:id="rId233"/>
    <p:sldLayoutId id="2147483897" r:id="rId234"/>
    <p:sldLayoutId id="2147483898" r:id="rId235"/>
    <p:sldLayoutId id="2147483899" r:id="rId236"/>
    <p:sldLayoutId id="2147483900" r:id="rId237"/>
    <p:sldLayoutId id="2147483901" r:id="rId238"/>
    <p:sldLayoutId id="2147483902" r:id="rId239"/>
    <p:sldLayoutId id="2147483903" r:id="rId240"/>
    <p:sldLayoutId id="2147483904" r:id="rId241"/>
    <p:sldLayoutId id="2147483905" r:id="rId242"/>
    <p:sldLayoutId id="2147483906" r:id="rId243"/>
    <p:sldLayoutId id="2147483907" r:id="rId244"/>
    <p:sldLayoutId id="2147487126" r:id="rId245"/>
    <p:sldLayoutId id="2147487128" r:id="rId246"/>
    <p:sldLayoutId id="2147487129" r:id="rId247"/>
    <p:sldLayoutId id="2147487127" r:id="rId248"/>
    <p:sldLayoutId id="2147487131" r:id="rId249"/>
    <p:sldLayoutId id="2147487132" r:id="rId250"/>
    <p:sldLayoutId id="2147487133" r:id="rId251"/>
    <p:sldLayoutId id="2147487134" r:id="rId252"/>
    <p:sldLayoutId id="2147487135" r:id="rId253"/>
    <p:sldLayoutId id="2147487136" r:id="rId254"/>
    <p:sldLayoutId id="2147487137" r:id="rId255"/>
    <p:sldLayoutId id="2147487138" r:id="rId256"/>
    <p:sldLayoutId id="2147487139" r:id="rId257"/>
    <p:sldLayoutId id="2147487140" r:id="rId258"/>
    <p:sldLayoutId id="2147487141" r:id="rId259"/>
    <p:sldLayoutId id="2147487142" r:id="rId260"/>
    <p:sldLayoutId id="2147483925" r:id="rId261"/>
    <p:sldLayoutId id="2147483926" r:id="rId262"/>
    <p:sldLayoutId id="2147483927" r:id="rId263"/>
    <p:sldLayoutId id="2147483928" r:id="rId264"/>
    <p:sldLayoutId id="2147483929" r:id="rId265"/>
    <p:sldLayoutId id="2147483930" r:id="rId266"/>
    <p:sldLayoutId id="2147483931" r:id="rId267"/>
    <p:sldLayoutId id="2147483932" r:id="rId268"/>
    <p:sldLayoutId id="2147483933" r:id="rId269"/>
    <p:sldLayoutId id="2147483934" r:id="rId270"/>
    <p:sldLayoutId id="2147483935" r:id="rId271"/>
    <p:sldLayoutId id="2147483936" r:id="rId272"/>
    <p:sldLayoutId id="2147487130" r:id="rId273"/>
    <p:sldLayoutId id="2147483735" r:id="rId274"/>
    <p:sldLayoutId id="2147486987" r:id="rId275"/>
    <p:sldLayoutId id="2147487355" r:id="rId276"/>
    <p:sldLayoutId id="2147487369" r:id="rId277"/>
    <p:sldLayoutId id="2147487356" r:id="rId278"/>
    <p:sldLayoutId id="2147487357" r:id="rId279"/>
    <p:sldLayoutId id="2147487358" r:id="rId280"/>
    <p:sldLayoutId id="2147485074" r:id="rId281"/>
    <p:sldLayoutId id="2147485075" r:id="rId282"/>
    <p:sldLayoutId id="2147485076" r:id="rId283"/>
    <p:sldLayoutId id="2147485077" r:id="rId284"/>
    <p:sldLayoutId id="2147485078" r:id="rId285"/>
    <p:sldLayoutId id="2147484851" r:id="rId286"/>
    <p:sldLayoutId id="2147487362" r:id="rId287"/>
    <p:sldLayoutId id="2147487360" r:id="rId288"/>
    <p:sldLayoutId id="2147483736" r:id="rId289"/>
    <p:sldLayoutId id="2147487359" r:id="rId290"/>
    <p:sldLayoutId id="2147487361" r:id="rId291"/>
    <p:sldLayoutId id="2147483758" r:id="rId292"/>
    <p:sldLayoutId id="2147483759" r:id="rId293"/>
    <p:sldLayoutId id="2147483757" r:id="rId294"/>
    <p:sldLayoutId id="2147483764" r:id="rId295"/>
    <p:sldLayoutId id="2147483765" r:id="rId296"/>
    <p:sldLayoutId id="2147483766" r:id="rId297"/>
    <p:sldLayoutId id="2147487379" r:id="rId298"/>
    <p:sldLayoutId id="2147483739" r:id="rId299"/>
    <p:sldLayoutId id="2147483750" r:id="rId300"/>
    <p:sldLayoutId id="2147484627" r:id="rId301"/>
    <p:sldLayoutId id="2147485879" r:id="rId302"/>
    <p:sldLayoutId id="2147484838" r:id="rId303"/>
    <p:sldLayoutId id="2147485857" r:id="rId304"/>
    <p:sldLayoutId id="2147485858" r:id="rId305"/>
    <p:sldLayoutId id="2147485859" r:id="rId306"/>
    <p:sldLayoutId id="2147485860" r:id="rId307"/>
    <p:sldLayoutId id="2147485861" r:id="rId308"/>
    <p:sldLayoutId id="2147484634" r:id="rId309"/>
    <p:sldLayoutId id="2147484635" r:id="rId310"/>
    <p:sldLayoutId id="2147484238" r:id="rId311"/>
    <p:sldLayoutId id="2147486915" r:id="rId312"/>
    <p:sldLayoutId id="2147484840" r:id="rId313"/>
    <p:sldLayoutId id="2147486917" r:id="rId314"/>
    <p:sldLayoutId id="2147484203" r:id="rId315"/>
    <p:sldLayoutId id="2147484204" r:id="rId316"/>
    <p:sldLayoutId id="2147484205" r:id="rId317"/>
    <p:sldLayoutId id="2147484206" r:id="rId318"/>
    <p:sldLayoutId id="2147484237" r:id="rId319"/>
    <p:sldLayoutId id="2147484208" r:id="rId320"/>
    <p:sldLayoutId id="2147485064" r:id="rId321"/>
    <p:sldLayoutId id="2147485065" r:id="rId322"/>
    <p:sldLayoutId id="2147486965" r:id="rId323"/>
    <p:sldLayoutId id="2147485066" r:id="rId324"/>
    <p:sldLayoutId id="2147485067" r:id="rId325"/>
    <p:sldLayoutId id="2147485068" r:id="rId326"/>
    <p:sldLayoutId id="2147485069" r:id="rId327"/>
    <p:sldLayoutId id="2147485352" r:id="rId328"/>
    <p:sldLayoutId id="2147485070" r:id="rId329"/>
    <p:sldLayoutId id="2147486030" r:id="rId330"/>
    <p:sldLayoutId id="2147485071" r:id="rId331"/>
    <p:sldLayoutId id="2147487168" r:id="rId332"/>
    <p:sldLayoutId id="2147484626" r:id="rId333"/>
    <p:sldLayoutId id="2147484836" r:id="rId334"/>
    <p:sldLayoutId id="2147484837" r:id="rId335"/>
    <p:sldLayoutId id="2147487169" r:id="rId336"/>
    <p:sldLayoutId id="2147484602" r:id="rId337"/>
    <p:sldLayoutId id="2147484603" r:id="rId338"/>
    <p:sldLayoutId id="2147484604" r:id="rId339"/>
    <p:sldLayoutId id="2147484839" r:id="rId340"/>
    <p:sldLayoutId id="2147485847" r:id="rId341"/>
    <p:sldLayoutId id="2147485848" r:id="rId342"/>
    <p:sldLayoutId id="2147485849" r:id="rId343"/>
    <p:sldLayoutId id="2147485850" r:id="rId344"/>
    <p:sldLayoutId id="2147485851" r:id="rId345"/>
    <p:sldLayoutId id="2147485852" r:id="rId346"/>
    <p:sldLayoutId id="2147485853" r:id="rId347"/>
    <p:sldLayoutId id="2147485854" r:id="rId348"/>
    <p:sldLayoutId id="2147485855" r:id="rId349"/>
    <p:sldLayoutId id="2147485856" r:id="rId350"/>
    <p:sldLayoutId id="2147484384" r:id="rId351"/>
    <p:sldLayoutId id="2147485405" r:id="rId352"/>
    <p:sldLayoutId id="2147484559" r:id="rId353"/>
    <p:sldLayoutId id="2147484385" r:id="rId354"/>
    <p:sldLayoutId id="2147485406" r:id="rId355"/>
    <p:sldLayoutId id="2147484387" r:id="rId356"/>
    <p:sldLayoutId id="2147484388" r:id="rId357"/>
    <p:sldLayoutId id="2147484389" r:id="rId358"/>
    <p:sldLayoutId id="2147484390" r:id="rId359"/>
    <p:sldLayoutId id="2147484391" r:id="rId360"/>
    <p:sldLayoutId id="2147484392" r:id="rId361"/>
    <p:sldLayoutId id="2147486953" r:id="rId362"/>
    <p:sldLayoutId id="2147486205" r:id="rId363"/>
    <p:sldLayoutId id="2147486206" r:id="rId364"/>
    <p:sldLayoutId id="2147486207" r:id="rId365"/>
    <p:sldLayoutId id="2147486208" r:id="rId366"/>
    <p:sldLayoutId id="2147486209" r:id="rId367"/>
    <p:sldLayoutId id="2147484766" r:id="rId368"/>
    <p:sldLayoutId id="2147486426" r:id="rId369"/>
    <p:sldLayoutId id="2147486404" r:id="rId370"/>
    <p:sldLayoutId id="2147484767" r:id="rId371"/>
    <p:sldLayoutId id="2147486405" r:id="rId372"/>
    <p:sldLayoutId id="2147486406" r:id="rId373"/>
    <p:sldLayoutId id="2147486407" r:id="rId374"/>
    <p:sldLayoutId id="2147486408" r:id="rId375"/>
    <p:sldLayoutId id="2147486409" r:id="rId376"/>
    <p:sldLayoutId id="2147484768" r:id="rId377"/>
    <p:sldLayoutId id="2147486428" r:id="rId378"/>
    <p:sldLayoutId id="2147486200" r:id="rId379"/>
    <p:sldLayoutId id="2147486201" r:id="rId380"/>
    <p:sldLayoutId id="2147486202" r:id="rId381"/>
    <p:sldLayoutId id="2147486989" r:id="rId382"/>
    <p:sldLayoutId id="2147486203" r:id="rId383"/>
    <p:sldLayoutId id="2147484842" r:id="rId384"/>
    <p:sldLayoutId id="2147483743" r:id="rId385"/>
    <p:sldLayoutId id="2147487370" r:id="rId386"/>
    <p:sldLayoutId id="2147487371" r:id="rId387"/>
    <p:sldLayoutId id="2147483751" r:id="rId388"/>
    <p:sldLayoutId id="2147483760" r:id="rId389"/>
    <p:sldLayoutId id="2147487376" r:id="rId390"/>
    <p:sldLayoutId id="2147487377" r:id="rId391"/>
    <p:sldLayoutId id="2147487378" r:id="rId392"/>
    <p:sldLayoutId id="2147487372" r:id="rId393"/>
    <p:sldLayoutId id="2147487373" r:id="rId394"/>
    <p:sldLayoutId id="2147487374" r:id="rId395"/>
    <p:sldLayoutId id="2147485878" r:id="rId396"/>
    <p:sldLayoutId id="2147484654" r:id="rId397"/>
    <p:sldLayoutId id="2147484655" r:id="rId398"/>
    <p:sldLayoutId id="2147484608" r:id="rId399"/>
    <p:sldLayoutId id="2147485213" r:id="rId400"/>
    <p:sldLayoutId id="2147485214" r:id="rId401"/>
    <p:sldLayoutId id="2147485179" r:id="rId402"/>
    <p:sldLayoutId id="2147485354" r:id="rId403"/>
    <p:sldLayoutId id="2147486926" r:id="rId404"/>
    <p:sldLayoutId id="2147486360" r:id="rId405"/>
    <p:sldLayoutId id="2147485556" r:id="rId406"/>
    <p:sldLayoutId id="2147486361" r:id="rId407"/>
    <p:sldLayoutId id="2147487375" r:id="rId408"/>
    <p:sldLayoutId id="2147484335" r:id="rId409"/>
    <p:sldLayoutId id="2147484336" r:id="rId410"/>
    <p:sldLayoutId id="2147484337" r:id="rId411"/>
    <p:sldLayoutId id="2147484853" r:id="rId412"/>
    <p:sldLayoutId id="2147484339" r:id="rId413"/>
    <p:sldLayoutId id="2147484340" r:id="rId414"/>
    <p:sldLayoutId id="2147484341" r:id="rId415"/>
    <p:sldLayoutId id="2147484342" r:id="rId416"/>
    <p:sldLayoutId id="2147484343" r:id="rId417"/>
    <p:sldLayoutId id="2147484344" r:id="rId418"/>
    <p:sldLayoutId id="2147485468" r:id="rId419"/>
    <p:sldLayoutId id="2147485865" r:id="rId420"/>
    <p:sldLayoutId id="2147484364" r:id="rId421"/>
    <p:sldLayoutId id="2147485358" r:id="rId422"/>
    <p:sldLayoutId id="2147485868" r:id="rId423"/>
    <p:sldLayoutId id="2147485869" r:id="rId424"/>
    <p:sldLayoutId id="2147485870" r:id="rId425"/>
    <p:sldLayoutId id="2147485385" r:id="rId426"/>
    <p:sldLayoutId id="2147485871" r:id="rId427"/>
    <p:sldLayoutId id="2147485469" r:id="rId428"/>
    <p:sldLayoutId id="2147484570" r:id="rId429"/>
    <p:sldLayoutId id="2147484222" r:id="rId430"/>
    <p:sldLayoutId id="2147484854" r:id="rId431"/>
    <p:sldLayoutId id="2147484855" r:id="rId432"/>
    <p:sldLayoutId id="2147485079" r:id="rId433"/>
    <p:sldLayoutId id="2147485080" r:id="rId434"/>
    <p:sldLayoutId id="2147485081" r:id="rId435"/>
    <p:sldLayoutId id="2147485082" r:id="rId436"/>
    <p:sldLayoutId id="2147485083" r:id="rId437"/>
    <p:sldLayoutId id="2147484596" r:id="rId438"/>
    <p:sldLayoutId id="2147484835" r:id="rId439"/>
    <p:sldLayoutId id="2147484353" r:id="rId440"/>
    <p:sldLayoutId id="2147484852" r:id="rId441"/>
    <p:sldLayoutId id="2147487363" r:id="rId442"/>
    <p:sldLayoutId id="2147485093" r:id="rId443"/>
    <p:sldLayoutId id="2147486929" r:id="rId444"/>
    <p:sldLayoutId id="2147485072" r:id="rId445"/>
    <p:sldLayoutId id="2147485355" r:id="rId446"/>
    <p:sldLayoutId id="2147483726" r:id="rId447"/>
    <p:sldLayoutId id="2147487364" r:id="rId448"/>
    <p:sldLayoutId id="2147487365" r:id="rId449"/>
    <p:sldLayoutId id="2147487366" r:id="rId450"/>
    <p:sldLayoutId id="2147487367" r:id="rId451"/>
    <p:sldLayoutId id="2147483734" r:id="rId452"/>
    <p:sldLayoutId id="2147487368" r:id="rId453"/>
    <p:sldLayoutId id="2147484355" r:id="rId454"/>
    <p:sldLayoutId id="2147485444" r:id="rId455"/>
    <p:sldLayoutId id="2147484356" r:id="rId456"/>
    <p:sldLayoutId id="2147483860" r:id="rId457"/>
    <p:sldLayoutId id="2147486993" r:id="rId458"/>
    <p:sldLayoutId id="2147484357" r:id="rId459"/>
    <p:sldLayoutId id="2147484358" r:id="rId460"/>
    <p:sldLayoutId id="2147484359" r:id="rId461"/>
    <p:sldLayoutId id="2147484360" r:id="rId462"/>
    <p:sldLayoutId id="2147484361" r:id="rId463"/>
    <p:sldLayoutId id="2147484393" r:id="rId464"/>
    <p:sldLayoutId id="2147484394" r:id="rId465"/>
    <p:sldLayoutId id="2147483672" r:id="rId466"/>
    <p:sldLayoutId id="2147483673" r:id="rId467"/>
    <p:sldLayoutId id="2147486423" r:id="rId468"/>
    <p:sldLayoutId id="2147486950" r:id="rId469"/>
    <p:sldLayoutId id="2147484845" r:id="rId470"/>
    <p:sldLayoutId id="2147484846" r:id="rId471"/>
    <p:sldLayoutId id="2147484566" r:id="rId472"/>
    <p:sldLayoutId id="2147485470" r:id="rId473"/>
    <p:sldLayoutId id="2147484231" r:id="rId474"/>
    <p:sldLayoutId id="2147484268" r:id="rId475"/>
    <p:sldLayoutId id="2147484235" r:id="rId476"/>
    <p:sldLayoutId id="2147484847" r:id="rId477"/>
    <p:sldLayoutId id="2147484245" r:id="rId478"/>
    <p:sldLayoutId id="2147484262" r:id="rId479"/>
    <p:sldLayoutId id="2147486955" r:id="rId480"/>
    <p:sldLayoutId id="2147485238" r:id="rId481"/>
    <p:sldLayoutId id="2147486956" r:id="rId482"/>
    <p:sldLayoutId id="2147484233" r:id="rId483"/>
    <p:sldLayoutId id="2147486948" r:id="rId484"/>
    <p:sldLayoutId id="2147484774" r:id="rId485"/>
    <p:sldLayoutId id="2147484775" r:id="rId486"/>
    <p:sldLayoutId id="2147486425" r:id="rId487"/>
    <p:sldLayoutId id="2147484776" r:id="rId488"/>
    <p:sldLayoutId id="2147484777" r:id="rId489"/>
    <p:sldLayoutId id="2147486387" r:id="rId490"/>
    <p:sldLayoutId id="2147486389" r:id="rId491"/>
    <p:sldLayoutId id="2147486391" r:id="rId492"/>
    <p:sldLayoutId id="2147486949" r:id="rId493"/>
    <p:sldLayoutId id="2147486424" r:id="rId494"/>
    <p:sldLayoutId id="2147484821" r:id="rId495"/>
    <p:sldLayoutId id="2147486952" r:id="rId496"/>
    <p:sldLayoutId id="2147485239" r:id="rId497"/>
    <p:sldLayoutId id="2147484848" r:id="rId498"/>
    <p:sldLayoutId id="2147486048" r:id="rId499"/>
    <p:sldLayoutId id="2147486954" r:id="rId500"/>
    <p:sldLayoutId id="2147484400" r:id="rId501"/>
    <p:sldLayoutId id="2147484401" r:id="rId502"/>
    <p:sldLayoutId id="2147484402" r:id="rId503"/>
    <p:sldLayoutId id="2147484822" r:id="rId504"/>
    <p:sldLayoutId id="2147486251" r:id="rId505"/>
    <p:sldLayoutId id="2147484849" r:id="rId506"/>
    <p:sldLayoutId id="2147484850" r:id="rId507"/>
    <p:sldLayoutId id="2147487350" r:id="rId508"/>
    <p:sldLayoutId id="2147487351" r:id="rId509"/>
    <p:sldLayoutId id="2147486990" r:id="rId510"/>
    <p:sldLayoutId id="2147484585" r:id="rId511"/>
    <p:sldLayoutId id="2147484586" r:id="rId512"/>
    <p:sldLayoutId id="2147484587" r:id="rId513"/>
    <p:sldLayoutId id="2147484588" r:id="rId514"/>
    <p:sldLayoutId id="2147484592" r:id="rId515"/>
    <p:sldLayoutId id="2147484593" r:id="rId516"/>
    <p:sldLayoutId id="2147484594" r:id="rId517"/>
    <p:sldLayoutId id="2147487156" r:id="rId518"/>
    <p:sldLayoutId id="2147485370" r:id="rId519"/>
    <p:sldLayoutId id="2147485872" r:id="rId520"/>
    <p:sldLayoutId id="2147486927" r:id="rId521"/>
    <p:sldLayoutId id="2147485367" r:id="rId522"/>
    <p:sldLayoutId id="2147485368" r:id="rId523"/>
    <p:sldLayoutId id="2147485369" r:id="rId524"/>
    <p:sldLayoutId id="2147485400" r:id="rId525"/>
    <p:sldLayoutId id="2147485401" r:id="rId526"/>
    <p:sldLayoutId id="2147485402" r:id="rId527"/>
    <p:sldLayoutId id="2147485403" r:id="rId528"/>
    <p:sldLayoutId id="2147486221" r:id="rId529"/>
    <p:sldLayoutId id="2147483752" r:id="rId530"/>
    <p:sldLayoutId id="2147483753" r:id="rId531"/>
    <p:sldLayoutId id="2147483754" r:id="rId532"/>
    <p:sldLayoutId id="2147483755" r:id="rId533"/>
    <p:sldLayoutId id="2147484386" r:id="rId534"/>
    <p:sldLayoutId id="2147484815" r:id="rId535"/>
    <p:sldLayoutId id="2147484816" r:id="rId536"/>
    <p:sldLayoutId id="2147484817" r:id="rId537"/>
    <p:sldLayoutId id="2147484329" r:id="rId538"/>
    <p:sldLayoutId id="2147486396" r:id="rId539"/>
    <p:sldLayoutId id="2147486397" r:id="rId540"/>
    <p:sldLayoutId id="2147486418" r:id="rId541"/>
    <p:sldLayoutId id="2147484330" r:id="rId542"/>
    <p:sldLayoutId id="2147484331" r:id="rId543"/>
    <p:sldLayoutId id="2147484332" r:id="rId544"/>
    <p:sldLayoutId id="2147484485" r:id="rId545"/>
    <p:sldLayoutId id="2147484486" r:id="rId546"/>
    <p:sldLayoutId id="2147484609" r:id="rId547"/>
    <p:sldLayoutId id="2147484477" r:id="rId548"/>
    <p:sldLayoutId id="2147484478" r:id="rId549"/>
    <p:sldLayoutId id="2147484260" r:id="rId550"/>
    <p:sldLayoutId id="2147484856" r:id="rId551"/>
    <p:sldLayoutId id="2147484480" r:id="rId552"/>
    <p:sldLayoutId id="2147484267" r:id="rId553"/>
    <p:sldLayoutId id="2147484481" r:id="rId554"/>
    <p:sldLayoutId id="2147484482" r:id="rId555"/>
    <p:sldLayoutId id="2147484483" r:id="rId556"/>
    <p:sldLayoutId id="2147484484" r:id="rId557"/>
    <p:sldLayoutId id="2147485270" r:id="rId558"/>
    <p:sldLayoutId id="2147485271" r:id="rId559"/>
    <p:sldLayoutId id="2147485272" r:id="rId560"/>
    <p:sldLayoutId id="2147484857" r:id="rId561"/>
    <p:sldLayoutId id="2147485273" r:id="rId562"/>
    <p:sldLayoutId id="2147485274" r:id="rId563"/>
    <p:sldLayoutId id="2147485275" r:id="rId564"/>
    <p:sldLayoutId id="2147485276" r:id="rId565"/>
    <p:sldLayoutId id="2147485277" r:id="rId566"/>
    <p:sldLayoutId id="2147485278" r:id="rId567"/>
    <p:sldLayoutId id="2147486991" r:id="rId568"/>
    <p:sldLayoutId id="2147486992" r:id="rId569"/>
    <p:sldLayoutId id="2147486252" r:id="rId570"/>
    <p:sldLayoutId id="2147486253" r:id="rId571"/>
    <p:sldLayoutId id="2147486363" r:id="rId572"/>
    <p:sldLayoutId id="2147487006" r:id="rId573"/>
    <p:sldLayoutId id="2147486364" r:id="rId574"/>
    <p:sldLayoutId id="2147486365" r:id="rId575"/>
    <p:sldLayoutId id="2147487007" r:id="rId576"/>
    <p:sldLayoutId id="2147483940" r:id="rId577"/>
    <p:sldLayoutId id="2147486366" r:id="rId578"/>
    <p:sldLayoutId id="2147486367" r:id="rId579"/>
    <p:sldLayoutId id="2147486368" r:id="rId580"/>
    <p:sldLayoutId id="2147486369" r:id="rId581"/>
    <p:sldLayoutId id="2147483944" r:id="rId582"/>
    <p:sldLayoutId id="2147483945" r:id="rId583"/>
    <p:sldLayoutId id="2147483949" r:id="rId584"/>
    <p:sldLayoutId id="2147483953" r:id="rId585"/>
    <p:sldLayoutId id="2147483954" r:id="rId586"/>
    <p:sldLayoutId id="2147483955" r:id="rId587"/>
    <p:sldLayoutId id="2147483956" r:id="rId588"/>
    <p:sldLayoutId id="2147483957" r:id="rId589"/>
    <p:sldLayoutId id="2147483958" r:id="rId590"/>
    <p:sldLayoutId id="2147483959" r:id="rId591"/>
    <p:sldLayoutId id="2147483960" r:id="rId592"/>
    <p:sldLayoutId id="2147483961" r:id="rId593"/>
    <p:sldLayoutId id="2147483962" r:id="rId594"/>
    <p:sldLayoutId id="2147483963" r:id="rId595"/>
    <p:sldLayoutId id="2147483964" r:id="rId596"/>
    <p:sldLayoutId id="2147483965" r:id="rId597"/>
    <p:sldLayoutId id="2147483966" r:id="rId598"/>
    <p:sldLayoutId id="2147483967" r:id="rId599"/>
    <p:sldLayoutId id="2147483968" r:id="rId600"/>
    <p:sldLayoutId id="2147483969" r:id="rId601"/>
    <p:sldLayoutId id="2147483970" r:id="rId602"/>
    <p:sldLayoutId id="2147483971" r:id="rId603"/>
    <p:sldLayoutId id="2147483972" r:id="rId604"/>
    <p:sldLayoutId id="2147483973" r:id="rId605"/>
    <p:sldLayoutId id="2147483974" r:id="rId606"/>
    <p:sldLayoutId id="2147483975" r:id="rId607"/>
    <p:sldLayoutId id="2147483976" r:id="rId608"/>
    <p:sldLayoutId id="2147483977" r:id="rId609"/>
    <p:sldLayoutId id="2147483978" r:id="rId610"/>
    <p:sldLayoutId id="2147483979" r:id="rId611"/>
    <p:sldLayoutId id="2147483980" r:id="rId612"/>
    <p:sldLayoutId id="2147483981" r:id="rId613"/>
    <p:sldLayoutId id="2147483982" r:id="rId614"/>
    <p:sldLayoutId id="2147483983" r:id="rId615"/>
    <p:sldLayoutId id="2147483984" r:id="rId616"/>
    <p:sldLayoutId id="2147483985" r:id="rId617"/>
    <p:sldLayoutId id="2147483986" r:id="rId618"/>
    <p:sldLayoutId id="2147483987" r:id="rId619"/>
    <p:sldLayoutId id="2147483988" r:id="rId620"/>
    <p:sldLayoutId id="2147483989" r:id="rId621"/>
    <p:sldLayoutId id="2147483990" r:id="rId622"/>
    <p:sldLayoutId id="2147483991" r:id="rId623"/>
    <p:sldLayoutId id="2147483992" r:id="rId624"/>
    <p:sldLayoutId id="2147483993" r:id="rId625"/>
    <p:sldLayoutId id="2147483994" r:id="rId626"/>
    <p:sldLayoutId id="2147483995" r:id="rId627"/>
    <p:sldLayoutId id="2147483996" r:id="rId628"/>
    <p:sldLayoutId id="2147483997" r:id="rId629"/>
    <p:sldLayoutId id="2147483998" r:id="rId630"/>
    <p:sldLayoutId id="2147483999" r:id="rId631"/>
    <p:sldLayoutId id="2147484000" r:id="rId632"/>
    <p:sldLayoutId id="2147484001" r:id="rId633"/>
    <p:sldLayoutId id="2147484002" r:id="rId634"/>
    <p:sldLayoutId id="2147484003" r:id="rId635"/>
    <p:sldLayoutId id="2147484004" r:id="rId636"/>
    <p:sldLayoutId id="2147484652" r:id="rId637"/>
    <p:sldLayoutId id="2147484653" r:id="rId638"/>
    <p:sldLayoutId id="2147487008" r:id="rId639"/>
    <p:sldLayoutId id="2147487009" r:id="rId640"/>
    <p:sldLayoutId id="2147487010" r:id="rId641"/>
    <p:sldLayoutId id="2147487011" r:id="rId642"/>
    <p:sldLayoutId id="2147487012" r:id="rId643"/>
    <p:sldLayoutId id="2147487013" r:id="rId644"/>
    <p:sldLayoutId id="2147484999" r:id="rId645"/>
    <p:sldLayoutId id="2147485000" r:id="rId646"/>
    <p:sldLayoutId id="2147485001" r:id="rId647"/>
    <p:sldLayoutId id="2147485002" r:id="rId648"/>
    <p:sldLayoutId id="2147485006" r:id="rId649"/>
    <p:sldLayoutId id="2147485007" r:id="rId650"/>
    <p:sldLayoutId id="2147485008" r:id="rId651"/>
    <p:sldLayoutId id="2147485877" r:id="rId652"/>
    <p:sldLayoutId id="2147486419" r:id="rId653"/>
    <p:sldLayoutId id="2147486079" r:id="rId654"/>
    <p:sldLayoutId id="2147487352" r:id="rId655"/>
    <p:sldLayoutId id="2147483677" r:id="rId656"/>
    <p:sldLayoutId id="2147487353" r:id="rId657"/>
    <p:sldLayoutId id="2147487354" r:id="rId658"/>
    <p:sldLayoutId id="2147485215" r:id="rId659"/>
    <p:sldLayoutId id="2147485425" r:id="rId660"/>
    <p:sldLayoutId id="2147485903" r:id="rId661"/>
    <p:sldLayoutId id="2147485904" r:id="rId662"/>
    <p:sldLayoutId id="2147484354" r:id="rId663"/>
    <p:sldLayoutId id="2147484572" r:id="rId664"/>
    <p:sldLayoutId id="2147485391" r:id="rId665"/>
    <p:sldLayoutId id="2147485392" r:id="rId666"/>
    <p:sldLayoutId id="2147484376" r:id="rId667"/>
    <p:sldLayoutId id="2147485905" r:id="rId668"/>
    <p:sldLayoutId id="2147485906" r:id="rId669"/>
    <p:sldLayoutId id="2147485880" r:id="rId670"/>
    <p:sldLayoutId id="2147485393" r:id="rId671"/>
    <p:sldLayoutId id="2147485394" r:id="rId672"/>
    <p:sldLayoutId id="2147485395" r:id="rId673"/>
    <p:sldLayoutId id="2147486284" r:id="rId674"/>
    <p:sldLayoutId id="2147484378" r:id="rId675"/>
    <p:sldLayoutId id="2147484379" r:id="rId676"/>
    <p:sldLayoutId id="2147485396" r:id="rId677"/>
    <p:sldLayoutId id="2147486222" r:id="rId678"/>
    <p:sldLayoutId id="2147486223" r:id="rId679"/>
    <p:sldLayoutId id="2147486224" r:id="rId680"/>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157" r:id="rId1"/>
    <p:sldLayoutId id="2147487158" r:id="rId2"/>
    <p:sldLayoutId id="2147487159" r:id="rId3"/>
    <p:sldLayoutId id="2147487160" r:id="rId4"/>
    <p:sldLayoutId id="2147487161" r:id="rId5"/>
    <p:sldLayoutId id="2147487162" r:id="rId6"/>
    <p:sldLayoutId id="2147487163" r:id="rId7"/>
    <p:sldLayoutId id="2147487164" r:id="rId8"/>
    <p:sldLayoutId id="2147487165" r:id="rId9"/>
    <p:sldLayoutId id="2147487166" r:id="rId10"/>
    <p:sldLayoutId id="2147487167" r:id="rId11"/>
    <p:sldLayoutId id="2147483660" r:id="rId12"/>
    <p:sldLayoutId id="2147484597" r:id="rId13"/>
    <p:sldLayoutId id="2147484598" r:id="rId14"/>
    <p:sldLayoutId id="2147484599" r:id="rId15"/>
    <p:sldLayoutId id="2147484600" r:id="rId16"/>
    <p:sldLayoutId id="2147484601" r:id="rId17"/>
    <p:sldLayoutId id="2147487170" r:id="rId18"/>
    <p:sldLayoutId id="2147487171" r:id="rId19"/>
    <p:sldLayoutId id="2147487172" r:id="rId20"/>
    <p:sldLayoutId id="2147487173" r:id="rId21"/>
    <p:sldLayoutId id="2147487174" r:id="rId22"/>
    <p:sldLayoutId id="2147487175" r:id="rId23"/>
    <p:sldLayoutId id="2147487176" r:id="rId24"/>
    <p:sldLayoutId id="2147487177" r:id="rId25"/>
    <p:sldLayoutId id="2147483674" r:id="rId26"/>
    <p:sldLayoutId id="2147483675" r:id="rId27"/>
    <p:sldLayoutId id="2147483676" r:id="rId28"/>
    <p:sldLayoutId id="2147487181" r:id="rId29"/>
    <p:sldLayoutId id="2147483678" r:id="rId30"/>
    <p:sldLayoutId id="2147483679" r:id="rId31"/>
    <p:sldLayoutId id="2147487380" r:id="rId32"/>
    <p:sldLayoutId id="2147487381" r:id="rId33"/>
    <p:sldLayoutId id="2147487186" r:id="rId34"/>
    <p:sldLayoutId id="2147487187" r:id="rId35"/>
    <p:sldLayoutId id="2147483684" r:id="rId36"/>
    <p:sldLayoutId id="2147483685" r:id="rId37"/>
    <p:sldLayoutId id="2147483686" r:id="rId38"/>
    <p:sldLayoutId id="2147487191" r:id="rId39"/>
    <p:sldLayoutId id="2147483688" r:id="rId40"/>
    <p:sldLayoutId id="2147483689" r:id="rId41"/>
    <p:sldLayoutId id="2147487194" r:id="rId42"/>
    <p:sldLayoutId id="2147487195" r:id="rId43"/>
    <p:sldLayoutId id="2147487196" r:id="rId44"/>
    <p:sldLayoutId id="2147487197" r:id="rId45"/>
    <p:sldLayoutId id="2147487198" r:id="rId46"/>
    <p:sldLayoutId id="2147487199" r:id="rId47"/>
    <p:sldLayoutId id="2147487200" r:id="rId48"/>
    <p:sldLayoutId id="2147487201" r:id="rId49"/>
    <p:sldLayoutId id="2147487202" r:id="rId50"/>
    <p:sldLayoutId id="2147487203" r:id="rId51"/>
    <p:sldLayoutId id="2147487204"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7230" r:id="rId78"/>
    <p:sldLayoutId id="2147483727" r:id="rId79"/>
    <p:sldLayoutId id="2147483728" r:id="rId80"/>
    <p:sldLayoutId id="2147483729" r:id="rId81"/>
    <p:sldLayoutId id="2147483730" r:id="rId82"/>
    <p:sldLayoutId id="2147483731" r:id="rId83"/>
    <p:sldLayoutId id="2147483732" r:id="rId84"/>
    <p:sldLayoutId id="2147483733" r:id="rId85"/>
    <p:sldLayoutId id="2147487238" r:id="rId86"/>
    <p:sldLayoutId id="2147487239" r:id="rId87"/>
    <p:sldLayoutId id="2147487240" r:id="rId88"/>
    <p:sldLayoutId id="2147487241" r:id="rId89"/>
    <p:sldLayoutId id="2147483738" r:id="rId90"/>
    <p:sldLayoutId id="2147487243" r:id="rId91"/>
    <p:sldLayoutId id="2147483740" r:id="rId92"/>
    <p:sldLayoutId id="2147483741" r:id="rId93"/>
    <p:sldLayoutId id="2147483742" r:id="rId94"/>
    <p:sldLayoutId id="2147487247" r:id="rId95"/>
    <p:sldLayoutId id="2147483744" r:id="rId96"/>
    <p:sldLayoutId id="2147483745" r:id="rId97"/>
    <p:sldLayoutId id="2147483746" r:id="rId98"/>
    <p:sldLayoutId id="2147483747" r:id="rId99"/>
    <p:sldLayoutId id="2147483748" r:id="rId100"/>
    <p:sldLayoutId id="2147483749" r:id="rId101"/>
    <p:sldLayoutId id="2147487254" r:id="rId102"/>
    <p:sldLayoutId id="2147487255" r:id="rId103"/>
    <p:sldLayoutId id="2147487256" r:id="rId104"/>
    <p:sldLayoutId id="2147487257" r:id="rId105"/>
    <p:sldLayoutId id="2147487258" r:id="rId106"/>
    <p:sldLayoutId id="2147487259" r:id="rId107"/>
    <p:sldLayoutId id="2147487260" r:id="rId108"/>
    <p:sldLayoutId id="2147487261" r:id="rId109"/>
    <p:sldLayoutId id="2147487262" r:id="rId110"/>
    <p:sldLayoutId id="2147487263" r:id="rId111"/>
    <p:sldLayoutId id="2147487264" r:id="rId112"/>
    <p:sldLayoutId id="2147483761" r:id="rId113"/>
    <p:sldLayoutId id="2147483762" r:id="rId114"/>
    <p:sldLayoutId id="2147483763" r:id="rId115"/>
    <p:sldLayoutId id="2147487267" r:id="rId116"/>
    <p:sldLayoutId id="2147487268" r:id="rId117"/>
    <p:sldLayoutId id="2147487269"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7278" r:id="rId127"/>
    <p:sldLayoutId id="2147487279" r:id="rId128"/>
    <p:sldLayoutId id="2147487280" r:id="rId129"/>
    <p:sldLayoutId id="2147487281" r:id="rId130"/>
    <p:sldLayoutId id="2147487282" r:id="rId131"/>
    <p:sldLayoutId id="2147487283" r:id="rId132"/>
    <p:sldLayoutId id="2147487284" r:id="rId133"/>
    <p:sldLayoutId id="2147487285" r:id="rId134"/>
    <p:sldLayoutId id="2147487286" r:id="rId135"/>
    <p:sldLayoutId id="2147487287" r:id="rId136"/>
    <p:sldLayoutId id="2147487288" r:id="rId137"/>
    <p:sldLayoutId id="2147487289" r:id="rId138"/>
    <p:sldLayoutId id="2147483787" r:id="rId139"/>
    <p:sldLayoutId id="2147483788" r:id="rId140"/>
    <p:sldLayoutId id="2147483789" r:id="rId141"/>
    <p:sldLayoutId id="2147487293"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7302" r:id="rId151"/>
    <p:sldLayoutId id="2147483800" r:id="rId152"/>
    <p:sldLayoutId id="2147483801" r:id="rId153"/>
    <p:sldLayoutId id="2147483802" r:id="rId154"/>
    <p:sldLayoutId id="2147483803" r:id="rId155"/>
    <p:sldLayoutId id="2147483804" r:id="rId156"/>
    <p:sldLayoutId id="2147483805" r:id="rId157"/>
    <p:sldLayoutId id="2147487309" r:id="rId158"/>
    <p:sldLayoutId id="2147483807" r:id="rId159"/>
    <p:sldLayoutId id="2147483808" r:id="rId160"/>
    <p:sldLayoutId id="2147487312" r:id="rId161"/>
    <p:sldLayoutId id="2147487313" r:id="rId162"/>
    <p:sldLayoutId id="2147487314" r:id="rId163"/>
    <p:sldLayoutId id="2147487315" r:id="rId164"/>
    <p:sldLayoutId id="2147487316" r:id="rId165"/>
    <p:sldLayoutId id="2147487317" r:id="rId166"/>
    <p:sldLayoutId id="2147483815" r:id="rId167"/>
    <p:sldLayoutId id="2147483816" r:id="rId168"/>
    <p:sldLayoutId id="2147483817" r:id="rId169"/>
    <p:sldLayoutId id="2147487321" r:id="rId170"/>
    <p:sldLayoutId id="2147487322" r:id="rId171"/>
    <p:sldLayoutId id="2147487323" r:id="rId172"/>
    <p:sldLayoutId id="2147487324" r:id="rId173"/>
    <p:sldLayoutId id="2147487325" r:id="rId174"/>
    <p:sldLayoutId id="2147483823" r:id="rId175"/>
    <p:sldLayoutId id="2147487327" r:id="rId176"/>
    <p:sldLayoutId id="2147487328" r:id="rId177"/>
    <p:sldLayoutId id="2147487329" r:id="rId178"/>
    <p:sldLayoutId id="2147487330" r:id="rId179"/>
    <p:sldLayoutId id="2147487331" r:id="rId180"/>
    <p:sldLayoutId id="2147487332" r:id="rId181"/>
    <p:sldLayoutId id="2147487333" r:id="rId182"/>
    <p:sldLayoutId id="2147487334" r:id="rId183"/>
    <p:sldLayoutId id="2147487335" r:id="rId184"/>
    <p:sldLayoutId id="2147487336" r:id="rId185"/>
    <p:sldLayoutId id="2147487337" r:id="rId186"/>
    <p:sldLayoutId id="2147487338" r:id="rId187"/>
    <p:sldLayoutId id="2147487339" r:id="rId188"/>
    <p:sldLayoutId id="2147487340" r:id="rId189"/>
    <p:sldLayoutId id="2147487341" r:id="rId190"/>
    <p:sldLayoutId id="2147487342" r:id="rId191"/>
    <p:sldLayoutId id="2147487343" r:id="rId192"/>
    <p:sldLayoutId id="2147487344" r:id="rId193"/>
    <p:sldLayoutId id="2147487345" r:id="rId194"/>
    <p:sldLayoutId id="2147483843" r:id="rId195"/>
    <p:sldLayoutId id="2147487347" r:id="rId196"/>
    <p:sldLayoutId id="2147483845" r:id="rId197"/>
    <p:sldLayoutId id="2147483846" r:id="rId19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5.xml"/></Relationships>
</file>

<file path=ppt/slides/_rels/slide1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xml"/><Relationship Id="rId1" Type="http://schemas.openxmlformats.org/officeDocument/2006/relationships/slideLayout" Target="../slideLayouts/slideLayout362.xml"/><Relationship Id="rId4" Type="http://schemas.openxmlformats.org/officeDocument/2006/relationships/image" Target="../media/image113.svg"/></Relationships>
</file>

<file path=ppt/slides/_rels/slide1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99.png"/><Relationship Id="rId4" Type="http://schemas.openxmlformats.org/officeDocument/2006/relationships/image" Target="../media/image111.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2.xml"/></Relationships>
</file>

<file path=ppt/slides/_rels/slide13.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276.xml"/></Relationships>
</file>

<file path=ppt/slides/_rels/slide1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9.xml"/><Relationship Id="rId1" Type="http://schemas.openxmlformats.org/officeDocument/2006/relationships/slideLayout" Target="../slideLayouts/slideLayout687.xml"/><Relationship Id="rId5" Type="http://schemas.openxmlformats.org/officeDocument/2006/relationships/image" Target="../media/image117.jpeg"/><Relationship Id="rId4" Type="http://schemas.openxmlformats.org/officeDocument/2006/relationships/image" Target="../media/image116.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image" Target="../media/image128.pn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7.svg"/><Relationship Id="rId2" Type="http://schemas.microsoft.com/office/2018/10/relationships/comments" Target="../comments/modernComment_236_98E0D14B.xml"/><Relationship Id="rId1" Type="http://schemas.openxmlformats.org/officeDocument/2006/relationships/slideLayout" Target="../slideLayouts/slideLayout687.xml"/><Relationship Id="rId6" Type="http://schemas.openxmlformats.org/officeDocument/2006/relationships/image" Target="../media/image121.svg"/><Relationship Id="rId11" Type="http://schemas.openxmlformats.org/officeDocument/2006/relationships/image" Target="../media/image126.png"/><Relationship Id="rId5" Type="http://schemas.openxmlformats.org/officeDocument/2006/relationships/image" Target="../media/image120.png"/><Relationship Id="rId15" Type="http://schemas.openxmlformats.org/officeDocument/2006/relationships/image" Target="../media/image130.png"/><Relationship Id="rId10" Type="http://schemas.openxmlformats.org/officeDocument/2006/relationships/image" Target="../media/image125.svg"/><Relationship Id="rId4" Type="http://schemas.openxmlformats.org/officeDocument/2006/relationships/image" Target="../media/image119.svg"/><Relationship Id="rId9" Type="http://schemas.openxmlformats.org/officeDocument/2006/relationships/image" Target="../media/image124.png"/><Relationship Id="rId14" Type="http://schemas.openxmlformats.org/officeDocument/2006/relationships/image" Target="../media/image129.svg"/></Relationships>
</file>

<file path=ppt/slides/_rels/slide1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32.svg"/></Relationships>
</file>

<file path=ppt/slides/_rels/slide18.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4.svg"/><Relationship Id="rId7" Type="http://schemas.openxmlformats.org/officeDocument/2006/relationships/image" Target="../media/image132.svg"/><Relationship Id="rId2" Type="http://schemas.openxmlformats.org/officeDocument/2006/relationships/image" Target="../media/image133.png"/><Relationship Id="rId1" Type="http://schemas.openxmlformats.org/officeDocument/2006/relationships/slideLayout" Target="../slideLayouts/slideLayout687.xml"/><Relationship Id="rId6" Type="http://schemas.openxmlformats.org/officeDocument/2006/relationships/image" Target="../media/image131.png"/><Relationship Id="rId11" Type="http://schemas.openxmlformats.org/officeDocument/2006/relationships/image" Target="../media/image140.png"/><Relationship Id="rId5" Type="http://schemas.openxmlformats.org/officeDocument/2006/relationships/image" Target="../media/image136.svg"/><Relationship Id="rId10" Type="http://schemas.openxmlformats.org/officeDocument/2006/relationships/image" Target="../media/image139.png"/><Relationship Id="rId4" Type="http://schemas.openxmlformats.org/officeDocument/2006/relationships/image" Target="../media/image135.png"/><Relationship Id="rId9" Type="http://schemas.openxmlformats.org/officeDocument/2006/relationships/image" Target="../media/image138.png"/></Relationships>
</file>

<file path=ppt/slides/_rels/slide1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2.xml"/><Relationship Id="rId1" Type="http://schemas.openxmlformats.org/officeDocument/2006/relationships/slideLayout" Target="../slideLayouts/slideLayout687.xml"/><Relationship Id="rId4" Type="http://schemas.openxmlformats.org/officeDocument/2006/relationships/image" Target="../media/image141.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49.png"/><Relationship Id="rId18" Type="http://schemas.openxmlformats.org/officeDocument/2006/relationships/image" Target="../media/image154.png"/><Relationship Id="rId3" Type="http://schemas.openxmlformats.org/officeDocument/2006/relationships/image" Target="../media/image143.svg"/><Relationship Id="rId21" Type="http://schemas.openxmlformats.org/officeDocument/2006/relationships/image" Target="../media/image157.svg"/><Relationship Id="rId7" Type="http://schemas.openxmlformats.org/officeDocument/2006/relationships/image" Target="../media/image147.svg"/><Relationship Id="rId12" Type="http://schemas.openxmlformats.org/officeDocument/2006/relationships/image" Target="../media/image148.svg"/><Relationship Id="rId17" Type="http://schemas.openxmlformats.org/officeDocument/2006/relationships/image" Target="../media/image153.svg"/><Relationship Id="rId2" Type="http://schemas.openxmlformats.org/officeDocument/2006/relationships/image" Target="../media/image142.png"/><Relationship Id="rId16" Type="http://schemas.openxmlformats.org/officeDocument/2006/relationships/image" Target="../media/image152.png"/><Relationship Id="rId20" Type="http://schemas.openxmlformats.org/officeDocument/2006/relationships/image" Target="../media/image156.png"/><Relationship Id="rId1" Type="http://schemas.openxmlformats.org/officeDocument/2006/relationships/slideLayout" Target="../slideLayouts/slideLayout687.xml"/><Relationship Id="rId6" Type="http://schemas.openxmlformats.org/officeDocument/2006/relationships/image" Target="../media/image146.png"/><Relationship Id="rId11" Type="http://schemas.openxmlformats.org/officeDocument/2006/relationships/image" Target="../media/image122.png"/><Relationship Id="rId5" Type="http://schemas.openxmlformats.org/officeDocument/2006/relationships/image" Target="../media/image145.svg"/><Relationship Id="rId15" Type="http://schemas.openxmlformats.org/officeDocument/2006/relationships/image" Target="../media/image151.svg"/><Relationship Id="rId10" Type="http://schemas.openxmlformats.org/officeDocument/2006/relationships/image" Target="../media/image140.png"/><Relationship Id="rId19" Type="http://schemas.openxmlformats.org/officeDocument/2006/relationships/image" Target="../media/image155.svg"/><Relationship Id="rId4" Type="http://schemas.openxmlformats.org/officeDocument/2006/relationships/image" Target="../media/image144.png"/><Relationship Id="rId9" Type="http://schemas.openxmlformats.org/officeDocument/2006/relationships/image" Target="../media/image141.svg"/><Relationship Id="rId14" Type="http://schemas.openxmlformats.org/officeDocument/2006/relationships/image" Target="../media/image150.png"/></Relationships>
</file>

<file path=ppt/slides/_rels/slide22.xml.rels><?xml version="1.0" encoding="UTF-8" standalone="yes"?>
<Relationships xmlns="http://schemas.openxmlformats.org/package/2006/relationships"><Relationship Id="rId8" Type="http://schemas.openxmlformats.org/officeDocument/2006/relationships/image" Target="../media/image123.svg"/><Relationship Id="rId13" Type="http://schemas.openxmlformats.org/officeDocument/2006/relationships/image" Target="../media/image162.png"/><Relationship Id="rId18" Type="http://schemas.openxmlformats.org/officeDocument/2006/relationships/image" Target="../media/image167.svg"/><Relationship Id="rId3" Type="http://schemas.openxmlformats.org/officeDocument/2006/relationships/image" Target="../media/image133.png"/><Relationship Id="rId21" Type="http://schemas.openxmlformats.org/officeDocument/2006/relationships/image" Target="../media/image131.png"/><Relationship Id="rId7" Type="http://schemas.openxmlformats.org/officeDocument/2006/relationships/image" Target="../media/image122.png"/><Relationship Id="rId12" Type="http://schemas.openxmlformats.org/officeDocument/2006/relationships/image" Target="../media/image161.svg"/><Relationship Id="rId17" Type="http://schemas.openxmlformats.org/officeDocument/2006/relationships/image" Target="../media/image166.png"/><Relationship Id="rId2" Type="http://schemas.openxmlformats.org/officeDocument/2006/relationships/notesSlide" Target="../notesSlides/notesSlide13.xml"/><Relationship Id="rId16" Type="http://schemas.openxmlformats.org/officeDocument/2006/relationships/image" Target="../media/image165.svg"/><Relationship Id="rId20" Type="http://schemas.openxmlformats.org/officeDocument/2006/relationships/image" Target="../media/image169.svg"/><Relationship Id="rId1" Type="http://schemas.openxmlformats.org/officeDocument/2006/relationships/slideLayout" Target="../slideLayouts/slideLayout687.xml"/><Relationship Id="rId6" Type="http://schemas.openxmlformats.org/officeDocument/2006/relationships/image" Target="../media/image119.svg"/><Relationship Id="rId11" Type="http://schemas.openxmlformats.org/officeDocument/2006/relationships/image" Target="../media/image160.png"/><Relationship Id="rId5" Type="http://schemas.openxmlformats.org/officeDocument/2006/relationships/image" Target="../media/image118.png"/><Relationship Id="rId15" Type="http://schemas.openxmlformats.org/officeDocument/2006/relationships/image" Target="../media/image164.png"/><Relationship Id="rId23" Type="http://schemas.openxmlformats.org/officeDocument/2006/relationships/image" Target="../media/image140.png"/><Relationship Id="rId10" Type="http://schemas.openxmlformats.org/officeDocument/2006/relationships/image" Target="../media/image159.svg"/><Relationship Id="rId19" Type="http://schemas.openxmlformats.org/officeDocument/2006/relationships/image" Target="../media/image168.png"/><Relationship Id="rId4" Type="http://schemas.openxmlformats.org/officeDocument/2006/relationships/image" Target="../media/image134.svg"/><Relationship Id="rId9" Type="http://schemas.openxmlformats.org/officeDocument/2006/relationships/image" Target="../media/image158.png"/><Relationship Id="rId14" Type="http://schemas.openxmlformats.org/officeDocument/2006/relationships/image" Target="../media/image163.svg"/><Relationship Id="rId22" Type="http://schemas.openxmlformats.org/officeDocument/2006/relationships/image" Target="../media/image132.svg"/></Relationships>
</file>

<file path=ppt/slides/_rels/slide23.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61.svg"/><Relationship Id="rId18" Type="http://schemas.openxmlformats.org/officeDocument/2006/relationships/image" Target="../media/image140.png"/><Relationship Id="rId3" Type="http://schemas.openxmlformats.org/officeDocument/2006/relationships/image" Target="../media/image171.svg"/><Relationship Id="rId7" Type="http://schemas.openxmlformats.org/officeDocument/2006/relationships/image" Target="../media/image123.svg"/><Relationship Id="rId12" Type="http://schemas.openxmlformats.org/officeDocument/2006/relationships/image" Target="../media/image160.png"/><Relationship Id="rId17" Type="http://schemas.openxmlformats.org/officeDocument/2006/relationships/image" Target="../media/image132.svg"/><Relationship Id="rId2" Type="http://schemas.openxmlformats.org/officeDocument/2006/relationships/image" Target="../media/image170.png"/><Relationship Id="rId16" Type="http://schemas.openxmlformats.org/officeDocument/2006/relationships/image" Target="../media/image131.png"/><Relationship Id="rId1" Type="http://schemas.openxmlformats.org/officeDocument/2006/relationships/slideLayout" Target="../slideLayouts/slideLayout687.xml"/><Relationship Id="rId6" Type="http://schemas.openxmlformats.org/officeDocument/2006/relationships/image" Target="../media/image122.png"/><Relationship Id="rId11" Type="http://schemas.openxmlformats.org/officeDocument/2006/relationships/image" Target="../media/image175.svg"/><Relationship Id="rId5" Type="http://schemas.openxmlformats.org/officeDocument/2006/relationships/image" Target="../media/image119.svg"/><Relationship Id="rId15" Type="http://schemas.openxmlformats.org/officeDocument/2006/relationships/image" Target="../media/image177.svg"/><Relationship Id="rId10" Type="http://schemas.openxmlformats.org/officeDocument/2006/relationships/image" Target="../media/image174.png"/><Relationship Id="rId4" Type="http://schemas.openxmlformats.org/officeDocument/2006/relationships/image" Target="../media/image118.png"/><Relationship Id="rId9" Type="http://schemas.openxmlformats.org/officeDocument/2006/relationships/image" Target="../media/image173.svg"/><Relationship Id="rId14" Type="http://schemas.openxmlformats.org/officeDocument/2006/relationships/image" Target="../media/image17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79.png"/><Relationship Id="rId18" Type="http://schemas.openxmlformats.org/officeDocument/2006/relationships/image" Target="../media/image184.png"/><Relationship Id="rId26" Type="http://schemas.openxmlformats.org/officeDocument/2006/relationships/image" Target="../media/image192.png"/><Relationship Id="rId3" Type="http://schemas.openxmlformats.org/officeDocument/2006/relationships/image" Target="../media/image143.svg"/><Relationship Id="rId21" Type="http://schemas.openxmlformats.org/officeDocument/2006/relationships/image" Target="../media/image187.svg"/><Relationship Id="rId7" Type="http://schemas.openxmlformats.org/officeDocument/2006/relationships/image" Target="../media/image147.svg"/><Relationship Id="rId12" Type="http://schemas.openxmlformats.org/officeDocument/2006/relationships/image" Target="../media/image178.svg"/><Relationship Id="rId17" Type="http://schemas.openxmlformats.org/officeDocument/2006/relationships/image" Target="../media/image183.svg"/><Relationship Id="rId25" Type="http://schemas.openxmlformats.org/officeDocument/2006/relationships/image" Target="../media/image191.svg"/><Relationship Id="rId2" Type="http://schemas.openxmlformats.org/officeDocument/2006/relationships/image" Target="../media/image142.png"/><Relationship Id="rId16" Type="http://schemas.openxmlformats.org/officeDocument/2006/relationships/image" Target="../media/image182.png"/><Relationship Id="rId20" Type="http://schemas.openxmlformats.org/officeDocument/2006/relationships/image" Target="../media/image186.png"/><Relationship Id="rId29" Type="http://schemas.openxmlformats.org/officeDocument/2006/relationships/image" Target="../media/image195.svg"/><Relationship Id="rId1" Type="http://schemas.openxmlformats.org/officeDocument/2006/relationships/slideLayout" Target="../slideLayouts/slideLayout687.xml"/><Relationship Id="rId6" Type="http://schemas.openxmlformats.org/officeDocument/2006/relationships/image" Target="../media/image146.png"/><Relationship Id="rId11" Type="http://schemas.openxmlformats.org/officeDocument/2006/relationships/image" Target="../media/image120.png"/><Relationship Id="rId24" Type="http://schemas.openxmlformats.org/officeDocument/2006/relationships/image" Target="../media/image190.png"/><Relationship Id="rId5" Type="http://schemas.openxmlformats.org/officeDocument/2006/relationships/image" Target="../media/image145.svg"/><Relationship Id="rId15" Type="http://schemas.openxmlformats.org/officeDocument/2006/relationships/image" Target="../media/image181.svg"/><Relationship Id="rId23" Type="http://schemas.openxmlformats.org/officeDocument/2006/relationships/image" Target="../media/image189.svg"/><Relationship Id="rId28" Type="http://schemas.openxmlformats.org/officeDocument/2006/relationships/image" Target="../media/image194.png"/><Relationship Id="rId10" Type="http://schemas.openxmlformats.org/officeDocument/2006/relationships/image" Target="../media/image140.png"/><Relationship Id="rId19" Type="http://schemas.openxmlformats.org/officeDocument/2006/relationships/image" Target="../media/image185.svg"/><Relationship Id="rId4" Type="http://schemas.openxmlformats.org/officeDocument/2006/relationships/image" Target="../media/image144.png"/><Relationship Id="rId9" Type="http://schemas.openxmlformats.org/officeDocument/2006/relationships/image" Target="../media/image141.svg"/><Relationship Id="rId14" Type="http://schemas.openxmlformats.org/officeDocument/2006/relationships/image" Target="../media/image180.png"/><Relationship Id="rId22" Type="http://schemas.openxmlformats.org/officeDocument/2006/relationships/image" Target="../media/image188.png"/><Relationship Id="rId27" Type="http://schemas.openxmlformats.org/officeDocument/2006/relationships/image" Target="../media/image193.svg"/></Relationships>
</file>

<file path=ppt/slides/_rels/slide26.xml.rels><?xml version="1.0" encoding="UTF-8" standalone="yes"?>
<Relationships xmlns="http://schemas.openxmlformats.org/package/2006/relationships"><Relationship Id="rId8" Type="http://schemas.openxmlformats.org/officeDocument/2006/relationships/image" Target="../media/image197.png"/><Relationship Id="rId13" Type="http://schemas.openxmlformats.org/officeDocument/2006/relationships/image" Target="../media/image140.png"/><Relationship Id="rId3" Type="http://schemas.openxmlformats.org/officeDocument/2006/relationships/image" Target="../media/image118.png"/><Relationship Id="rId7" Type="http://schemas.openxmlformats.org/officeDocument/2006/relationships/image" Target="../media/image196.png"/><Relationship Id="rId12" Type="http://schemas.openxmlformats.org/officeDocument/2006/relationships/image" Target="../media/image132.svg"/><Relationship Id="rId2" Type="http://schemas.openxmlformats.org/officeDocument/2006/relationships/notesSlide" Target="../notesSlides/notesSlide14.xml"/><Relationship Id="rId1" Type="http://schemas.openxmlformats.org/officeDocument/2006/relationships/slideLayout" Target="../slideLayouts/slideLayout687.xml"/><Relationship Id="rId6" Type="http://schemas.openxmlformats.org/officeDocument/2006/relationships/image" Target="../media/image121.svg"/><Relationship Id="rId11" Type="http://schemas.openxmlformats.org/officeDocument/2006/relationships/image" Target="../media/image131.png"/><Relationship Id="rId5" Type="http://schemas.openxmlformats.org/officeDocument/2006/relationships/image" Target="../media/image120.png"/><Relationship Id="rId10" Type="http://schemas.openxmlformats.org/officeDocument/2006/relationships/image" Target="../media/image199.svg"/><Relationship Id="rId4" Type="http://schemas.openxmlformats.org/officeDocument/2006/relationships/image" Target="../media/image119.svg"/><Relationship Id="rId9" Type="http://schemas.openxmlformats.org/officeDocument/2006/relationships/image" Target="../media/image19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202.png"/><Relationship Id="rId18" Type="http://schemas.openxmlformats.org/officeDocument/2006/relationships/image" Target="../media/image207.png"/><Relationship Id="rId3" Type="http://schemas.openxmlformats.org/officeDocument/2006/relationships/image" Target="../media/image143.svg"/><Relationship Id="rId21" Type="http://schemas.openxmlformats.org/officeDocument/2006/relationships/image" Target="../media/image210.svg"/><Relationship Id="rId7" Type="http://schemas.openxmlformats.org/officeDocument/2006/relationships/image" Target="../media/image147.svg"/><Relationship Id="rId12" Type="http://schemas.openxmlformats.org/officeDocument/2006/relationships/image" Target="../media/image201.svg"/><Relationship Id="rId17" Type="http://schemas.openxmlformats.org/officeDocument/2006/relationships/image" Target="../media/image206.png"/><Relationship Id="rId2" Type="http://schemas.openxmlformats.org/officeDocument/2006/relationships/image" Target="../media/image142.png"/><Relationship Id="rId16" Type="http://schemas.openxmlformats.org/officeDocument/2006/relationships/image" Target="../media/image205.svg"/><Relationship Id="rId20" Type="http://schemas.openxmlformats.org/officeDocument/2006/relationships/image" Target="../media/image209.png"/><Relationship Id="rId1" Type="http://schemas.openxmlformats.org/officeDocument/2006/relationships/slideLayout" Target="../slideLayouts/slideLayout687.xml"/><Relationship Id="rId6" Type="http://schemas.openxmlformats.org/officeDocument/2006/relationships/image" Target="../media/image146.png"/><Relationship Id="rId11" Type="http://schemas.openxmlformats.org/officeDocument/2006/relationships/image" Target="../media/image200.png"/><Relationship Id="rId24" Type="http://schemas.openxmlformats.org/officeDocument/2006/relationships/image" Target="../media/image213.png"/><Relationship Id="rId5" Type="http://schemas.openxmlformats.org/officeDocument/2006/relationships/image" Target="../media/image145.svg"/><Relationship Id="rId15" Type="http://schemas.openxmlformats.org/officeDocument/2006/relationships/image" Target="../media/image204.png"/><Relationship Id="rId23" Type="http://schemas.openxmlformats.org/officeDocument/2006/relationships/image" Target="../media/image212.svg"/><Relationship Id="rId10" Type="http://schemas.openxmlformats.org/officeDocument/2006/relationships/image" Target="../media/image140.png"/><Relationship Id="rId19" Type="http://schemas.openxmlformats.org/officeDocument/2006/relationships/image" Target="../media/image208.svg"/><Relationship Id="rId4" Type="http://schemas.openxmlformats.org/officeDocument/2006/relationships/image" Target="../media/image144.png"/><Relationship Id="rId9" Type="http://schemas.openxmlformats.org/officeDocument/2006/relationships/image" Target="../media/image141.svg"/><Relationship Id="rId14" Type="http://schemas.openxmlformats.org/officeDocument/2006/relationships/image" Target="../media/image203.svg"/><Relationship Id="rId22" Type="http://schemas.openxmlformats.org/officeDocument/2006/relationships/image" Target="../media/image211.png"/></Relationships>
</file>

<file path=ppt/slides/_rels/slide29.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119.svg"/><Relationship Id="rId7" Type="http://schemas.openxmlformats.org/officeDocument/2006/relationships/image" Target="../media/image215.png"/><Relationship Id="rId12" Type="http://schemas.openxmlformats.org/officeDocument/2006/relationships/image" Target="../media/image140.png"/><Relationship Id="rId2" Type="http://schemas.openxmlformats.org/officeDocument/2006/relationships/image" Target="../media/image118.png"/><Relationship Id="rId1" Type="http://schemas.openxmlformats.org/officeDocument/2006/relationships/slideLayout" Target="../slideLayouts/slideLayout687.xml"/><Relationship Id="rId6" Type="http://schemas.openxmlformats.org/officeDocument/2006/relationships/image" Target="../media/image214.png"/><Relationship Id="rId11" Type="http://schemas.openxmlformats.org/officeDocument/2006/relationships/image" Target="../media/image132.svg"/><Relationship Id="rId5" Type="http://schemas.openxmlformats.org/officeDocument/2006/relationships/image" Target="../media/image125.svg"/><Relationship Id="rId10" Type="http://schemas.openxmlformats.org/officeDocument/2006/relationships/image" Target="../media/image131.png"/><Relationship Id="rId4" Type="http://schemas.openxmlformats.org/officeDocument/2006/relationships/image" Target="../media/image124.png"/><Relationship Id="rId9" Type="http://schemas.openxmlformats.org/officeDocument/2006/relationships/image" Target="../media/image21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08.xml"/></Relationships>
</file>

<file path=ppt/slides/_rels/slide30.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8.svg"/><Relationship Id="rId7" Type="http://schemas.openxmlformats.org/officeDocument/2006/relationships/image" Target="../media/image221.png"/><Relationship Id="rId2" Type="http://schemas.openxmlformats.org/officeDocument/2006/relationships/image" Target="../media/image118.png"/><Relationship Id="rId1" Type="http://schemas.openxmlformats.org/officeDocument/2006/relationships/slideLayout" Target="../slideLayouts/slideLayout687.xml"/><Relationship Id="rId6" Type="http://schemas.openxmlformats.org/officeDocument/2006/relationships/image" Target="../media/image220.png"/><Relationship Id="rId11" Type="http://schemas.openxmlformats.org/officeDocument/2006/relationships/image" Target="../media/image140.png"/><Relationship Id="rId5" Type="http://schemas.openxmlformats.org/officeDocument/2006/relationships/image" Target="../media/image219.svg"/><Relationship Id="rId10" Type="http://schemas.openxmlformats.org/officeDocument/2006/relationships/image" Target="../media/image223.svg"/><Relationship Id="rId4" Type="http://schemas.openxmlformats.org/officeDocument/2006/relationships/image" Target="../media/image124.png"/><Relationship Id="rId9" Type="http://schemas.openxmlformats.org/officeDocument/2006/relationships/image" Target="../media/image131.png"/></Relationships>
</file>

<file path=ppt/slides/_rels/slide31.xml.rels><?xml version="1.0" encoding="UTF-8" standalone="yes"?>
<Relationships xmlns="http://schemas.openxmlformats.org/package/2006/relationships"><Relationship Id="rId8" Type="http://schemas.openxmlformats.org/officeDocument/2006/relationships/image" Target="../media/image197.png"/><Relationship Id="rId13" Type="http://schemas.openxmlformats.org/officeDocument/2006/relationships/image" Target="../media/image132.svg"/><Relationship Id="rId3" Type="http://schemas.openxmlformats.org/officeDocument/2006/relationships/image" Target="../media/image119.svg"/><Relationship Id="rId7" Type="http://schemas.openxmlformats.org/officeDocument/2006/relationships/image" Target="../media/image214.png"/><Relationship Id="rId12" Type="http://schemas.openxmlformats.org/officeDocument/2006/relationships/image" Target="../media/image131.png"/><Relationship Id="rId2" Type="http://schemas.openxmlformats.org/officeDocument/2006/relationships/image" Target="../media/image118.png"/><Relationship Id="rId1" Type="http://schemas.openxmlformats.org/officeDocument/2006/relationships/slideLayout" Target="../slideLayouts/slideLayout687.xml"/><Relationship Id="rId6" Type="http://schemas.openxmlformats.org/officeDocument/2006/relationships/image" Target="../media/image139.png"/><Relationship Id="rId11" Type="http://schemas.openxmlformats.org/officeDocument/2006/relationships/image" Target="../media/image226.png"/><Relationship Id="rId5" Type="http://schemas.openxmlformats.org/officeDocument/2006/relationships/image" Target="../media/image125.svg"/><Relationship Id="rId10" Type="http://schemas.openxmlformats.org/officeDocument/2006/relationships/image" Target="../media/image225.png"/><Relationship Id="rId4" Type="http://schemas.openxmlformats.org/officeDocument/2006/relationships/image" Target="../media/image124.png"/><Relationship Id="rId9" Type="http://schemas.openxmlformats.org/officeDocument/2006/relationships/image" Target="../media/image224.png"/><Relationship Id="rId14" Type="http://schemas.openxmlformats.org/officeDocument/2006/relationships/image" Target="../media/image140.png"/></Relationships>
</file>

<file path=ppt/slides/_rels/slide32.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230.svg"/><Relationship Id="rId18" Type="http://schemas.openxmlformats.org/officeDocument/2006/relationships/hyperlink" Target="https://safetosleep.nichd.nih.gov/training" TargetMode="External"/><Relationship Id="rId3" Type="http://schemas.openxmlformats.org/officeDocument/2006/relationships/image" Target="../media/image171.svg"/><Relationship Id="rId21" Type="http://schemas.openxmlformats.org/officeDocument/2006/relationships/image" Target="../media/image140.png"/><Relationship Id="rId7" Type="http://schemas.openxmlformats.org/officeDocument/2006/relationships/image" Target="../media/image119.svg"/><Relationship Id="rId12" Type="http://schemas.openxmlformats.org/officeDocument/2006/relationships/image" Target="../media/image229.png"/><Relationship Id="rId17" Type="http://schemas.openxmlformats.org/officeDocument/2006/relationships/image" Target="../media/image234.svg"/><Relationship Id="rId2" Type="http://schemas.openxmlformats.org/officeDocument/2006/relationships/image" Target="../media/image170.png"/><Relationship Id="rId16" Type="http://schemas.openxmlformats.org/officeDocument/2006/relationships/image" Target="../media/image233.png"/><Relationship Id="rId20" Type="http://schemas.openxmlformats.org/officeDocument/2006/relationships/image" Target="../media/image132.svg"/><Relationship Id="rId1" Type="http://schemas.openxmlformats.org/officeDocument/2006/relationships/slideLayout" Target="../slideLayouts/slideLayout687.xml"/><Relationship Id="rId6" Type="http://schemas.openxmlformats.org/officeDocument/2006/relationships/image" Target="../media/image118.png"/><Relationship Id="rId11" Type="http://schemas.openxmlformats.org/officeDocument/2006/relationships/image" Target="../media/image228.svg"/><Relationship Id="rId5" Type="http://schemas.openxmlformats.org/officeDocument/2006/relationships/image" Target="../media/image134.svg"/><Relationship Id="rId15" Type="http://schemas.openxmlformats.org/officeDocument/2006/relationships/image" Target="../media/image232.svg"/><Relationship Id="rId10" Type="http://schemas.openxmlformats.org/officeDocument/2006/relationships/image" Target="../media/image227.png"/><Relationship Id="rId19" Type="http://schemas.openxmlformats.org/officeDocument/2006/relationships/image" Target="../media/image131.png"/><Relationship Id="rId4" Type="http://schemas.openxmlformats.org/officeDocument/2006/relationships/image" Target="../media/image133.png"/><Relationship Id="rId9" Type="http://schemas.openxmlformats.org/officeDocument/2006/relationships/image" Target="../media/image125.svg"/><Relationship Id="rId14" Type="http://schemas.openxmlformats.org/officeDocument/2006/relationships/image" Target="../media/image23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147.svg"/><Relationship Id="rId13" Type="http://schemas.openxmlformats.org/officeDocument/2006/relationships/image" Target="../media/image236.svg"/><Relationship Id="rId18" Type="http://schemas.openxmlformats.org/officeDocument/2006/relationships/image" Target="../media/image206.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235.png"/><Relationship Id="rId17" Type="http://schemas.openxmlformats.org/officeDocument/2006/relationships/image" Target="../media/image240.png"/><Relationship Id="rId2" Type="http://schemas.openxmlformats.org/officeDocument/2006/relationships/notesSlide" Target="../notesSlides/notesSlide15.xml"/><Relationship Id="rId16" Type="http://schemas.openxmlformats.org/officeDocument/2006/relationships/image" Target="../media/image239.svg"/><Relationship Id="rId1" Type="http://schemas.openxmlformats.org/officeDocument/2006/relationships/slideLayout" Target="../slideLayouts/slideLayout687.xml"/><Relationship Id="rId6" Type="http://schemas.openxmlformats.org/officeDocument/2006/relationships/image" Target="../media/image145.svg"/><Relationship Id="rId11" Type="http://schemas.openxmlformats.org/officeDocument/2006/relationships/image" Target="../media/image140.png"/><Relationship Id="rId5" Type="http://schemas.openxmlformats.org/officeDocument/2006/relationships/image" Target="../media/image144.png"/><Relationship Id="rId15" Type="http://schemas.openxmlformats.org/officeDocument/2006/relationships/image" Target="../media/image238.png"/><Relationship Id="rId10" Type="http://schemas.openxmlformats.org/officeDocument/2006/relationships/image" Target="../media/image141.svg"/><Relationship Id="rId4" Type="http://schemas.openxmlformats.org/officeDocument/2006/relationships/image" Target="../media/image143.svg"/><Relationship Id="rId9" Type="http://schemas.openxmlformats.org/officeDocument/2006/relationships/image" Target="../media/image115.png"/><Relationship Id="rId14" Type="http://schemas.openxmlformats.org/officeDocument/2006/relationships/image" Target="../media/image237.png"/></Relationships>
</file>

<file path=ppt/slides/_rels/slide35.xml.rels><?xml version="1.0" encoding="UTF-8" standalone="yes"?>
<Relationships xmlns="http://schemas.openxmlformats.org/package/2006/relationships"><Relationship Id="rId8" Type="http://schemas.openxmlformats.org/officeDocument/2006/relationships/image" Target="../media/image244.svg"/><Relationship Id="rId13" Type="http://schemas.openxmlformats.org/officeDocument/2006/relationships/image" Target="../media/image131.png"/><Relationship Id="rId3" Type="http://schemas.openxmlformats.org/officeDocument/2006/relationships/image" Target="../media/image118.png"/><Relationship Id="rId7" Type="http://schemas.openxmlformats.org/officeDocument/2006/relationships/image" Target="../media/image243.png"/><Relationship Id="rId12" Type="http://schemas.openxmlformats.org/officeDocument/2006/relationships/image" Target="../media/image248.svg"/><Relationship Id="rId2" Type="http://schemas.openxmlformats.org/officeDocument/2006/relationships/notesSlide" Target="../notesSlides/notesSlide16.xml"/><Relationship Id="rId1" Type="http://schemas.openxmlformats.org/officeDocument/2006/relationships/slideLayout" Target="../slideLayouts/slideLayout687.xml"/><Relationship Id="rId6" Type="http://schemas.openxmlformats.org/officeDocument/2006/relationships/image" Target="../media/image242.svg"/><Relationship Id="rId11" Type="http://schemas.openxmlformats.org/officeDocument/2006/relationships/image" Target="../media/image247.png"/><Relationship Id="rId5" Type="http://schemas.openxmlformats.org/officeDocument/2006/relationships/image" Target="../media/image126.png"/><Relationship Id="rId15" Type="http://schemas.openxmlformats.org/officeDocument/2006/relationships/image" Target="../media/image140.png"/><Relationship Id="rId10" Type="http://schemas.openxmlformats.org/officeDocument/2006/relationships/image" Target="../media/image246.svg"/><Relationship Id="rId4" Type="http://schemas.openxmlformats.org/officeDocument/2006/relationships/image" Target="../media/image241.svg"/><Relationship Id="rId9" Type="http://schemas.openxmlformats.org/officeDocument/2006/relationships/image" Target="../media/image245.png"/><Relationship Id="rId14" Type="http://schemas.openxmlformats.org/officeDocument/2006/relationships/image" Target="../media/image249.sv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255.png"/><Relationship Id="rId3" Type="http://schemas.openxmlformats.org/officeDocument/2006/relationships/image" Target="../media/image250.svg"/><Relationship Id="rId7" Type="http://schemas.openxmlformats.org/officeDocument/2006/relationships/image" Target="../media/image252.svg"/><Relationship Id="rId12" Type="http://schemas.openxmlformats.org/officeDocument/2006/relationships/image" Target="../media/image254.svg"/><Relationship Id="rId17" Type="http://schemas.openxmlformats.org/officeDocument/2006/relationships/image" Target="../media/image259.svg"/><Relationship Id="rId2" Type="http://schemas.openxmlformats.org/officeDocument/2006/relationships/image" Target="../media/image142.png"/><Relationship Id="rId16" Type="http://schemas.openxmlformats.org/officeDocument/2006/relationships/image" Target="../media/image258.png"/><Relationship Id="rId1" Type="http://schemas.openxmlformats.org/officeDocument/2006/relationships/slideLayout" Target="../slideLayouts/slideLayout687.xml"/><Relationship Id="rId6" Type="http://schemas.openxmlformats.org/officeDocument/2006/relationships/image" Target="../media/image146.png"/><Relationship Id="rId11" Type="http://schemas.openxmlformats.org/officeDocument/2006/relationships/image" Target="../media/image253.png"/><Relationship Id="rId5" Type="http://schemas.openxmlformats.org/officeDocument/2006/relationships/image" Target="../media/image251.svg"/><Relationship Id="rId15" Type="http://schemas.openxmlformats.org/officeDocument/2006/relationships/image" Target="../media/image257.svg"/><Relationship Id="rId10" Type="http://schemas.openxmlformats.org/officeDocument/2006/relationships/image" Target="../media/image140.png"/><Relationship Id="rId4" Type="http://schemas.openxmlformats.org/officeDocument/2006/relationships/image" Target="../media/image144.png"/><Relationship Id="rId9" Type="http://schemas.openxmlformats.org/officeDocument/2006/relationships/image" Target="../media/image116.svg"/><Relationship Id="rId14" Type="http://schemas.openxmlformats.org/officeDocument/2006/relationships/image" Target="../media/image256.png"/></Relationships>
</file>

<file path=ppt/slides/_rels/slide38.xml.rels><?xml version="1.0" encoding="UTF-8" standalone="yes"?>
<Relationships xmlns="http://schemas.openxmlformats.org/package/2006/relationships"><Relationship Id="rId8" Type="http://schemas.openxmlformats.org/officeDocument/2006/relationships/image" Target="../media/image223.svg"/><Relationship Id="rId13" Type="http://schemas.openxmlformats.org/officeDocument/2006/relationships/image" Target="../media/image265.png"/><Relationship Id="rId3" Type="http://schemas.openxmlformats.org/officeDocument/2006/relationships/image" Target="../media/image118.png"/><Relationship Id="rId7" Type="http://schemas.openxmlformats.org/officeDocument/2006/relationships/image" Target="../media/image131.png"/><Relationship Id="rId12" Type="http://schemas.openxmlformats.org/officeDocument/2006/relationships/image" Target="../media/image264.svg"/><Relationship Id="rId2" Type="http://schemas.openxmlformats.org/officeDocument/2006/relationships/notesSlide" Target="../notesSlides/notesSlide17.xml"/><Relationship Id="rId1" Type="http://schemas.openxmlformats.org/officeDocument/2006/relationships/slideLayout" Target="../slideLayouts/slideLayout687.xml"/><Relationship Id="rId6" Type="http://schemas.openxmlformats.org/officeDocument/2006/relationships/image" Target="../media/image260.svg"/><Relationship Id="rId11" Type="http://schemas.openxmlformats.org/officeDocument/2006/relationships/image" Target="../media/image263.png"/><Relationship Id="rId5" Type="http://schemas.openxmlformats.org/officeDocument/2006/relationships/image" Target="../media/image128.png"/><Relationship Id="rId15" Type="http://schemas.openxmlformats.org/officeDocument/2006/relationships/image" Target="../media/image140.png"/><Relationship Id="rId10" Type="http://schemas.openxmlformats.org/officeDocument/2006/relationships/image" Target="../media/image262.svg"/><Relationship Id="rId4" Type="http://schemas.openxmlformats.org/officeDocument/2006/relationships/image" Target="../media/image218.svg"/><Relationship Id="rId9" Type="http://schemas.openxmlformats.org/officeDocument/2006/relationships/image" Target="../media/image261.png"/><Relationship Id="rId14" Type="http://schemas.openxmlformats.org/officeDocument/2006/relationships/image" Target="../media/image266.sv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7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5.xml"/></Relationships>
</file>

<file path=ppt/slides/_rels/slide40.xml.rels><?xml version="1.0" encoding="UTF-8" standalone="yes"?>
<Relationships xmlns="http://schemas.openxmlformats.org/package/2006/relationships"><Relationship Id="rId8" Type="http://schemas.openxmlformats.org/officeDocument/2006/relationships/image" Target="../media/image272.svg"/><Relationship Id="rId13" Type="http://schemas.openxmlformats.org/officeDocument/2006/relationships/image" Target="../media/image277.png"/><Relationship Id="rId3" Type="http://schemas.openxmlformats.org/officeDocument/2006/relationships/image" Target="../media/image267.png"/><Relationship Id="rId7" Type="http://schemas.openxmlformats.org/officeDocument/2006/relationships/image" Target="../media/image271.png"/><Relationship Id="rId12" Type="http://schemas.openxmlformats.org/officeDocument/2006/relationships/image" Target="../media/image276.svg"/><Relationship Id="rId2" Type="http://schemas.openxmlformats.org/officeDocument/2006/relationships/notesSlide" Target="../notesSlides/notesSlide19.xml"/><Relationship Id="rId1" Type="http://schemas.openxmlformats.org/officeDocument/2006/relationships/slideLayout" Target="../slideLayouts/slideLayout687.xml"/><Relationship Id="rId6" Type="http://schemas.openxmlformats.org/officeDocument/2006/relationships/image" Target="../media/image270.svg"/><Relationship Id="rId11" Type="http://schemas.openxmlformats.org/officeDocument/2006/relationships/image" Target="../media/image275.png"/><Relationship Id="rId5" Type="http://schemas.openxmlformats.org/officeDocument/2006/relationships/image" Target="../media/image269.png"/><Relationship Id="rId10" Type="http://schemas.openxmlformats.org/officeDocument/2006/relationships/image" Target="../media/image274.svg"/><Relationship Id="rId4" Type="http://schemas.openxmlformats.org/officeDocument/2006/relationships/image" Target="../media/image268.svg"/><Relationship Id="rId9" Type="http://schemas.openxmlformats.org/officeDocument/2006/relationships/image" Target="../media/image273.png"/><Relationship Id="rId14" Type="http://schemas.openxmlformats.org/officeDocument/2006/relationships/image" Target="../media/image278.svg"/></Relationships>
</file>

<file path=ppt/slides/_rels/slide41.xml.rels><?xml version="1.0" encoding="UTF-8" standalone="yes"?>
<Relationships xmlns="http://schemas.openxmlformats.org/package/2006/relationships"><Relationship Id="rId8" Type="http://schemas.openxmlformats.org/officeDocument/2006/relationships/image" Target="../media/image273.png"/><Relationship Id="rId13" Type="http://schemas.openxmlformats.org/officeDocument/2006/relationships/image" Target="../media/image278.svg"/><Relationship Id="rId3" Type="http://schemas.openxmlformats.org/officeDocument/2006/relationships/image" Target="../media/image268.svg"/><Relationship Id="rId7" Type="http://schemas.openxmlformats.org/officeDocument/2006/relationships/image" Target="../media/image272.svg"/><Relationship Id="rId12" Type="http://schemas.openxmlformats.org/officeDocument/2006/relationships/image" Target="../media/image277.png"/><Relationship Id="rId2" Type="http://schemas.openxmlformats.org/officeDocument/2006/relationships/image" Target="../media/image267.png"/><Relationship Id="rId1" Type="http://schemas.openxmlformats.org/officeDocument/2006/relationships/slideLayout" Target="../slideLayouts/slideLayout687.xml"/><Relationship Id="rId6" Type="http://schemas.openxmlformats.org/officeDocument/2006/relationships/image" Target="../media/image271.png"/><Relationship Id="rId11" Type="http://schemas.openxmlformats.org/officeDocument/2006/relationships/image" Target="../media/image276.svg"/><Relationship Id="rId5" Type="http://schemas.openxmlformats.org/officeDocument/2006/relationships/image" Target="../media/image270.svg"/><Relationship Id="rId10" Type="http://schemas.openxmlformats.org/officeDocument/2006/relationships/image" Target="../media/image275.png"/><Relationship Id="rId4" Type="http://schemas.openxmlformats.org/officeDocument/2006/relationships/image" Target="../media/image269.png"/><Relationship Id="rId9" Type="http://schemas.openxmlformats.org/officeDocument/2006/relationships/image" Target="../media/image274.svg"/></Relationships>
</file>

<file path=ppt/slides/_rels/slide42.xml.rels><?xml version="1.0" encoding="UTF-8" standalone="yes"?>
<Relationships xmlns="http://schemas.openxmlformats.org/package/2006/relationships"><Relationship Id="rId2" Type="http://schemas.openxmlformats.org/officeDocument/2006/relationships/image" Target="../media/image279.jpeg"/><Relationship Id="rId1" Type="http://schemas.openxmlformats.org/officeDocument/2006/relationships/slideLayout" Target="../slideLayouts/slideLayout27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281.svg"/></Relationships>
</file>

<file path=ppt/slides/_rels/slide45.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sv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s>
</file>

<file path=ppt/slides/_rels/slide46.xml.rels><?xml version="1.0" encoding="UTF-8" standalone="yes"?>
<Relationships xmlns="http://schemas.openxmlformats.org/package/2006/relationships"><Relationship Id="rId8" Type="http://schemas.openxmlformats.org/officeDocument/2006/relationships/image" Target="../media/image272.svg"/><Relationship Id="rId13" Type="http://schemas.openxmlformats.org/officeDocument/2006/relationships/image" Target="../media/image277.png"/><Relationship Id="rId3" Type="http://schemas.openxmlformats.org/officeDocument/2006/relationships/image" Target="../media/image267.png"/><Relationship Id="rId7" Type="http://schemas.openxmlformats.org/officeDocument/2006/relationships/image" Target="../media/image271.png"/><Relationship Id="rId12" Type="http://schemas.openxmlformats.org/officeDocument/2006/relationships/image" Target="../media/image276.svg"/><Relationship Id="rId2" Type="http://schemas.openxmlformats.org/officeDocument/2006/relationships/notesSlide" Target="../notesSlides/notesSlide23.xml"/><Relationship Id="rId1" Type="http://schemas.openxmlformats.org/officeDocument/2006/relationships/slideLayout" Target="../slideLayouts/slideLayout687.xml"/><Relationship Id="rId6" Type="http://schemas.openxmlformats.org/officeDocument/2006/relationships/image" Target="../media/image270.svg"/><Relationship Id="rId11" Type="http://schemas.openxmlformats.org/officeDocument/2006/relationships/image" Target="../media/image275.png"/><Relationship Id="rId5" Type="http://schemas.openxmlformats.org/officeDocument/2006/relationships/image" Target="../media/image269.png"/><Relationship Id="rId10" Type="http://schemas.openxmlformats.org/officeDocument/2006/relationships/image" Target="../media/image274.svg"/><Relationship Id="rId4" Type="http://schemas.openxmlformats.org/officeDocument/2006/relationships/image" Target="../media/image268.svg"/><Relationship Id="rId9" Type="http://schemas.openxmlformats.org/officeDocument/2006/relationships/image" Target="../media/image273.png"/><Relationship Id="rId14" Type="http://schemas.openxmlformats.org/officeDocument/2006/relationships/image" Target="../media/image278.svg"/></Relationships>
</file>

<file path=ppt/slides/_rels/slide47.xml.rels><?xml version="1.0" encoding="UTF-8" standalone="yes"?>
<Relationships xmlns="http://schemas.openxmlformats.org/package/2006/relationships"><Relationship Id="rId8" Type="http://schemas.openxmlformats.org/officeDocument/2006/relationships/image" Target="../media/image273.png"/><Relationship Id="rId13" Type="http://schemas.openxmlformats.org/officeDocument/2006/relationships/image" Target="../media/image278.svg"/><Relationship Id="rId3" Type="http://schemas.openxmlformats.org/officeDocument/2006/relationships/image" Target="../media/image268.svg"/><Relationship Id="rId7" Type="http://schemas.openxmlformats.org/officeDocument/2006/relationships/image" Target="../media/image272.svg"/><Relationship Id="rId12" Type="http://schemas.openxmlformats.org/officeDocument/2006/relationships/image" Target="../media/image277.png"/><Relationship Id="rId2" Type="http://schemas.openxmlformats.org/officeDocument/2006/relationships/image" Target="../media/image267.png"/><Relationship Id="rId1" Type="http://schemas.openxmlformats.org/officeDocument/2006/relationships/slideLayout" Target="../slideLayouts/slideLayout687.xml"/><Relationship Id="rId6" Type="http://schemas.openxmlformats.org/officeDocument/2006/relationships/image" Target="../media/image271.png"/><Relationship Id="rId11" Type="http://schemas.openxmlformats.org/officeDocument/2006/relationships/image" Target="../media/image276.svg"/><Relationship Id="rId5" Type="http://schemas.openxmlformats.org/officeDocument/2006/relationships/image" Target="../media/image270.svg"/><Relationship Id="rId10" Type="http://schemas.openxmlformats.org/officeDocument/2006/relationships/image" Target="../media/image275.png"/><Relationship Id="rId4" Type="http://schemas.openxmlformats.org/officeDocument/2006/relationships/image" Target="../media/image269.png"/><Relationship Id="rId9" Type="http://schemas.openxmlformats.org/officeDocument/2006/relationships/image" Target="../media/image274.svg"/></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282.jpeg"/><Relationship Id="rId1" Type="http://schemas.openxmlformats.org/officeDocument/2006/relationships/slideLayout" Target="../slideLayouts/slideLayout39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7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90.xml"/></Relationships>
</file>

<file path=ppt/slides/_rels/slide51.xml.rels><?xml version="1.0" encoding="UTF-8" standalone="yes"?>
<Relationships xmlns="http://schemas.openxmlformats.org/package/2006/relationships"><Relationship Id="rId3" Type="http://schemas.openxmlformats.org/officeDocument/2006/relationships/image" Target="../media/image283.jpeg"/><Relationship Id="rId2" Type="http://schemas.openxmlformats.org/officeDocument/2006/relationships/notesSlide" Target="../notesSlides/notesSlide25.xml"/><Relationship Id="rId1" Type="http://schemas.openxmlformats.org/officeDocument/2006/relationships/slideLayout" Target="../slideLayouts/slideLayout390.xml"/></Relationships>
</file>

<file path=ppt/slides/_rels/slide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xml"/><Relationship Id="rId1" Type="http://schemas.openxmlformats.org/officeDocument/2006/relationships/slideLayout" Target="../slideLayouts/slideLayout695.xml"/></Relationships>
</file>

<file path=ppt/slides/_rels/slide7.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3.xml"/><Relationship Id="rId1" Type="http://schemas.openxmlformats.org/officeDocument/2006/relationships/slideLayout" Target="../slideLayouts/slideLayout465.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svg"/><Relationship Id="rId9" Type="http://schemas.openxmlformats.org/officeDocument/2006/relationships/image" Target="../media/image99.png"/></Relationships>
</file>

<file path=ppt/slides/_rels/slide8.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sv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s>
</file>

<file path=ppt/slides/_rels/slide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99.png"/><Relationship Id="rId4" Type="http://schemas.openxmlformats.org/officeDocument/2006/relationships/image" Target="../media/image11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23261" y="1903320"/>
            <a:ext cx="6404329" cy="2618177"/>
          </a:xfrm>
        </p:spPr>
        <p:txBody>
          <a:bodyPr/>
          <a:lstStyle/>
          <a:p>
            <a:r>
              <a:rPr lang="en-US">
                <a:solidFill>
                  <a:schemeClr val="accent1"/>
                </a:solidFill>
                <a:ea typeface="+mj-lt"/>
                <a:cs typeface="+mj-lt"/>
              </a:rPr>
              <a:t>Neonatal Breakout Session:</a:t>
            </a:r>
            <a:r>
              <a:rPr lang="en-US">
                <a:ea typeface="+mj-lt"/>
                <a:cs typeface="+mj-lt"/>
              </a:rPr>
              <a:t> </a:t>
            </a:r>
            <a:br>
              <a:rPr lang="en-US">
                <a:ea typeface="+mj-lt"/>
                <a:cs typeface="+mj-lt"/>
              </a:rPr>
            </a:br>
            <a:r>
              <a:rPr lang="en-US">
                <a:ea typeface="+mj-lt"/>
                <a:cs typeface="+mj-lt"/>
              </a:rPr>
              <a:t>Getting Ready for 2024</a:t>
            </a:r>
            <a:br>
              <a:rPr lang="en-US" sz="3600">
                <a:ea typeface="+mj-lt"/>
                <a:cs typeface="+mj-lt"/>
              </a:rPr>
            </a:br>
            <a:endParaRPr lang="en-US" sz="3600" b="0">
              <a:cs typeface="Calibri"/>
            </a:endParaRPr>
          </a:p>
        </p:txBody>
      </p:sp>
      <p:sp>
        <p:nvSpPr>
          <p:cNvPr id="9" name="Subtitle 3">
            <a:extLst>
              <a:ext uri="{FF2B5EF4-FFF2-40B4-BE49-F238E27FC236}">
                <a16:creationId xmlns:a16="http://schemas.microsoft.com/office/drawing/2014/main" id="{7F20A429-9947-F447-2DF2-A5C17B5C6EC1}"/>
              </a:ext>
            </a:extLst>
          </p:cNvPr>
          <p:cNvSpPr>
            <a:spLocks noGrp="1"/>
          </p:cNvSpPr>
          <p:nvPr/>
        </p:nvSpPr>
        <p:spPr>
          <a:xfrm>
            <a:off x="1025121" y="4025655"/>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ea typeface="+mn-lt"/>
                <a:cs typeface="+mn-lt"/>
              </a:rPr>
              <a:t> 2:45-4:15 PM </a:t>
            </a:r>
            <a:endParaRPr lang="en-US" dirty="0"/>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ea typeface="Calibri" panose="020F0502020204030204"/>
              <a:cs typeface="Calibri" panose="020F0502020204030204"/>
            </a:endParaRPr>
          </a:p>
        </p:txBody>
      </p:sp>
      <p:sp>
        <p:nvSpPr>
          <p:cNvPr id="2" name="Title 1">
            <a:extLst>
              <a:ext uri="{FF2B5EF4-FFF2-40B4-BE49-F238E27FC236}">
                <a16:creationId xmlns:a16="http://schemas.microsoft.com/office/drawing/2014/main" id="{61FD53C4-A666-522F-F9AB-081D90D541D1}"/>
              </a:ext>
            </a:extLst>
          </p:cNvPr>
          <p:cNvSpPr>
            <a:spLocks noGrp="1"/>
          </p:cNvSpPr>
          <p:nvPr>
            <p:ph type="title"/>
          </p:nvPr>
        </p:nvSpPr>
        <p:spPr>
          <a:xfrm>
            <a:off x="838200" y="68359"/>
            <a:ext cx="10644996" cy="1320404"/>
          </a:xfrm>
        </p:spPr>
        <p:txBody>
          <a:bodyPr>
            <a:normAutofit/>
          </a:bodyPr>
          <a:lstStyle/>
          <a:p>
            <a:pPr algn="ctr">
              <a:lnSpc>
                <a:spcPct val="90000"/>
              </a:lnSpc>
            </a:pPr>
            <a:r>
              <a:rPr lang="en-US">
                <a:ea typeface="Lato Medium"/>
                <a:cs typeface="Lato Medium"/>
              </a:rPr>
              <a:t>ESSI Planning Group and Community Advisory Board</a:t>
            </a:r>
            <a:br>
              <a:rPr lang="en-US">
                <a:ea typeface="Lato Medium"/>
                <a:cs typeface="Lato Medium"/>
              </a:rPr>
            </a:br>
            <a:r>
              <a:rPr lang="en-US">
                <a:ea typeface="Lato Medium"/>
                <a:cs typeface="Lato Medium"/>
              </a:rPr>
              <a:t>THANK YOU!</a:t>
            </a:r>
            <a:endParaRPr lang="en-US"/>
          </a:p>
        </p:txBody>
      </p:sp>
      <p:sp>
        <p:nvSpPr>
          <p:cNvPr id="3" name="Content Placeholder 2">
            <a:extLst>
              <a:ext uri="{FF2B5EF4-FFF2-40B4-BE49-F238E27FC236}">
                <a16:creationId xmlns:a16="http://schemas.microsoft.com/office/drawing/2014/main" id="{9C054D65-4BA2-1961-496E-FB2C9FA2C720}"/>
              </a:ext>
            </a:extLst>
          </p:cNvPr>
          <p:cNvSpPr>
            <a:spLocks noGrp="1"/>
          </p:cNvSpPr>
          <p:nvPr>
            <p:ph idx="1"/>
          </p:nvPr>
        </p:nvSpPr>
        <p:spPr>
          <a:xfrm>
            <a:off x="340247" y="1981767"/>
            <a:ext cx="6278955" cy="4730444"/>
          </a:xfrm>
        </p:spPr>
        <p:txBody>
          <a:bodyPr vert="horz" lIns="91440" tIns="45720" rIns="91440" bIns="45720" rtlCol="0" anchor="t">
            <a:noAutofit/>
          </a:bodyPr>
          <a:lstStyle/>
          <a:p>
            <a:pPr marL="0" indent="0" defTabSz="768096">
              <a:spcBef>
                <a:spcPts val="0"/>
              </a:spcBef>
              <a:spcAft>
                <a:spcPts val="840"/>
              </a:spcAft>
              <a:buNone/>
            </a:pPr>
            <a:r>
              <a:rPr lang="en-US" sz="1400" b="1" i="0" kern="1200">
                <a:latin typeface="+mn-lt"/>
                <a:ea typeface="+mn-lt"/>
                <a:cs typeface="+mn-lt"/>
              </a:rPr>
              <a:t>Stephanie Atella</a:t>
            </a:r>
            <a:r>
              <a:rPr lang="en-US" sz="1400" b="0" i="0" kern="1200">
                <a:latin typeface="+mn-lt"/>
                <a:ea typeface="+mn-lt"/>
                <a:cs typeface="+mn-lt"/>
              </a:rPr>
              <a:t>, MPH, CHES, Illinois Chapter of American Academy of Pediatrics</a:t>
            </a:r>
            <a:r>
              <a:rPr lang="en-US" sz="1400">
                <a:ea typeface="+mn-lt"/>
                <a:cs typeface="+mn-lt"/>
              </a:rPr>
              <a:t> </a:t>
            </a:r>
            <a:endParaRPr lang="en-US" sz="1400" b="0" i="0" kern="1200">
              <a:latin typeface="+mn-lt"/>
              <a:cs typeface="Calibri"/>
            </a:endParaRPr>
          </a:p>
          <a:p>
            <a:pPr marL="0" indent="0" defTabSz="768096">
              <a:spcBef>
                <a:spcPts val="0"/>
              </a:spcBef>
              <a:spcAft>
                <a:spcPts val="840"/>
              </a:spcAft>
              <a:buNone/>
            </a:pPr>
            <a:r>
              <a:rPr lang="en-US" sz="1400" b="1" i="0" kern="1200">
                <a:latin typeface="+mn-lt"/>
                <a:ea typeface="+mn-lt"/>
                <a:cs typeface="+mn-lt"/>
              </a:rPr>
              <a:t>Kyra Betts</a:t>
            </a:r>
            <a:r>
              <a:rPr lang="en-US" sz="1400" b="0" i="0" kern="1200">
                <a:latin typeface="+mn-lt"/>
                <a:ea typeface="+mn-lt"/>
                <a:cs typeface="+mn-lt"/>
              </a:rPr>
              <a:t>, The Divine Flower Child Doula</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Tonia Branche</a:t>
            </a:r>
            <a:r>
              <a:rPr lang="en-US" sz="1400" b="0" i="0" kern="1200">
                <a:latin typeface="+mn-lt"/>
                <a:ea typeface="+mn-lt"/>
                <a:cs typeface="+mn-lt"/>
              </a:rPr>
              <a:t>, MD, MPH, Lurie Children's Hospital of Chicago</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Paula Brodie</a:t>
            </a:r>
            <a:r>
              <a:rPr lang="en-US" sz="1400" b="0" i="0" kern="1200">
                <a:latin typeface="+mn-lt"/>
                <a:ea typeface="+mn-lt"/>
                <a:cs typeface="+mn-lt"/>
              </a:rPr>
              <a:t>, Southern Illinois Healthcare Foundation</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Adelaide Caprio</a:t>
            </a:r>
            <a:r>
              <a:rPr lang="en-US" sz="1400" b="0" i="0" kern="1200">
                <a:latin typeface="+mn-lt"/>
                <a:ea typeface="+mn-lt"/>
                <a:cs typeface="+mn-lt"/>
              </a:rPr>
              <a:t>, MSN, APRN, ACCNS-N, RNC-NIC, Rush University Medical Center</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Andrea Cross</a:t>
            </a:r>
            <a:r>
              <a:rPr lang="en-US" sz="1400" b="0" i="0" kern="1200">
                <a:latin typeface="+mn-lt"/>
                <a:ea typeface="+mn-lt"/>
                <a:cs typeface="+mn-lt"/>
              </a:rPr>
              <a:t>, MSHA, BSN, RN, John H. Stroger, Jr. Hospital</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Madonna </a:t>
            </a:r>
            <a:r>
              <a:rPr lang="en-US" sz="1400" b="1" i="0" kern="1200" err="1">
                <a:latin typeface="+mn-lt"/>
                <a:ea typeface="+mn-lt"/>
                <a:cs typeface="+mn-lt"/>
              </a:rPr>
              <a:t>Enwe</a:t>
            </a:r>
            <a:r>
              <a:rPr lang="en-US" sz="1400" b="0" i="0" kern="1200">
                <a:latin typeface="+mn-lt"/>
                <a:ea typeface="+mn-lt"/>
                <a:cs typeface="+mn-lt"/>
              </a:rPr>
              <a:t>, MD, Lurie Children's Hospital of Chicago</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Donna </a:t>
            </a:r>
            <a:r>
              <a:rPr lang="en-US" sz="1400" b="1" i="0" kern="1200">
                <a:ea typeface="+mn-lt"/>
                <a:cs typeface="+mn-lt"/>
              </a:rPr>
              <a:t>Lemmenes</a:t>
            </a:r>
            <a:r>
              <a:rPr lang="en-US" sz="1400" b="0" i="0" kern="1200">
                <a:latin typeface="+mn-lt"/>
                <a:ea typeface="+mn-lt"/>
                <a:cs typeface="+mn-lt"/>
              </a:rPr>
              <a:t>, MSN, CPNP, RNC-NIC, University of Chicago Medicine Perinatal Center</a:t>
            </a:r>
            <a:r>
              <a:rPr lang="en-US" sz="1400">
                <a:ea typeface="+mn-lt"/>
                <a:cs typeface="+mn-lt"/>
              </a:rPr>
              <a:t> </a:t>
            </a:r>
            <a:endParaRPr lang="en-US" sz="1400"/>
          </a:p>
          <a:p>
            <a:pPr marL="0" indent="0" defTabSz="768096">
              <a:spcBef>
                <a:spcPts val="0"/>
              </a:spcBef>
              <a:spcAft>
                <a:spcPts val="840"/>
              </a:spcAft>
              <a:buNone/>
            </a:pPr>
            <a:r>
              <a:rPr lang="en-US" sz="1400" b="1" i="0" kern="1200">
                <a:latin typeface="+mn-lt"/>
                <a:ea typeface="+mn-lt"/>
                <a:cs typeface="+mn-lt"/>
              </a:rPr>
              <a:t>Cecilia Lopez,</a:t>
            </a:r>
            <a:r>
              <a:rPr lang="en-US" sz="1400" b="0" i="0" kern="1200">
                <a:latin typeface="+mn-lt"/>
                <a:ea typeface="+mn-lt"/>
                <a:cs typeface="+mn-lt"/>
              </a:rPr>
              <a:t> MSN, RN, Carle Foundation Hospital</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Jennie </a:t>
            </a:r>
            <a:r>
              <a:rPr lang="en-US" sz="1400" b="1" i="0" kern="1200" err="1">
                <a:latin typeface="+mn-lt"/>
                <a:ea typeface="+mn-lt"/>
                <a:cs typeface="+mn-lt"/>
              </a:rPr>
              <a:t>Pinkwater</a:t>
            </a:r>
            <a:r>
              <a:rPr lang="en-US" sz="1400" b="0" i="0" kern="1200">
                <a:latin typeface="+mn-lt"/>
                <a:ea typeface="+mn-lt"/>
                <a:cs typeface="+mn-lt"/>
              </a:rPr>
              <a:t>, MNM, Illinois Chapter of American Academy of Pediatrics</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Kyran Quinlan</a:t>
            </a:r>
            <a:r>
              <a:rPr lang="en-US" sz="1400" b="0" i="0" kern="1200">
                <a:latin typeface="+mn-lt"/>
                <a:ea typeface="+mn-lt"/>
                <a:cs typeface="+mn-lt"/>
              </a:rPr>
              <a:t>, MD, MPH, Illinois Department of Public Health</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Laura M. </a:t>
            </a:r>
            <a:r>
              <a:rPr lang="en-US" sz="1400" b="1" i="0" kern="1200" err="1">
                <a:latin typeface="+mn-lt"/>
                <a:ea typeface="+mn-lt"/>
                <a:cs typeface="+mn-lt"/>
              </a:rPr>
              <a:t>Seske</a:t>
            </a:r>
            <a:r>
              <a:rPr lang="en-US" sz="1400" b="0" i="0" kern="1200">
                <a:latin typeface="+mn-lt"/>
                <a:ea typeface="+mn-lt"/>
                <a:cs typeface="+mn-lt"/>
              </a:rPr>
              <a:t>, MD, MS, Rush University Medical Center</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Shelly </a:t>
            </a:r>
            <a:r>
              <a:rPr lang="en-US" sz="1400" b="1" i="0" kern="1200" err="1">
                <a:latin typeface="+mn-lt"/>
                <a:ea typeface="+mn-lt"/>
                <a:cs typeface="+mn-lt"/>
              </a:rPr>
              <a:t>Shalla</a:t>
            </a:r>
            <a:r>
              <a:rPr lang="en-US" sz="1400" b="0" i="0" kern="1200" err="1">
                <a:latin typeface="+mn-lt"/>
                <a:ea typeface="+mn-lt"/>
                <a:cs typeface="+mn-lt"/>
              </a:rPr>
              <a:t>t</a:t>
            </a:r>
            <a:r>
              <a:rPr lang="en-US" sz="1400" b="0" i="0" kern="1200">
                <a:latin typeface="+mn-lt"/>
                <a:ea typeface="+mn-lt"/>
                <a:cs typeface="+mn-lt"/>
              </a:rPr>
              <a:t>, MD FAAP CLS, OSF Healthcare Children's Hospital of Illinois</a:t>
            </a:r>
            <a:r>
              <a:rPr lang="en-US" sz="1400">
                <a:ea typeface="+mn-lt"/>
                <a:cs typeface="+mn-lt"/>
              </a:rPr>
              <a:t> </a:t>
            </a:r>
            <a:endParaRPr lang="en-US" sz="1400" b="0" i="0" kern="1200">
              <a:latin typeface="+mn-lt"/>
            </a:endParaRPr>
          </a:p>
          <a:p>
            <a:pPr marL="0" indent="0" defTabSz="768096">
              <a:spcBef>
                <a:spcPts val="0"/>
              </a:spcBef>
              <a:spcAft>
                <a:spcPts val="420"/>
              </a:spcAft>
              <a:buNone/>
            </a:pPr>
            <a:r>
              <a:rPr lang="en-US" sz="1400" b="1">
                <a:ea typeface="+mn-lt"/>
                <a:cs typeface="+mn-lt"/>
              </a:rPr>
              <a:t>Jan Southard</a:t>
            </a:r>
            <a:r>
              <a:rPr lang="en-US" sz="1400" b="0" i="0" kern="1200">
                <a:latin typeface="+mn-lt"/>
                <a:ea typeface="+mn-lt"/>
                <a:cs typeface="+mn-lt"/>
              </a:rPr>
              <a:t>, MHA, BSN, RNC, MNN, UW Health</a:t>
            </a:r>
            <a:endParaRPr lang="en-US" sz="1400"/>
          </a:p>
        </p:txBody>
      </p:sp>
      <p:sp>
        <p:nvSpPr>
          <p:cNvPr id="4" name="Slide Number Placeholder 3">
            <a:extLst>
              <a:ext uri="{FF2B5EF4-FFF2-40B4-BE49-F238E27FC236}">
                <a16:creationId xmlns:a16="http://schemas.microsoft.com/office/drawing/2014/main" id="{813F05E3-B746-9EC2-5991-BF1F2174A7BA}"/>
              </a:ext>
            </a:extLst>
          </p:cNvPr>
          <p:cNvSpPr>
            <a:spLocks noGrp="1"/>
          </p:cNvSpPr>
          <p:nvPr>
            <p:ph type="sldNum" sz="quarter" idx="10"/>
          </p:nvPr>
        </p:nvSpPr>
        <p:spPr>
          <a:xfrm>
            <a:off x="8167665" y="5871104"/>
            <a:ext cx="2330847" cy="310240"/>
          </a:xfrm>
        </p:spPr>
        <p:txBody>
          <a:bodyPr/>
          <a:lstStyle/>
          <a:p>
            <a:pPr defTabSz="768096">
              <a:spcAft>
                <a:spcPts val="600"/>
              </a:spcAft>
            </a:pPr>
            <a:fld id="{97033E4B-E3EB-3D46-B2D8-3159663620FA}" type="slidenum">
              <a:rPr lang="en-US" sz="1008" kern="1200" dirty="0">
                <a:solidFill>
                  <a:schemeClr val="tx2">
                    <a:lumMod val="60000"/>
                    <a:lumOff val="40000"/>
                  </a:schemeClr>
                </a:solidFill>
                <a:latin typeface="+mn-lt"/>
                <a:ea typeface="+mn-ea"/>
                <a:cs typeface="+mn-cs"/>
              </a:rPr>
              <a:pPr defTabSz="768096">
                <a:spcAft>
                  <a:spcPts val="600"/>
                </a:spcAft>
              </a:pPr>
              <a:t>10</a:t>
            </a:fld>
            <a:endParaRPr lang="en-US"/>
          </a:p>
        </p:txBody>
      </p:sp>
      <p:sp>
        <p:nvSpPr>
          <p:cNvPr id="8" name="Ribbon: Tilted Up 7">
            <a:extLst>
              <a:ext uri="{FF2B5EF4-FFF2-40B4-BE49-F238E27FC236}">
                <a16:creationId xmlns:a16="http://schemas.microsoft.com/office/drawing/2014/main" id="{0FF7D97F-E3C9-E04B-5802-2E3ED0EBDB38}"/>
              </a:ext>
            </a:extLst>
          </p:cNvPr>
          <p:cNvSpPr/>
          <p:nvPr/>
        </p:nvSpPr>
        <p:spPr>
          <a:xfrm>
            <a:off x="694920" y="1311215"/>
            <a:ext cx="4556634" cy="513080"/>
          </a:xfrm>
          <a:prstGeom prst="ribbon2">
            <a:avLst/>
          </a:prstGeom>
          <a:solidFill>
            <a:srgbClr val="46B09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68096">
              <a:spcAft>
                <a:spcPts val="600"/>
              </a:spcAft>
            </a:pPr>
            <a:r>
              <a:rPr lang="en-US" sz="1500" b="1" kern="1200">
                <a:latin typeface="+mn-lt"/>
                <a:ea typeface="+mn-ea"/>
                <a:cs typeface="Calibri"/>
              </a:rPr>
              <a:t>ESSI Planning Group</a:t>
            </a:r>
            <a:endParaRPr lang="en-US" sz="1500" b="1"/>
          </a:p>
        </p:txBody>
      </p:sp>
      <p:sp>
        <p:nvSpPr>
          <p:cNvPr id="10" name="Ribbon: Tilted Up 9">
            <a:extLst>
              <a:ext uri="{FF2B5EF4-FFF2-40B4-BE49-F238E27FC236}">
                <a16:creationId xmlns:a16="http://schemas.microsoft.com/office/drawing/2014/main" id="{59D7F5BB-8EAA-583C-E867-0E7DD273A9FF}"/>
              </a:ext>
            </a:extLst>
          </p:cNvPr>
          <p:cNvSpPr/>
          <p:nvPr/>
        </p:nvSpPr>
        <p:spPr>
          <a:xfrm>
            <a:off x="6755443" y="1311215"/>
            <a:ext cx="4556634" cy="513080"/>
          </a:xfrm>
          <a:prstGeom prst="ribbon2">
            <a:avLst/>
          </a:prstGeom>
          <a:solidFill>
            <a:srgbClr val="46B09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68096">
              <a:spcAft>
                <a:spcPts val="600"/>
              </a:spcAft>
            </a:pPr>
            <a:r>
              <a:rPr lang="en-US" sz="1500" b="1" kern="1200">
                <a:latin typeface="+mn-lt"/>
                <a:ea typeface="+mn-ea"/>
                <a:cs typeface="Calibri"/>
              </a:rPr>
              <a:t>Neonatal Community Advisory Board</a:t>
            </a:r>
            <a:endParaRPr lang="en-US" sz="1500" b="1"/>
          </a:p>
        </p:txBody>
      </p:sp>
      <p:sp>
        <p:nvSpPr>
          <p:cNvPr id="12" name="Content Placeholder 2">
            <a:extLst>
              <a:ext uri="{FF2B5EF4-FFF2-40B4-BE49-F238E27FC236}">
                <a16:creationId xmlns:a16="http://schemas.microsoft.com/office/drawing/2014/main" id="{EE48D162-BA47-00CB-E9DD-FDFF3F588DDA}"/>
              </a:ext>
            </a:extLst>
          </p:cNvPr>
          <p:cNvSpPr txBox="1">
            <a:spLocks/>
          </p:cNvSpPr>
          <p:nvPr/>
        </p:nvSpPr>
        <p:spPr>
          <a:xfrm>
            <a:off x="6565649" y="1980275"/>
            <a:ext cx="5527591" cy="47304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768096">
              <a:spcBef>
                <a:spcPts val="300"/>
              </a:spcBef>
              <a:buNone/>
            </a:pPr>
            <a:r>
              <a:rPr lang="en-US" sz="1400" b="1">
                <a:ea typeface="+mn-lt"/>
                <a:cs typeface="+mn-lt"/>
              </a:rPr>
              <a:t>Tia Britton,</a:t>
            </a:r>
            <a:r>
              <a:rPr lang="en-US" sz="1400" b="1">
                <a:solidFill>
                  <a:srgbClr val="444C55"/>
                </a:solidFill>
                <a:ea typeface="+mn-lt"/>
                <a:cs typeface="+mn-lt"/>
              </a:rPr>
              <a:t> </a:t>
            </a:r>
            <a:r>
              <a:rPr lang="en-US" sz="1400">
                <a:ea typeface="+mn-lt"/>
                <a:cs typeface="+mn-lt"/>
              </a:rPr>
              <a:t>Outreach/Education Coordinator for ESL Healthy Start </a:t>
            </a:r>
            <a:endParaRPr lang="en-US"/>
          </a:p>
          <a:p>
            <a:pPr indent="0" defTabSz="768096">
              <a:spcBef>
                <a:spcPts val="300"/>
              </a:spcBef>
              <a:buNone/>
            </a:pPr>
            <a:r>
              <a:rPr lang="en-US" sz="1400" b="1">
                <a:ea typeface="+mn-lt"/>
                <a:cs typeface="+mn-lt"/>
              </a:rPr>
              <a:t>Ashley Horne</a:t>
            </a:r>
            <a:r>
              <a:rPr lang="en-US" sz="1400">
                <a:ea typeface="+mn-lt"/>
                <a:cs typeface="+mn-lt"/>
              </a:rPr>
              <a:t>, Illinois Department of Health (IDPH)</a:t>
            </a:r>
            <a:r>
              <a:rPr lang="en-US" sz="1400" b="1">
                <a:ea typeface="+mn-lt"/>
                <a:cs typeface="+mn-lt"/>
              </a:rPr>
              <a:t> </a:t>
            </a:r>
            <a:endParaRPr lang="en-US" sz="1400" b="1"/>
          </a:p>
          <a:p>
            <a:pPr indent="0" defTabSz="768096">
              <a:spcBef>
                <a:spcPts val="300"/>
              </a:spcBef>
              <a:buNone/>
            </a:pPr>
            <a:r>
              <a:rPr lang="en-US" sz="1400" b="1">
                <a:ea typeface="+mn-lt"/>
                <a:cs typeface="+mn-lt"/>
              </a:rPr>
              <a:t>Nancy Maruyama</a:t>
            </a:r>
            <a:r>
              <a:rPr lang="en-US" sz="1400">
                <a:ea typeface="+mn-lt"/>
                <a:cs typeface="+mn-lt"/>
              </a:rPr>
              <a:t>, SIDS Illinois</a:t>
            </a:r>
            <a:endParaRPr lang="en-US" sz="1400" b="1">
              <a:ea typeface="+mn-lt"/>
              <a:cs typeface="+mn-lt"/>
            </a:endParaRPr>
          </a:p>
          <a:p>
            <a:pPr indent="0" defTabSz="768096">
              <a:spcBef>
                <a:spcPts val="300"/>
              </a:spcBef>
              <a:buNone/>
            </a:pPr>
            <a:r>
              <a:rPr lang="en-US" sz="1400" b="1">
                <a:ea typeface="+mn-lt"/>
                <a:cs typeface="+mn-lt"/>
              </a:rPr>
              <a:t>Erin Miller</a:t>
            </a:r>
            <a:r>
              <a:rPr lang="en-US" sz="1400">
                <a:ea typeface="+mn-lt"/>
                <a:cs typeface="+mn-lt"/>
              </a:rPr>
              <a:t>, Family Connects Peoria </a:t>
            </a:r>
            <a:endParaRPr lang="en-US" sz="1400">
              <a:cs typeface="Calibri"/>
            </a:endParaRPr>
          </a:p>
          <a:p>
            <a:pPr indent="0" defTabSz="768096">
              <a:spcBef>
                <a:spcPts val="300"/>
              </a:spcBef>
              <a:buNone/>
            </a:pPr>
            <a:r>
              <a:rPr lang="en-US" sz="1400" b="1">
                <a:ea typeface="+mn-lt"/>
                <a:cs typeface="+mn-lt"/>
              </a:rPr>
              <a:t>Charisse Montgomery</a:t>
            </a:r>
            <a:r>
              <a:rPr lang="en-US" sz="1400">
                <a:ea typeface="+mn-lt"/>
                <a:cs typeface="+mn-lt"/>
              </a:rPr>
              <a:t>, Black Butterfly Doula and Family Partner</a:t>
            </a:r>
          </a:p>
          <a:p>
            <a:pPr indent="0" defTabSz="768096">
              <a:spcBef>
                <a:spcPts val="300"/>
              </a:spcBef>
              <a:buNone/>
            </a:pPr>
            <a:r>
              <a:rPr lang="en-US" sz="1400" b="1">
                <a:ea typeface="+mn-lt"/>
                <a:cs typeface="+mn-lt"/>
              </a:rPr>
              <a:t>Jose Ortiz</a:t>
            </a:r>
            <a:r>
              <a:rPr lang="en-US" sz="1400">
                <a:ea typeface="+mn-lt"/>
                <a:cs typeface="+mn-lt"/>
              </a:rPr>
              <a:t>,</a:t>
            </a:r>
            <a:r>
              <a:rPr lang="en-US" sz="1400" b="1">
                <a:ea typeface="+mn-lt"/>
                <a:cs typeface="+mn-lt"/>
              </a:rPr>
              <a:t> </a:t>
            </a:r>
            <a:r>
              <a:rPr lang="en-US" sz="1400">
                <a:ea typeface="+mn-lt"/>
                <a:cs typeface="+mn-lt"/>
              </a:rPr>
              <a:t>FIMR UChicago</a:t>
            </a:r>
            <a:r>
              <a:rPr lang="en-US" sz="1400">
                <a:solidFill>
                  <a:srgbClr val="444444"/>
                </a:solidFill>
                <a:ea typeface="+mn-lt"/>
                <a:cs typeface="+mn-lt"/>
              </a:rPr>
              <a:t> </a:t>
            </a:r>
            <a:endParaRPr lang="en-US" sz="1400" b="1"/>
          </a:p>
          <a:p>
            <a:pPr indent="0" defTabSz="768096">
              <a:spcBef>
                <a:spcPts val="300"/>
              </a:spcBef>
              <a:buNone/>
            </a:pPr>
            <a:r>
              <a:rPr lang="en-US" sz="1400" b="1">
                <a:ea typeface="+mn-lt"/>
                <a:cs typeface="+mn-lt"/>
              </a:rPr>
              <a:t>Karen Shiflett</a:t>
            </a:r>
            <a:r>
              <a:rPr lang="en-US" sz="1400">
                <a:ea typeface="+mn-lt"/>
                <a:cs typeface="+mn-lt"/>
              </a:rPr>
              <a:t>, </a:t>
            </a:r>
            <a:r>
              <a:rPr lang="en-US" sz="1400">
                <a:solidFill>
                  <a:srgbClr val="4D5156"/>
                </a:solidFill>
                <a:ea typeface="+mn-lt"/>
                <a:cs typeface="+mn-lt"/>
              </a:rPr>
              <a:t>Director of WIC/FCM Division</a:t>
            </a:r>
            <a:endParaRPr lang="en-US" sz="1400"/>
          </a:p>
          <a:p>
            <a:pPr indent="0" defTabSz="768096">
              <a:spcBef>
                <a:spcPts val="300"/>
              </a:spcBef>
              <a:buNone/>
            </a:pPr>
            <a:r>
              <a:rPr lang="en-US" sz="1400" b="1">
                <a:ea typeface="+mn-lt"/>
                <a:cs typeface="+mn-lt"/>
              </a:rPr>
              <a:t>Kakuna Smith</a:t>
            </a:r>
            <a:r>
              <a:rPr lang="en-US" sz="1400">
                <a:ea typeface="+mn-lt"/>
                <a:cs typeface="+mn-lt"/>
              </a:rPr>
              <a:t>, Parent Partner</a:t>
            </a:r>
          </a:p>
          <a:p>
            <a:pPr indent="0" defTabSz="768096">
              <a:spcBef>
                <a:spcPts val="300"/>
              </a:spcBef>
              <a:buNone/>
            </a:pPr>
            <a:r>
              <a:rPr lang="en-US" sz="1400" b="1">
                <a:ea typeface="+mn-lt"/>
                <a:cs typeface="+mn-lt"/>
              </a:rPr>
              <a:t>Keyonna Tompkins</a:t>
            </a:r>
            <a:r>
              <a:rPr lang="en-US" sz="1400">
                <a:ea typeface="+mn-lt"/>
                <a:cs typeface="+mn-lt"/>
              </a:rPr>
              <a:t>, Access Westside Healthy Start </a:t>
            </a:r>
          </a:p>
          <a:p>
            <a:pPr indent="0" defTabSz="768096">
              <a:spcBef>
                <a:spcPts val="300"/>
              </a:spcBef>
              <a:buNone/>
            </a:pPr>
            <a:r>
              <a:rPr lang="en-US" sz="1400" b="1">
                <a:ea typeface="+mn-lt"/>
                <a:cs typeface="+mn-lt"/>
              </a:rPr>
              <a:t>Odessa B. Williams</a:t>
            </a:r>
            <a:r>
              <a:rPr lang="en-US" sz="1400">
                <a:ea typeface="+mn-lt"/>
                <a:cs typeface="+mn-lt"/>
              </a:rPr>
              <a:t>, FIMR, Nurse Coordinator </a:t>
            </a:r>
            <a:endParaRPr lang="en-US" sz="1400"/>
          </a:p>
          <a:p>
            <a:pPr indent="0" defTabSz="768096">
              <a:spcBef>
                <a:spcPts val="300"/>
              </a:spcBef>
              <a:buNone/>
            </a:pPr>
            <a:r>
              <a:rPr lang="en-US" sz="1400" b="1">
                <a:ea typeface="+mn-lt"/>
                <a:cs typeface="+mn-lt"/>
              </a:rPr>
              <a:t>Shanice Williams</a:t>
            </a:r>
            <a:r>
              <a:rPr lang="en-US" sz="1400">
                <a:ea typeface="+mn-lt"/>
                <a:cs typeface="+mn-lt"/>
              </a:rPr>
              <a:t>, </a:t>
            </a:r>
            <a:r>
              <a:rPr lang="en-US" sz="1400">
                <a:solidFill>
                  <a:srgbClr val="444444"/>
                </a:solidFill>
                <a:ea typeface="+mn-lt"/>
                <a:cs typeface="+mn-lt"/>
              </a:rPr>
              <a:t>Community Coordinator, Ingalls Memorial </a:t>
            </a:r>
            <a:endParaRPr lang="en-US" sz="1400" b="1"/>
          </a:p>
          <a:p>
            <a:pPr marL="0" indent="0" algn="r" defTabSz="768096">
              <a:spcBef>
                <a:spcPts val="300"/>
              </a:spcBef>
              <a:spcAft>
                <a:spcPts val="840"/>
              </a:spcAft>
              <a:buFont typeface="Arial" panose="020B0604020202020204" pitchFamily="34" charset="0"/>
              <a:buNone/>
            </a:pPr>
            <a:endParaRPr lang="en-US" sz="1250">
              <a:ea typeface="Calibri"/>
              <a:cs typeface="Calibri"/>
            </a:endParaRPr>
          </a:p>
        </p:txBody>
      </p:sp>
      <p:pic>
        <p:nvPicPr>
          <p:cNvPr id="5" name="Graphic 4" descr="Group outline">
            <a:extLst>
              <a:ext uri="{FF2B5EF4-FFF2-40B4-BE49-F238E27FC236}">
                <a16:creationId xmlns:a16="http://schemas.microsoft.com/office/drawing/2014/main" id="{E17672A5-AEC3-89D1-7885-258C82AA84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4309" y="585158"/>
            <a:ext cx="914400" cy="914400"/>
          </a:xfrm>
          <a:prstGeom prst="rect">
            <a:avLst/>
          </a:prstGeom>
        </p:spPr>
      </p:pic>
      <p:pic>
        <p:nvPicPr>
          <p:cNvPr id="7" name="Graphic 6" descr="Group outline">
            <a:extLst>
              <a:ext uri="{FF2B5EF4-FFF2-40B4-BE49-F238E27FC236}">
                <a16:creationId xmlns:a16="http://schemas.microsoft.com/office/drawing/2014/main" id="{A5FA74A4-8B11-9A26-338F-598F0BB157C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8837" y="585158"/>
            <a:ext cx="914400" cy="914400"/>
          </a:xfrm>
          <a:prstGeom prst="rect">
            <a:avLst/>
          </a:prstGeom>
        </p:spPr>
      </p:pic>
      <p:pic>
        <p:nvPicPr>
          <p:cNvPr id="11" name="Graphic 10" descr="Group outline">
            <a:extLst>
              <a:ext uri="{FF2B5EF4-FFF2-40B4-BE49-F238E27FC236}">
                <a16:creationId xmlns:a16="http://schemas.microsoft.com/office/drawing/2014/main" id="{BF20ED5B-473E-6594-3F93-EE9A06A6DB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38271" y="585158"/>
            <a:ext cx="914400" cy="914400"/>
          </a:xfrm>
          <a:prstGeom prst="rect">
            <a:avLst/>
          </a:prstGeom>
        </p:spPr>
      </p:pic>
      <p:pic>
        <p:nvPicPr>
          <p:cNvPr id="13" name="Graphic 12" descr="Group outline">
            <a:extLst>
              <a:ext uri="{FF2B5EF4-FFF2-40B4-BE49-F238E27FC236}">
                <a16:creationId xmlns:a16="http://schemas.microsoft.com/office/drawing/2014/main" id="{5AA8F043-0F3B-8D38-E135-322B5B3E5D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18120" y="585158"/>
            <a:ext cx="914400" cy="914400"/>
          </a:xfrm>
          <a:prstGeom prst="rect">
            <a:avLst/>
          </a:prstGeom>
        </p:spPr>
      </p:pic>
    </p:spTree>
    <p:extLst>
      <p:ext uri="{BB962C8B-B14F-4D97-AF65-F5344CB8AC3E}">
        <p14:creationId xmlns:p14="http://schemas.microsoft.com/office/powerpoint/2010/main" val="12318447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AE700-1499-46B3-C70A-C723802CD680}"/>
              </a:ext>
            </a:extLst>
          </p:cNvPr>
          <p:cNvSpPr>
            <a:spLocks noGrp="1"/>
          </p:cNvSpPr>
          <p:nvPr>
            <p:ph type="title"/>
          </p:nvPr>
        </p:nvSpPr>
        <p:spPr>
          <a:xfrm>
            <a:off x="841248" y="334644"/>
            <a:ext cx="10509504" cy="1076914"/>
          </a:xfrm>
        </p:spPr>
        <p:txBody>
          <a:bodyPr anchor="ctr">
            <a:normAutofit/>
          </a:bodyPr>
          <a:lstStyle/>
          <a:p>
            <a:r>
              <a:rPr lang="en-US" sz="4800">
                <a:ea typeface="Lato Medium"/>
                <a:cs typeface="Lato Medium"/>
              </a:rPr>
              <a:t>Building ESSI Together</a:t>
            </a:r>
            <a:endParaRPr lang="en-US" sz="4800"/>
          </a:p>
        </p:txBody>
      </p:sp>
      <p:sp>
        <p:nvSpPr>
          <p:cNvPr id="20" name="Rectangle 19">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2">
            <a:extLst>
              <a:ext uri="{FF2B5EF4-FFF2-40B4-BE49-F238E27FC236}">
                <a16:creationId xmlns:a16="http://schemas.microsoft.com/office/drawing/2014/main" id="{98AEAD99-3E06-8D3F-3F0C-CDC9176523B6}"/>
              </a:ext>
            </a:extLst>
          </p:cNvPr>
          <p:cNvSpPr/>
          <p:nvPr/>
        </p:nvSpPr>
        <p:spPr>
          <a:xfrm>
            <a:off x="6494283" y="1460087"/>
            <a:ext cx="5244016" cy="5056124"/>
          </a:xfrm>
          <a:custGeom>
            <a:avLst/>
            <a:gdLst/>
            <a:ahLst/>
            <a:cxnLst/>
            <a:rect l="l" t="t" r="r" b="b"/>
            <a:pathLst>
              <a:path w="8679397" h="8636000">
                <a:moveTo>
                  <a:pt x="0" y="0"/>
                </a:moveTo>
                <a:lnTo>
                  <a:pt x="8679397" y="0"/>
                </a:lnTo>
                <a:lnTo>
                  <a:pt x="8679397" y="8636000"/>
                </a:lnTo>
                <a:lnTo>
                  <a:pt x="0" y="8636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TextBox 3">
            <a:extLst>
              <a:ext uri="{FF2B5EF4-FFF2-40B4-BE49-F238E27FC236}">
                <a16:creationId xmlns:a16="http://schemas.microsoft.com/office/drawing/2014/main" id="{6DCB2364-A5B2-FB37-162C-58D7616BFAA3}"/>
              </a:ext>
            </a:extLst>
          </p:cNvPr>
          <p:cNvSpPr txBox="1"/>
          <p:nvPr/>
        </p:nvSpPr>
        <p:spPr>
          <a:xfrm>
            <a:off x="8253274" y="5600977"/>
            <a:ext cx="1435992"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Advisory</a:t>
            </a:r>
            <a:r>
              <a:rPr lang="en-US" sz="1550" spc="60">
                <a:solidFill>
                  <a:srgbClr val="FFFFFF"/>
                </a:solidFill>
                <a:latin typeface="Aileron Bold"/>
              </a:rPr>
              <a:t> </a:t>
            </a:r>
            <a:endParaRPr lang="en-US" sz="1999" spc="77">
              <a:solidFill>
                <a:srgbClr val="FFFFFF"/>
              </a:solidFill>
              <a:latin typeface="Aileron Bold"/>
            </a:endParaRPr>
          </a:p>
        </p:txBody>
      </p:sp>
      <p:sp>
        <p:nvSpPr>
          <p:cNvPr id="11" name="TextBox 4">
            <a:extLst>
              <a:ext uri="{FF2B5EF4-FFF2-40B4-BE49-F238E27FC236}">
                <a16:creationId xmlns:a16="http://schemas.microsoft.com/office/drawing/2014/main" id="{33B71E7D-B0CF-32BF-4481-78C694C53404}"/>
              </a:ext>
            </a:extLst>
          </p:cNvPr>
          <p:cNvSpPr txBox="1"/>
          <p:nvPr/>
        </p:nvSpPr>
        <p:spPr>
          <a:xfrm>
            <a:off x="9686733" y="2420445"/>
            <a:ext cx="1560397"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Community Advisory Board</a:t>
            </a:r>
            <a:endParaRPr lang="en-US" b="1" spc="77">
              <a:solidFill>
                <a:srgbClr val="FFFFFF"/>
              </a:solidFill>
              <a:latin typeface="Aileron Bold"/>
            </a:endParaRPr>
          </a:p>
        </p:txBody>
      </p:sp>
      <p:sp>
        <p:nvSpPr>
          <p:cNvPr id="13" name="TextBox 5">
            <a:extLst>
              <a:ext uri="{FF2B5EF4-FFF2-40B4-BE49-F238E27FC236}">
                <a16:creationId xmlns:a16="http://schemas.microsoft.com/office/drawing/2014/main" id="{50A7250D-02AB-B054-06E1-32E9F8FC55C0}"/>
              </a:ext>
            </a:extLst>
          </p:cNvPr>
          <p:cNvSpPr txBox="1"/>
          <p:nvPr/>
        </p:nvSpPr>
        <p:spPr>
          <a:xfrm>
            <a:off x="10141513" y="4604451"/>
            <a:ext cx="1153831"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ESSI </a:t>
            </a:r>
            <a:r>
              <a:rPr lang="en-US" b="1" spc="60">
                <a:solidFill>
                  <a:srgbClr val="FFFFFF"/>
                </a:solidFill>
                <a:latin typeface="Aileron Bold"/>
              </a:rPr>
              <a:t>Planning</a:t>
            </a:r>
            <a:r>
              <a:rPr lang="en-US" b="1" kern="1200" spc="60">
                <a:solidFill>
                  <a:srgbClr val="FFFFFF"/>
                </a:solidFill>
                <a:latin typeface="Aileron Bold"/>
                <a:ea typeface="+mn-ea"/>
                <a:cs typeface="+mn-cs"/>
              </a:rPr>
              <a:t> Group</a:t>
            </a:r>
            <a:endParaRPr lang="en-US" b="1" spc="77">
              <a:solidFill>
                <a:srgbClr val="FFFFFF"/>
              </a:solidFill>
              <a:latin typeface="Aileron Bold"/>
            </a:endParaRPr>
          </a:p>
        </p:txBody>
      </p:sp>
      <p:sp>
        <p:nvSpPr>
          <p:cNvPr id="15" name="TextBox 6">
            <a:extLst>
              <a:ext uri="{FF2B5EF4-FFF2-40B4-BE49-F238E27FC236}">
                <a16:creationId xmlns:a16="http://schemas.microsoft.com/office/drawing/2014/main" id="{63237A5A-8FBE-2248-7DAF-97A8D25F57D1}"/>
              </a:ext>
            </a:extLst>
          </p:cNvPr>
          <p:cNvSpPr txBox="1"/>
          <p:nvPr/>
        </p:nvSpPr>
        <p:spPr>
          <a:xfrm>
            <a:off x="6906480" y="4111699"/>
            <a:ext cx="9307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Wave 1 Teams</a:t>
            </a:r>
            <a:endParaRPr lang="en-US" b="1" spc="77">
              <a:solidFill>
                <a:srgbClr val="FFFFFF"/>
              </a:solidFill>
              <a:latin typeface="Aileron Bold"/>
            </a:endParaRPr>
          </a:p>
        </p:txBody>
      </p:sp>
      <p:sp>
        <p:nvSpPr>
          <p:cNvPr id="17" name="TextBox 7">
            <a:extLst>
              <a:ext uri="{FF2B5EF4-FFF2-40B4-BE49-F238E27FC236}">
                <a16:creationId xmlns:a16="http://schemas.microsoft.com/office/drawing/2014/main" id="{9694707D-377A-FF99-AFDB-26A575A618C3}"/>
              </a:ext>
            </a:extLst>
          </p:cNvPr>
          <p:cNvSpPr txBox="1"/>
          <p:nvPr/>
        </p:nvSpPr>
        <p:spPr>
          <a:xfrm>
            <a:off x="7941676" y="2373137"/>
            <a:ext cx="9180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ILPQC Central</a:t>
            </a:r>
            <a:endParaRPr lang="en-US" b="1" spc="77">
              <a:solidFill>
                <a:srgbClr val="FFFFFF"/>
              </a:solidFill>
              <a:latin typeface="Aileron Bold"/>
            </a:endParaRPr>
          </a:p>
        </p:txBody>
      </p:sp>
      <p:sp>
        <p:nvSpPr>
          <p:cNvPr id="6" name="Freeform 13">
            <a:extLst>
              <a:ext uri="{FF2B5EF4-FFF2-40B4-BE49-F238E27FC236}">
                <a16:creationId xmlns:a16="http://schemas.microsoft.com/office/drawing/2014/main" id="{055E55DF-27B4-B9A8-84BB-DC4C1522901C}"/>
              </a:ext>
            </a:extLst>
          </p:cNvPr>
          <p:cNvSpPr/>
          <p:nvPr/>
        </p:nvSpPr>
        <p:spPr>
          <a:xfrm>
            <a:off x="8352786" y="3739672"/>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stretch>
              <a:fillRect t="-16582"/>
            </a:stretch>
          </a:blipFill>
        </p:spPr>
      </p:sp>
      <p:sp>
        <p:nvSpPr>
          <p:cNvPr id="3" name="TextBox 2">
            <a:extLst>
              <a:ext uri="{FF2B5EF4-FFF2-40B4-BE49-F238E27FC236}">
                <a16:creationId xmlns:a16="http://schemas.microsoft.com/office/drawing/2014/main" id="{1C814D25-66C5-ACFC-3102-DB1C47E8E790}"/>
              </a:ext>
            </a:extLst>
          </p:cNvPr>
          <p:cNvSpPr txBox="1"/>
          <p:nvPr/>
        </p:nvSpPr>
        <p:spPr>
          <a:xfrm>
            <a:off x="838575" y="2739340"/>
            <a:ext cx="4705611" cy="34778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t>18 ILPQC hospital teams who volunteered to assist with the review of ESSI Hospital and Patient Level Data forms. </a:t>
            </a:r>
            <a:endParaRPr lang="en-US" sz="2000">
              <a:cs typeface="Calibri"/>
            </a:endParaRPr>
          </a:p>
          <a:p>
            <a:pPr algn="ctr"/>
            <a:endParaRPr lang="en-US" sz="2000">
              <a:cs typeface="Calibri"/>
            </a:endParaRPr>
          </a:p>
          <a:p>
            <a:pPr algn="ctr"/>
            <a:r>
              <a:rPr lang="en-US" sz="2000">
                <a:cs typeface="Calibri"/>
              </a:rPr>
              <a:t>The Wave 1 ESSI QI Teams met and reviewed the data forms and then shared their feedback on specific questions and data collection strategies.</a:t>
            </a:r>
          </a:p>
          <a:p>
            <a:pPr algn="ctr"/>
            <a:endParaRPr lang="en-US" sz="2000">
              <a:cs typeface="Calibri"/>
            </a:endParaRPr>
          </a:p>
          <a:p>
            <a:pPr algn="ctr"/>
            <a:r>
              <a:rPr lang="en-US" sz="2000">
                <a:cs typeface="Calibri"/>
              </a:rPr>
              <a:t>ILPQC reviewed feedback and incorporated into the data forms.</a:t>
            </a:r>
          </a:p>
        </p:txBody>
      </p:sp>
      <p:sp>
        <p:nvSpPr>
          <p:cNvPr id="5" name="Rectangle 4">
            <a:extLst>
              <a:ext uri="{FF2B5EF4-FFF2-40B4-BE49-F238E27FC236}">
                <a16:creationId xmlns:a16="http://schemas.microsoft.com/office/drawing/2014/main" id="{19C1D751-08DD-BD76-1181-C434C9849C27}"/>
              </a:ext>
            </a:extLst>
          </p:cNvPr>
          <p:cNvSpPr/>
          <p:nvPr/>
        </p:nvSpPr>
        <p:spPr>
          <a:xfrm>
            <a:off x="1039898" y="1845620"/>
            <a:ext cx="4290163" cy="532356"/>
          </a:xfrm>
          <a:prstGeom prst="rect">
            <a:avLst/>
          </a:prstGeom>
          <a:solidFill>
            <a:srgbClr val="F5668F"/>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cs typeface="Calibri"/>
              </a:rPr>
              <a:t>Wave 1 Teams</a:t>
            </a:r>
          </a:p>
        </p:txBody>
      </p:sp>
    </p:spTree>
    <p:extLst>
      <p:ext uri="{BB962C8B-B14F-4D97-AF65-F5344CB8AC3E}">
        <p14:creationId xmlns:p14="http://schemas.microsoft.com/office/powerpoint/2010/main" val="773696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1C7F80-41A4-BEE0-AE4A-B924B459AE73}"/>
              </a:ext>
            </a:extLst>
          </p:cNvPr>
          <p:cNvSpPr>
            <a:spLocks noGrp="1"/>
          </p:cNvSpPr>
          <p:nvPr>
            <p:ph idx="1"/>
          </p:nvPr>
        </p:nvSpPr>
        <p:spPr>
          <a:xfrm>
            <a:off x="609600" y="1998153"/>
            <a:ext cx="5499278" cy="4351338"/>
          </a:xfrm>
        </p:spPr>
        <p:txBody>
          <a:bodyPr vert="horz" lIns="91440" tIns="45720" rIns="91440" bIns="45720" rtlCol="0" anchor="t">
            <a:noAutofit/>
          </a:bodyPr>
          <a:lstStyle/>
          <a:p>
            <a:pPr>
              <a:spcBef>
                <a:spcPts val="0"/>
              </a:spcBef>
              <a:spcAft>
                <a:spcPts val="0"/>
              </a:spcAft>
            </a:pPr>
            <a:r>
              <a:rPr lang="en-US" sz="2800" err="1">
                <a:solidFill>
                  <a:srgbClr val="424242"/>
                </a:solidFill>
                <a:ea typeface="+mn-lt"/>
                <a:cs typeface="+mn-lt"/>
              </a:rPr>
              <a:t>AdventHealth</a:t>
            </a:r>
            <a:r>
              <a:rPr lang="en-US" sz="2800">
                <a:solidFill>
                  <a:srgbClr val="424242"/>
                </a:solidFill>
                <a:ea typeface="+mn-lt"/>
                <a:cs typeface="+mn-lt"/>
              </a:rPr>
              <a:t> Hinsdale </a:t>
            </a:r>
          </a:p>
          <a:p>
            <a:pPr>
              <a:spcBef>
                <a:spcPts val="0"/>
              </a:spcBef>
              <a:spcAft>
                <a:spcPts val="0"/>
              </a:spcAft>
            </a:pPr>
            <a:r>
              <a:rPr lang="en-US" sz="2800">
                <a:solidFill>
                  <a:srgbClr val="424242"/>
                </a:solidFill>
                <a:ea typeface="+mn-lt"/>
                <a:cs typeface="+mn-lt"/>
              </a:rPr>
              <a:t>Advocate Condell Medical Center</a:t>
            </a:r>
          </a:p>
          <a:p>
            <a:pPr>
              <a:spcBef>
                <a:spcPts val="0"/>
              </a:spcBef>
              <a:spcAft>
                <a:spcPts val="0"/>
              </a:spcAft>
            </a:pPr>
            <a:r>
              <a:rPr lang="en-US" sz="2800">
                <a:solidFill>
                  <a:srgbClr val="424242"/>
                </a:solidFill>
                <a:ea typeface="+mn-lt"/>
                <a:cs typeface="+mn-lt"/>
              </a:rPr>
              <a:t>Advocate Trinity Hospital</a:t>
            </a:r>
          </a:p>
          <a:p>
            <a:pPr>
              <a:spcBef>
                <a:spcPts val="0"/>
              </a:spcBef>
              <a:spcAft>
                <a:spcPts val="0"/>
              </a:spcAft>
            </a:pPr>
            <a:r>
              <a:rPr lang="en-US" sz="2800">
                <a:solidFill>
                  <a:srgbClr val="424242"/>
                </a:solidFill>
                <a:ea typeface="+mn-lt"/>
                <a:cs typeface="+mn-lt"/>
              </a:rPr>
              <a:t>Anderson Hospital</a:t>
            </a:r>
          </a:p>
          <a:p>
            <a:pPr>
              <a:spcBef>
                <a:spcPts val="0"/>
              </a:spcBef>
              <a:spcAft>
                <a:spcPts val="0"/>
              </a:spcAft>
            </a:pPr>
            <a:r>
              <a:rPr lang="en-US" sz="2800">
                <a:solidFill>
                  <a:srgbClr val="424242"/>
                </a:solidFill>
                <a:ea typeface="+mn-lt"/>
                <a:cs typeface="+mn-lt"/>
              </a:rPr>
              <a:t>Carle Foundation Hospital </a:t>
            </a:r>
          </a:p>
          <a:p>
            <a:pPr>
              <a:spcBef>
                <a:spcPts val="0"/>
              </a:spcBef>
              <a:spcAft>
                <a:spcPts val="0"/>
              </a:spcAft>
            </a:pPr>
            <a:r>
              <a:rPr lang="en-US" sz="2800">
                <a:solidFill>
                  <a:srgbClr val="424242"/>
                </a:solidFill>
                <a:ea typeface="+mn-lt"/>
                <a:cs typeface="+mn-lt"/>
              </a:rPr>
              <a:t>FHN Hospital</a:t>
            </a:r>
          </a:p>
          <a:p>
            <a:pPr>
              <a:spcBef>
                <a:spcPts val="0"/>
              </a:spcBef>
              <a:spcAft>
                <a:spcPts val="0"/>
              </a:spcAft>
            </a:pPr>
            <a:r>
              <a:rPr lang="en-US" sz="2800">
                <a:solidFill>
                  <a:srgbClr val="424242"/>
                </a:solidFill>
                <a:ea typeface="+mn-lt"/>
                <a:cs typeface="+mn-lt"/>
              </a:rPr>
              <a:t>HSHS St. John’s Hospital </a:t>
            </a:r>
          </a:p>
          <a:p>
            <a:pPr>
              <a:spcBef>
                <a:spcPts val="0"/>
              </a:spcBef>
              <a:spcAft>
                <a:spcPts val="0"/>
              </a:spcAft>
            </a:pPr>
            <a:r>
              <a:rPr lang="en-US" sz="2800">
                <a:solidFill>
                  <a:srgbClr val="424242"/>
                </a:solidFill>
                <a:ea typeface="Lato"/>
                <a:cs typeface="Calibri"/>
              </a:rPr>
              <a:t>Loyola University Medical Center</a:t>
            </a:r>
            <a:endParaRPr lang="en-US" sz="2800">
              <a:solidFill>
                <a:srgbClr val="444C55"/>
              </a:solidFill>
              <a:ea typeface="Lato"/>
            </a:endParaRPr>
          </a:p>
          <a:p>
            <a:pPr>
              <a:spcBef>
                <a:spcPts val="0"/>
              </a:spcBef>
              <a:spcAft>
                <a:spcPts val="0"/>
              </a:spcAft>
            </a:pPr>
            <a:r>
              <a:rPr lang="en-US" sz="2800">
                <a:solidFill>
                  <a:srgbClr val="424242"/>
                </a:solidFill>
                <a:ea typeface="Lato"/>
                <a:cs typeface="Calibri"/>
              </a:rPr>
              <a:t>Northwest Community Healthcare</a:t>
            </a:r>
            <a:endParaRPr lang="en-US" sz="2800">
              <a:ea typeface="Lato"/>
            </a:endParaRPr>
          </a:p>
          <a:p>
            <a:pPr>
              <a:spcBef>
                <a:spcPts val="0"/>
              </a:spcBef>
              <a:spcAft>
                <a:spcPts val="0"/>
              </a:spcAft>
            </a:pPr>
            <a:endParaRPr lang="en-US" sz="2800">
              <a:solidFill>
                <a:srgbClr val="424242"/>
              </a:solidFill>
              <a:ea typeface="Lato"/>
              <a:cs typeface="Calibri"/>
            </a:endParaRPr>
          </a:p>
          <a:p>
            <a:pPr>
              <a:spcBef>
                <a:spcPts val="0"/>
              </a:spcBef>
              <a:spcAft>
                <a:spcPts val="0"/>
              </a:spcAft>
            </a:pPr>
            <a:endParaRPr lang="en-US" sz="2800">
              <a:solidFill>
                <a:srgbClr val="424242"/>
              </a:solidFill>
              <a:ea typeface="Lato"/>
              <a:cs typeface="Calibri"/>
            </a:endParaRPr>
          </a:p>
          <a:p>
            <a:pPr>
              <a:spcBef>
                <a:spcPts val="0"/>
              </a:spcBef>
              <a:spcAft>
                <a:spcPts val="0"/>
              </a:spcAft>
            </a:pPr>
            <a:endParaRPr lang="en-US" sz="2800">
              <a:solidFill>
                <a:srgbClr val="424242"/>
              </a:solidFill>
              <a:ea typeface="Lato"/>
              <a:cs typeface="Calibri"/>
            </a:endParaRPr>
          </a:p>
          <a:p>
            <a:pPr>
              <a:spcBef>
                <a:spcPts val="0"/>
              </a:spcBef>
              <a:spcAft>
                <a:spcPts val="0"/>
              </a:spcAft>
            </a:pPr>
            <a:endParaRPr lang="en-US" sz="2800">
              <a:solidFill>
                <a:srgbClr val="424242"/>
              </a:solidFill>
              <a:ea typeface="Lato"/>
              <a:cs typeface="Calibri"/>
            </a:endParaRPr>
          </a:p>
          <a:p>
            <a:pPr marL="0" indent="0">
              <a:spcBef>
                <a:spcPts val="0"/>
              </a:spcBef>
              <a:spcAft>
                <a:spcPts val="0"/>
              </a:spcAft>
              <a:buNone/>
            </a:pPr>
            <a:endParaRPr lang="en-US" sz="2800">
              <a:solidFill>
                <a:srgbClr val="424242"/>
              </a:solidFill>
              <a:cs typeface="Calibri"/>
            </a:endParaRPr>
          </a:p>
          <a:p>
            <a:endParaRPr lang="en-US">
              <a:solidFill>
                <a:srgbClr val="444C55"/>
              </a:solidFill>
              <a:ea typeface="Lato"/>
            </a:endParaRPr>
          </a:p>
        </p:txBody>
      </p:sp>
      <p:sp>
        <p:nvSpPr>
          <p:cNvPr id="4" name="Slide Number Placeholder 3">
            <a:extLst>
              <a:ext uri="{FF2B5EF4-FFF2-40B4-BE49-F238E27FC236}">
                <a16:creationId xmlns:a16="http://schemas.microsoft.com/office/drawing/2014/main" id="{ECC019A2-F1C0-78AE-C264-0FFA4D36BA18}"/>
              </a:ext>
            </a:extLst>
          </p:cNvPr>
          <p:cNvSpPr>
            <a:spLocks noGrp="1"/>
          </p:cNvSpPr>
          <p:nvPr>
            <p:ph type="sldNum" sz="quarter" idx="10"/>
          </p:nvPr>
        </p:nvSpPr>
        <p:spPr/>
        <p:txBody>
          <a:bodyPr/>
          <a:lstStyle/>
          <a:p>
            <a:fld id="{97033E4B-E3EB-3D46-B2D8-3159663620FA}" type="slidenum">
              <a:rPr lang="en-US" smtClean="0"/>
              <a:pPr/>
              <a:t>12</a:t>
            </a:fld>
            <a:endParaRPr lang="en-US"/>
          </a:p>
        </p:txBody>
      </p:sp>
      <p:sp>
        <p:nvSpPr>
          <p:cNvPr id="5" name="Footer Placeholder 4">
            <a:extLst>
              <a:ext uri="{FF2B5EF4-FFF2-40B4-BE49-F238E27FC236}">
                <a16:creationId xmlns:a16="http://schemas.microsoft.com/office/drawing/2014/main" id="{7EECD09F-1C45-4BE9-E1BE-52922CED5F71}"/>
              </a:ext>
            </a:extLst>
          </p:cNvPr>
          <p:cNvSpPr>
            <a:spLocks noGrp="1"/>
          </p:cNvSpPr>
          <p:nvPr>
            <p:ph type="ftr" sz="quarter" idx="11"/>
          </p:nvPr>
        </p:nvSpPr>
        <p:spPr/>
        <p:txBody>
          <a:bodyPr/>
          <a:lstStyle/>
          <a:p>
            <a:pPr algn="l"/>
            <a:r>
              <a:rPr lang="en-US"/>
              <a:t>Illinois Perinatal Quality Collaborative</a:t>
            </a:r>
          </a:p>
        </p:txBody>
      </p:sp>
      <p:sp>
        <p:nvSpPr>
          <p:cNvPr id="8" name="TextBox 9">
            <a:extLst>
              <a:ext uri="{FF2B5EF4-FFF2-40B4-BE49-F238E27FC236}">
                <a16:creationId xmlns:a16="http://schemas.microsoft.com/office/drawing/2014/main" id="{26958D46-14E5-B162-C58C-FA81CBE527D6}"/>
              </a:ext>
            </a:extLst>
          </p:cNvPr>
          <p:cNvSpPr txBox="1"/>
          <p:nvPr/>
        </p:nvSpPr>
        <p:spPr>
          <a:xfrm>
            <a:off x="9418670" y="2510729"/>
            <a:ext cx="2256848" cy="997966"/>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8256"/>
              </a:lnSpc>
            </a:pPr>
            <a:r>
              <a:rPr lang="en-US" sz="5898">
                <a:solidFill>
                  <a:srgbClr val="FFFFFF"/>
                </a:solidFill>
                <a:latin typeface="Canva Sans Bold"/>
              </a:rPr>
              <a:t>ESSI</a:t>
            </a:r>
          </a:p>
        </p:txBody>
      </p:sp>
      <p:sp>
        <p:nvSpPr>
          <p:cNvPr id="11" name="Content Placeholder 2">
            <a:extLst>
              <a:ext uri="{FF2B5EF4-FFF2-40B4-BE49-F238E27FC236}">
                <a16:creationId xmlns:a16="http://schemas.microsoft.com/office/drawing/2014/main" id="{50FB034E-6814-0511-ABE9-55AF46337AE4}"/>
              </a:ext>
            </a:extLst>
          </p:cNvPr>
          <p:cNvSpPr txBox="1">
            <a:spLocks/>
          </p:cNvSpPr>
          <p:nvPr/>
        </p:nvSpPr>
        <p:spPr>
          <a:xfrm>
            <a:off x="6514159" y="1942790"/>
            <a:ext cx="5295363"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buFont typeface="Arial,Sans-Serif" panose="020B0604020202020204" pitchFamily="34" charset="0"/>
            </a:pPr>
            <a:r>
              <a:rPr lang="en-US" sz="2800">
                <a:solidFill>
                  <a:srgbClr val="424242"/>
                </a:solidFill>
                <a:ea typeface="+mn-lt"/>
                <a:cs typeface="+mn-lt"/>
              </a:rPr>
              <a:t>NM Kishwaukee</a:t>
            </a:r>
          </a:p>
          <a:p>
            <a:pPr>
              <a:spcBef>
                <a:spcPts val="0"/>
              </a:spcBef>
              <a:spcAft>
                <a:spcPts val="0"/>
              </a:spcAft>
              <a:buFont typeface="Arial,Sans-Serif" panose="020B0604020202020204" pitchFamily="34" charset="0"/>
            </a:pPr>
            <a:r>
              <a:rPr lang="en-US" sz="2800">
                <a:solidFill>
                  <a:srgbClr val="424242"/>
                </a:solidFill>
                <a:ea typeface="+mn-lt"/>
                <a:cs typeface="+mn-lt"/>
              </a:rPr>
              <a:t>Mount Sinai Hospital</a:t>
            </a:r>
          </a:p>
          <a:p>
            <a:pPr>
              <a:spcBef>
                <a:spcPts val="0"/>
              </a:spcBef>
              <a:spcAft>
                <a:spcPts val="0"/>
              </a:spcAft>
              <a:buFont typeface="Arial,Sans-Serif" panose="020B0604020202020204" pitchFamily="34" charset="0"/>
            </a:pPr>
            <a:r>
              <a:rPr lang="en-US" sz="2800">
                <a:solidFill>
                  <a:srgbClr val="424242"/>
                </a:solidFill>
                <a:ea typeface="+mn-lt"/>
                <a:cs typeface="+mn-lt"/>
              </a:rPr>
              <a:t>OSF St. Francis Medical Center </a:t>
            </a:r>
          </a:p>
          <a:p>
            <a:pPr>
              <a:spcBef>
                <a:spcPts val="0"/>
              </a:spcBef>
              <a:spcAft>
                <a:spcPts val="0"/>
              </a:spcAft>
              <a:buFont typeface="Arial,Sans-Serif" panose="020B0604020202020204" pitchFamily="34" charset="0"/>
            </a:pPr>
            <a:r>
              <a:rPr lang="en-US" sz="2800">
                <a:solidFill>
                  <a:srgbClr val="424242"/>
                </a:solidFill>
                <a:ea typeface="Lato"/>
                <a:cs typeface="Calibri"/>
              </a:rPr>
              <a:t>Roseland Hospital</a:t>
            </a:r>
            <a:endParaRPr lang="en-US"/>
          </a:p>
          <a:p>
            <a:pPr>
              <a:spcBef>
                <a:spcPts val="0"/>
              </a:spcBef>
              <a:spcAft>
                <a:spcPts val="0"/>
              </a:spcAft>
              <a:buFont typeface="Arial,Sans-Serif" panose="020B0604020202020204" pitchFamily="34" charset="0"/>
            </a:pPr>
            <a:r>
              <a:rPr lang="en-US" sz="2800">
                <a:solidFill>
                  <a:srgbClr val="424242"/>
                </a:solidFill>
                <a:ea typeface="+mn-lt"/>
                <a:cs typeface="+mn-lt"/>
              </a:rPr>
              <a:t>Rush University Children's Hospital</a:t>
            </a:r>
          </a:p>
          <a:p>
            <a:pPr>
              <a:spcBef>
                <a:spcPts val="0"/>
              </a:spcBef>
              <a:spcAft>
                <a:spcPts val="0"/>
              </a:spcAft>
              <a:buFont typeface="Arial,Sans-Serif" panose="020B0604020202020204" pitchFamily="34" charset="0"/>
            </a:pPr>
            <a:r>
              <a:rPr lang="en-US" sz="2800">
                <a:solidFill>
                  <a:srgbClr val="424242"/>
                </a:solidFill>
                <a:ea typeface="+mn-lt"/>
                <a:cs typeface="+mn-lt"/>
              </a:rPr>
              <a:t>SSM Health St. Mary's Hospital - St. Louis</a:t>
            </a:r>
          </a:p>
          <a:p>
            <a:pPr>
              <a:spcBef>
                <a:spcPts val="0"/>
              </a:spcBef>
              <a:spcAft>
                <a:spcPts val="0"/>
              </a:spcAft>
              <a:buFont typeface="Arial,Sans-Serif" panose="020B0604020202020204" pitchFamily="34" charset="0"/>
            </a:pPr>
            <a:r>
              <a:rPr lang="en-US" sz="2800">
                <a:solidFill>
                  <a:srgbClr val="424242"/>
                </a:solidFill>
                <a:ea typeface="Lato"/>
                <a:cs typeface="+mn-lt"/>
              </a:rPr>
              <a:t>SwedishAmerican Hospital</a:t>
            </a:r>
          </a:p>
          <a:p>
            <a:pPr>
              <a:spcBef>
                <a:spcPts val="0"/>
              </a:spcBef>
              <a:spcAft>
                <a:spcPts val="0"/>
              </a:spcAft>
              <a:buFont typeface="Arial,Sans-Serif" panose="020B0604020202020204" pitchFamily="34" charset="0"/>
            </a:pPr>
            <a:r>
              <a:rPr lang="en-US" sz="2800">
                <a:solidFill>
                  <a:srgbClr val="424242"/>
                </a:solidFill>
                <a:ea typeface="+mn-lt"/>
                <a:cs typeface="+mn-lt"/>
              </a:rPr>
              <a:t>University of Illinois at Chicago </a:t>
            </a:r>
            <a:endParaRPr lang="en-US" sz="2800">
              <a:solidFill>
                <a:srgbClr val="424242"/>
              </a:solidFill>
              <a:ea typeface="Lato"/>
              <a:cs typeface="+mn-lt"/>
            </a:endParaRPr>
          </a:p>
          <a:p>
            <a:pPr>
              <a:spcBef>
                <a:spcPts val="0"/>
              </a:spcBef>
              <a:spcAft>
                <a:spcPts val="0"/>
              </a:spcAft>
              <a:buFont typeface="Arial,Sans-Serif" panose="020B0604020202020204" pitchFamily="34" charset="0"/>
            </a:pPr>
            <a:endParaRPr lang="en-US" sz="2800">
              <a:solidFill>
                <a:srgbClr val="424242"/>
              </a:solidFill>
              <a:ea typeface="Lato"/>
              <a:cs typeface="+mn-lt"/>
            </a:endParaRPr>
          </a:p>
          <a:p>
            <a:pPr>
              <a:spcBef>
                <a:spcPts val="0"/>
              </a:spcBef>
              <a:spcAft>
                <a:spcPts val="0"/>
              </a:spcAft>
            </a:pPr>
            <a:endParaRPr lang="en-US" sz="2800">
              <a:solidFill>
                <a:srgbClr val="424242"/>
              </a:solidFill>
              <a:ea typeface="Lato"/>
              <a:cs typeface="+mn-lt"/>
            </a:endParaRPr>
          </a:p>
          <a:p>
            <a:pPr>
              <a:spcBef>
                <a:spcPts val="0"/>
              </a:spcBef>
              <a:spcAft>
                <a:spcPts val="0"/>
              </a:spcAft>
            </a:pPr>
            <a:endParaRPr lang="en-US" sz="2800">
              <a:solidFill>
                <a:srgbClr val="424242"/>
              </a:solidFill>
              <a:cs typeface="+mn-lt"/>
            </a:endParaRPr>
          </a:p>
          <a:p>
            <a:pPr>
              <a:spcBef>
                <a:spcPts val="0"/>
              </a:spcBef>
              <a:spcAft>
                <a:spcPts val="0"/>
              </a:spcAft>
            </a:pPr>
            <a:endParaRPr lang="en-US" sz="2800">
              <a:solidFill>
                <a:srgbClr val="424242"/>
              </a:solidFill>
              <a:ea typeface="+mn-lt"/>
              <a:cs typeface="+mn-lt"/>
            </a:endParaRPr>
          </a:p>
          <a:p>
            <a:pPr>
              <a:spcBef>
                <a:spcPts val="0"/>
              </a:spcBef>
              <a:spcAft>
                <a:spcPts val="0"/>
              </a:spcAft>
            </a:pPr>
            <a:endParaRPr lang="en-US" sz="2800">
              <a:solidFill>
                <a:srgbClr val="424242"/>
              </a:solidFill>
              <a:ea typeface="Lato"/>
              <a:cs typeface="Calibri"/>
            </a:endParaRPr>
          </a:p>
          <a:p>
            <a:endParaRPr lang="en-US">
              <a:ea typeface="Lato"/>
            </a:endParaRPr>
          </a:p>
        </p:txBody>
      </p:sp>
      <p:sp>
        <p:nvSpPr>
          <p:cNvPr id="7" name="Ribbon: Tilted Up 6">
            <a:extLst>
              <a:ext uri="{FF2B5EF4-FFF2-40B4-BE49-F238E27FC236}">
                <a16:creationId xmlns:a16="http://schemas.microsoft.com/office/drawing/2014/main" id="{B487337E-8DDB-13DB-DDDD-74CF392AC44D}"/>
              </a:ext>
            </a:extLst>
          </p:cNvPr>
          <p:cNvSpPr/>
          <p:nvPr/>
        </p:nvSpPr>
        <p:spPr>
          <a:xfrm>
            <a:off x="2068424" y="1023667"/>
            <a:ext cx="7173313" cy="628099"/>
          </a:xfrm>
          <a:prstGeom prst="ribbon2">
            <a:avLst/>
          </a:prstGeom>
          <a:solidFill>
            <a:srgbClr val="46B09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68096">
              <a:spcAft>
                <a:spcPts val="600"/>
              </a:spcAft>
            </a:pPr>
            <a:r>
              <a:rPr lang="en-US" sz="2200" b="1">
                <a:ea typeface="Calibri"/>
                <a:cs typeface="Calibri"/>
              </a:rPr>
              <a:t>ESSI Wave 1 Teams</a:t>
            </a:r>
            <a:endParaRPr lang="en-US" sz="2200" b="1"/>
          </a:p>
        </p:txBody>
      </p:sp>
      <p:sp>
        <p:nvSpPr>
          <p:cNvPr id="10" name="Title 1">
            <a:extLst>
              <a:ext uri="{FF2B5EF4-FFF2-40B4-BE49-F238E27FC236}">
                <a16:creationId xmlns:a16="http://schemas.microsoft.com/office/drawing/2014/main" id="{7FA2B65B-6DF5-1F48-C692-646D2CEF0E2F}"/>
              </a:ext>
            </a:extLst>
          </p:cNvPr>
          <p:cNvSpPr>
            <a:spLocks noGrp="1"/>
          </p:cNvSpPr>
          <p:nvPr>
            <p:ph type="title"/>
          </p:nvPr>
        </p:nvSpPr>
        <p:spPr>
          <a:xfrm>
            <a:off x="-1361536" y="82736"/>
            <a:ext cx="10515600" cy="1133499"/>
          </a:xfrm>
        </p:spPr>
        <p:txBody>
          <a:bodyPr>
            <a:normAutofit/>
          </a:bodyPr>
          <a:lstStyle/>
          <a:p>
            <a:pPr algn="ctr">
              <a:lnSpc>
                <a:spcPct val="90000"/>
              </a:lnSpc>
            </a:pPr>
            <a:r>
              <a:rPr lang="en-US" sz="4800">
                <a:ea typeface="Lato Medium"/>
                <a:cs typeface="Lato Medium"/>
              </a:rPr>
              <a:t> Thank you for your feedback!</a:t>
            </a:r>
            <a:endParaRPr lang="en-US" sz="4800"/>
          </a:p>
        </p:txBody>
      </p:sp>
    </p:spTree>
    <p:extLst>
      <p:ext uri="{BB962C8B-B14F-4D97-AF65-F5344CB8AC3E}">
        <p14:creationId xmlns:p14="http://schemas.microsoft.com/office/powerpoint/2010/main" val="35365103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ng exposure of lights">
            <a:extLst>
              <a:ext uri="{FF2B5EF4-FFF2-40B4-BE49-F238E27FC236}">
                <a16:creationId xmlns:a16="http://schemas.microsoft.com/office/drawing/2014/main" id="{9E0544A9-5CC0-A8B3-0447-4C7A5380BF18}"/>
              </a:ext>
            </a:extLst>
          </p:cNvPr>
          <p:cNvPicPr>
            <a:picLocks noChangeAspect="1"/>
          </p:cNvPicPr>
          <p:nvPr/>
        </p:nvPicPr>
        <p:blipFill rotWithShape="1">
          <a:blip r:embed="rId2"/>
          <a:srcRect l="8908" t="9091" r="14390"/>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E16CF5-47C8-BEAD-25F8-81514DC0AF8B}"/>
              </a:ext>
            </a:extLst>
          </p:cNvPr>
          <p:cNvSpPr>
            <a:spLocks noGrp="1"/>
          </p:cNvSpPr>
          <p:nvPr>
            <p:ph type="title"/>
          </p:nvPr>
        </p:nvSpPr>
        <p:spPr>
          <a:xfrm>
            <a:off x="477981" y="1122363"/>
            <a:ext cx="4023360" cy="3204134"/>
          </a:xfrm>
        </p:spPr>
        <p:txBody>
          <a:bodyPr vert="horz" lIns="91440" tIns="45720" rIns="91440" bIns="45720" rtlCol="0" anchor="b">
            <a:normAutofit/>
          </a:bodyPr>
          <a:lstStyle/>
          <a:p>
            <a:pPr>
              <a:lnSpc>
                <a:spcPct val="90000"/>
              </a:lnSpc>
            </a:pPr>
            <a:r>
              <a:rPr lang="en-US" sz="4800">
                <a:solidFill>
                  <a:schemeClr val="tx1"/>
                </a:solidFill>
                <a:ea typeface="+mj-ea"/>
                <a:cs typeface="+mj-cs"/>
              </a:rPr>
              <a:t>ESSI Key Driver Diagram and Toolkit</a:t>
            </a:r>
          </a:p>
        </p:txBody>
      </p:sp>
      <p:sp>
        <p:nvSpPr>
          <p:cNvPr id="3" name="Subtitle 2">
            <a:extLst>
              <a:ext uri="{FF2B5EF4-FFF2-40B4-BE49-F238E27FC236}">
                <a16:creationId xmlns:a16="http://schemas.microsoft.com/office/drawing/2014/main" id="{BACE41BD-1CAE-1299-918F-5B1678DE12B4}"/>
              </a:ext>
            </a:extLst>
          </p:cNvPr>
          <p:cNvSpPr>
            <a:spLocks noGrp="1"/>
          </p:cNvSpPr>
          <p:nvPr>
            <p:ph type="subTitle" idx="1"/>
          </p:nvPr>
        </p:nvSpPr>
        <p:spPr>
          <a:xfrm>
            <a:off x="477980" y="4872922"/>
            <a:ext cx="4023359" cy="1208141"/>
          </a:xfrm>
        </p:spPr>
        <p:txBody>
          <a:bodyPr vert="horz" lIns="91440" tIns="45720" rIns="91440" bIns="45720" rtlCol="0" anchor="t">
            <a:normAutofit/>
          </a:bodyPr>
          <a:lstStyle/>
          <a:p>
            <a:pPr>
              <a:lnSpc>
                <a:spcPct val="90000"/>
              </a:lnSpc>
            </a:pPr>
            <a:r>
              <a:rPr lang="en-US" sz="3600">
                <a:ea typeface="+mn-ea"/>
                <a:cs typeface="+mn-cs"/>
              </a:rPr>
              <a:t>Step on it! The road ahead...</a:t>
            </a:r>
            <a:endParaRPr lang="en-US">
              <a:ea typeface="+mn-ea"/>
              <a:cs typeface="+mn-cs"/>
            </a:endParaRP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043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1428656" y="768942"/>
            <a:ext cx="5661604" cy="948978"/>
          </a:xfrm>
          <a:prstGeom prst="rect">
            <a:avLst/>
          </a:prstGeom>
        </p:spPr>
        <p:txBody>
          <a:bodyPr lIns="0" tIns="0" rIns="0" bIns="0" rtlCol="0" anchor="t">
            <a:spAutoFit/>
          </a:bodyPr>
          <a:lstStyle/>
          <a:p>
            <a:pPr algn="ctr">
              <a:lnSpc>
                <a:spcPts val="3733"/>
              </a:lnSpc>
            </a:pPr>
            <a:r>
              <a:rPr lang="en-US" sz="3200" b="1" spc="111">
                <a:solidFill>
                  <a:schemeClr val="tx2"/>
                </a:solidFill>
                <a:latin typeface="Barlow Bold"/>
              </a:rPr>
              <a:t>QI ROAD MAP: </a:t>
            </a:r>
            <a:endParaRPr lang="en-US" sz="2800" spc="111">
              <a:solidFill>
                <a:schemeClr val="tx2"/>
              </a:solidFill>
              <a:latin typeface="Barlow Bold"/>
            </a:endParaRPr>
          </a:p>
          <a:p>
            <a:pPr algn="ctr">
              <a:lnSpc>
                <a:spcPts val="3733"/>
              </a:lnSpc>
            </a:pPr>
            <a:r>
              <a:rPr lang="en-US" sz="3200" b="1" spc="111">
                <a:solidFill>
                  <a:srgbClr val="094C90"/>
                </a:solidFill>
                <a:latin typeface="Barlow Bold"/>
              </a:rPr>
              <a:t>KEY DRIVER DIAGRAM</a:t>
            </a:r>
            <a:endParaRPr lang="en-US" sz="2800" spc="111">
              <a:solidFill>
                <a:srgbClr val="000000"/>
              </a:solidFill>
              <a:latin typeface="Barlow Bold"/>
            </a:endParaRPr>
          </a:p>
        </p:txBody>
      </p:sp>
      <p:grpSp>
        <p:nvGrpSpPr>
          <p:cNvPr id="3" name="Group 3"/>
          <p:cNvGrpSpPr/>
          <p:nvPr/>
        </p:nvGrpSpPr>
        <p:grpSpPr>
          <a:xfrm rot="16200000">
            <a:off x="3518178" y="1623416"/>
            <a:ext cx="1433849" cy="3646612"/>
            <a:chOff x="0" y="0"/>
            <a:chExt cx="635000" cy="1535372"/>
          </a:xfrm>
        </p:grpSpPr>
        <p:sp>
          <p:nvSpPr>
            <p:cNvPr id="4" name="Freeform 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53BF9D"/>
              </a:solidFill>
              <a:prstDash val="solid"/>
              <a:miter/>
            </a:ln>
          </p:spPr>
        </p:sp>
        <p:sp>
          <p:nvSpPr>
            <p:cNvPr id="5" name="TextBox 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rot="16200000">
            <a:off x="3327852" y="1488637"/>
            <a:ext cx="1372580" cy="3727347"/>
            <a:chOff x="0" y="0"/>
            <a:chExt cx="635000" cy="1535372"/>
          </a:xfrm>
        </p:grpSpPr>
        <p:sp>
          <p:nvSpPr>
            <p:cNvPr id="7" name="Freeform 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53BF9D"/>
            </a:solidFill>
          </p:spPr>
        </p:sp>
        <p:sp>
          <p:nvSpPr>
            <p:cNvPr id="8" name="TextBox 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9" name="Group 9"/>
          <p:cNvGrpSpPr>
            <a:grpSpLocks noChangeAspect="1"/>
          </p:cNvGrpSpPr>
          <p:nvPr/>
        </p:nvGrpSpPr>
        <p:grpSpPr>
          <a:xfrm>
            <a:off x="1571045" y="2903686"/>
            <a:ext cx="859425" cy="859425"/>
            <a:chOff x="0" y="0"/>
            <a:chExt cx="495300" cy="495300"/>
          </a:xfrm>
        </p:grpSpPr>
        <p:sp>
          <p:nvSpPr>
            <p:cNvPr id="10" name="Freeform 10"/>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53BF9D"/>
            </a:solidFill>
          </p:spPr>
        </p:sp>
        <p:sp>
          <p:nvSpPr>
            <p:cNvPr id="11" name="Freeform 11"/>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12" name="TextBox 12"/>
          <p:cNvSpPr txBox="1"/>
          <p:nvPr/>
        </p:nvSpPr>
        <p:spPr>
          <a:xfrm>
            <a:off x="2651930" y="2819397"/>
            <a:ext cx="2693165" cy="306366"/>
          </a:xfrm>
          <a:prstGeom prst="rect">
            <a:avLst/>
          </a:prstGeom>
        </p:spPr>
        <p:txBody>
          <a:bodyPr lIns="0" tIns="0" rIns="0" bIns="0" rtlCol="0" anchor="t">
            <a:spAutoFit/>
          </a:bodyPr>
          <a:lstStyle/>
          <a:p>
            <a:pPr marL="0" lvl="1">
              <a:lnSpc>
                <a:spcPts val="2169"/>
              </a:lnSpc>
              <a:spcBef>
                <a:spcPct val="0"/>
              </a:spcBef>
            </a:pPr>
            <a:r>
              <a:rPr lang="en-US" sz="2800" spc="49">
                <a:solidFill>
                  <a:srgbClr val="FFFFFF"/>
                </a:solidFill>
                <a:latin typeface="Barlow Semi-Bold"/>
              </a:rPr>
              <a:t>aim statement</a:t>
            </a:r>
          </a:p>
        </p:txBody>
      </p:sp>
      <p:sp>
        <p:nvSpPr>
          <p:cNvPr id="13" name="TextBox 13"/>
          <p:cNvSpPr txBox="1"/>
          <p:nvPr/>
        </p:nvSpPr>
        <p:spPr>
          <a:xfrm>
            <a:off x="2651930" y="3085017"/>
            <a:ext cx="2995090" cy="959187"/>
          </a:xfrm>
          <a:prstGeom prst="rect">
            <a:avLst/>
          </a:prstGeom>
        </p:spPr>
        <p:txBody>
          <a:bodyPr wrap="square" lIns="0" tIns="0" rIns="0" bIns="0" rtlCol="0" anchor="t">
            <a:spAutoFit/>
          </a:bodyPr>
          <a:lstStyle/>
          <a:p>
            <a:pPr>
              <a:lnSpc>
                <a:spcPts val="2799"/>
              </a:lnSpc>
            </a:pPr>
            <a:r>
              <a:rPr lang="en-US" sz="2000" spc="97">
                <a:solidFill>
                  <a:srgbClr val="FFFFFF"/>
                </a:solidFill>
                <a:latin typeface="Barlow SemiCondensed"/>
              </a:rPr>
              <a:t>what are we trying to accomplish?</a:t>
            </a:r>
          </a:p>
          <a:p>
            <a:pPr>
              <a:lnSpc>
                <a:spcPts val="1691"/>
              </a:lnSpc>
              <a:spcBef>
                <a:spcPct val="0"/>
              </a:spcBef>
            </a:pPr>
            <a:endParaRPr lang="en-US" sz="1866" spc="97">
              <a:solidFill>
                <a:srgbClr val="FFFFFF"/>
              </a:solidFill>
              <a:latin typeface="Barlow SemiCondensed"/>
            </a:endParaRPr>
          </a:p>
        </p:txBody>
      </p:sp>
      <p:sp>
        <p:nvSpPr>
          <p:cNvPr id="14" name="TextBox 14"/>
          <p:cNvSpPr txBox="1"/>
          <p:nvPr/>
        </p:nvSpPr>
        <p:spPr>
          <a:xfrm>
            <a:off x="1715279" y="3059809"/>
            <a:ext cx="570957" cy="457626"/>
          </a:xfrm>
          <a:prstGeom prst="rect">
            <a:avLst/>
          </a:prstGeom>
        </p:spPr>
        <p:txBody>
          <a:bodyPr lIns="0" tIns="0" rIns="0" bIns="0" rtlCol="0" anchor="t">
            <a:spAutoFit/>
          </a:bodyPr>
          <a:lstStyle/>
          <a:p>
            <a:pPr algn="ctr">
              <a:lnSpc>
                <a:spcPts val="3981"/>
              </a:lnSpc>
            </a:pPr>
            <a:r>
              <a:rPr lang="en-US" sz="2843" spc="119">
                <a:solidFill>
                  <a:srgbClr val="53BF9D"/>
                </a:solidFill>
                <a:latin typeface="Barlow Bold"/>
              </a:rPr>
              <a:t>01</a:t>
            </a:r>
          </a:p>
        </p:txBody>
      </p:sp>
      <p:grpSp>
        <p:nvGrpSpPr>
          <p:cNvPr id="15" name="Group 15"/>
          <p:cNvGrpSpPr/>
          <p:nvPr/>
        </p:nvGrpSpPr>
        <p:grpSpPr>
          <a:xfrm rot="16200000">
            <a:off x="8293968" y="1676170"/>
            <a:ext cx="1386957" cy="3541105"/>
            <a:chOff x="0" y="0"/>
            <a:chExt cx="635000" cy="1535372"/>
          </a:xfrm>
        </p:grpSpPr>
        <p:sp>
          <p:nvSpPr>
            <p:cNvPr id="16" name="Freeform 1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BD4291"/>
              </a:solidFill>
              <a:prstDash val="solid"/>
              <a:miter/>
            </a:ln>
          </p:spPr>
        </p:sp>
        <p:sp>
          <p:nvSpPr>
            <p:cNvPr id="17" name="TextBox 1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1" name="Group 21"/>
          <p:cNvGrpSpPr/>
          <p:nvPr/>
        </p:nvGrpSpPr>
        <p:grpSpPr>
          <a:xfrm rot="16200000">
            <a:off x="8144377" y="1556985"/>
            <a:ext cx="1410403" cy="3529382"/>
            <a:chOff x="0" y="0"/>
            <a:chExt cx="635000" cy="1535372"/>
          </a:xfrm>
        </p:grpSpPr>
        <p:sp>
          <p:nvSpPr>
            <p:cNvPr id="22" name="Freeform 2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BD4291"/>
            </a:solidFill>
          </p:spPr>
        </p:sp>
        <p:sp>
          <p:nvSpPr>
            <p:cNvPr id="23" name="TextBox 2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4" name="Group 24"/>
          <p:cNvGrpSpPr>
            <a:grpSpLocks noChangeAspect="1"/>
          </p:cNvGrpSpPr>
          <p:nvPr/>
        </p:nvGrpSpPr>
        <p:grpSpPr>
          <a:xfrm>
            <a:off x="6493739" y="2903686"/>
            <a:ext cx="859425" cy="859425"/>
            <a:chOff x="0" y="0"/>
            <a:chExt cx="495300" cy="495300"/>
          </a:xfrm>
        </p:grpSpPr>
        <p:sp>
          <p:nvSpPr>
            <p:cNvPr id="25" name="Freeform 2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BD4291"/>
            </a:solidFill>
          </p:spPr>
        </p:sp>
        <p:sp>
          <p:nvSpPr>
            <p:cNvPr id="26" name="Freeform 2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27" name="TextBox 27"/>
          <p:cNvSpPr txBox="1"/>
          <p:nvPr/>
        </p:nvSpPr>
        <p:spPr>
          <a:xfrm>
            <a:off x="7294638" y="2819397"/>
            <a:ext cx="2908825" cy="306366"/>
          </a:xfrm>
          <a:prstGeom prst="rect">
            <a:avLst/>
          </a:prstGeom>
        </p:spPr>
        <p:txBody>
          <a:bodyPr wrap="square" lIns="0" tIns="0" rIns="0" bIns="0" rtlCol="0" anchor="t">
            <a:spAutoFit/>
          </a:bodyPr>
          <a:lstStyle/>
          <a:p>
            <a:pPr marL="0" lvl="1">
              <a:lnSpc>
                <a:spcPts val="2169"/>
              </a:lnSpc>
              <a:spcBef>
                <a:spcPct val="0"/>
              </a:spcBef>
            </a:pPr>
            <a:r>
              <a:rPr lang="en-US" sz="2800" spc="49">
                <a:solidFill>
                  <a:srgbClr val="FFFFFF"/>
                </a:solidFill>
                <a:latin typeface="Barlow Semi-Bold"/>
              </a:rPr>
              <a:t> primary drivers </a:t>
            </a:r>
          </a:p>
        </p:txBody>
      </p:sp>
      <p:sp>
        <p:nvSpPr>
          <p:cNvPr id="28" name="TextBox 28"/>
          <p:cNvSpPr txBox="1"/>
          <p:nvPr/>
        </p:nvSpPr>
        <p:spPr>
          <a:xfrm>
            <a:off x="7510298" y="3113772"/>
            <a:ext cx="2880070" cy="691023"/>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ea typeface="+mn-lt"/>
                <a:cs typeface="+mn-lt"/>
              </a:rPr>
              <a:t>the “what” we need to accomplish the aim.</a:t>
            </a:r>
            <a:endParaRPr lang="en-US" sz="2000">
              <a:ea typeface="+mn-lt"/>
              <a:cs typeface="+mn-lt"/>
            </a:endParaRPr>
          </a:p>
        </p:txBody>
      </p:sp>
      <p:sp>
        <p:nvSpPr>
          <p:cNvPr id="29" name="TextBox 29"/>
          <p:cNvSpPr txBox="1"/>
          <p:nvPr/>
        </p:nvSpPr>
        <p:spPr>
          <a:xfrm>
            <a:off x="6637973" y="3059809"/>
            <a:ext cx="570957" cy="457626"/>
          </a:xfrm>
          <a:prstGeom prst="rect">
            <a:avLst/>
          </a:prstGeom>
        </p:spPr>
        <p:txBody>
          <a:bodyPr lIns="0" tIns="0" rIns="0" bIns="0" rtlCol="0" anchor="t">
            <a:spAutoFit/>
          </a:bodyPr>
          <a:lstStyle/>
          <a:p>
            <a:pPr algn="ctr">
              <a:lnSpc>
                <a:spcPts val="3981"/>
              </a:lnSpc>
            </a:pPr>
            <a:r>
              <a:rPr lang="en-US" sz="2843" spc="119">
                <a:solidFill>
                  <a:srgbClr val="BD4291"/>
                </a:solidFill>
                <a:latin typeface="Barlow Bold"/>
              </a:rPr>
              <a:t>02</a:t>
            </a:r>
          </a:p>
        </p:txBody>
      </p:sp>
      <p:grpSp>
        <p:nvGrpSpPr>
          <p:cNvPr id="30" name="Group 30"/>
          <p:cNvGrpSpPr/>
          <p:nvPr/>
        </p:nvGrpSpPr>
        <p:grpSpPr>
          <a:xfrm rot="16200000">
            <a:off x="5827624" y="3488724"/>
            <a:ext cx="1480741" cy="3716951"/>
            <a:chOff x="0" y="0"/>
            <a:chExt cx="635000" cy="1535372"/>
          </a:xfrm>
        </p:grpSpPr>
        <p:sp>
          <p:nvSpPr>
            <p:cNvPr id="31" name="Freeform 31"/>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94C66"/>
              </a:solidFill>
              <a:prstDash val="solid"/>
              <a:miter/>
            </a:ln>
          </p:spPr>
        </p:sp>
        <p:sp>
          <p:nvSpPr>
            <p:cNvPr id="32" name="TextBox 32"/>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3" name="Group 33"/>
          <p:cNvGrpSpPr/>
          <p:nvPr/>
        </p:nvGrpSpPr>
        <p:grpSpPr>
          <a:xfrm rot="16200000">
            <a:off x="5680763" y="3396333"/>
            <a:ext cx="1473221" cy="3727347"/>
            <a:chOff x="0" y="0"/>
            <a:chExt cx="635000" cy="1535372"/>
          </a:xfrm>
        </p:grpSpPr>
        <p:sp>
          <p:nvSpPr>
            <p:cNvPr id="34" name="Freeform 3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94C66"/>
            </a:solidFill>
          </p:spPr>
        </p:sp>
        <p:sp>
          <p:nvSpPr>
            <p:cNvPr id="35" name="TextBox 3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6" name="Group 36"/>
          <p:cNvGrpSpPr>
            <a:grpSpLocks noChangeAspect="1"/>
          </p:cNvGrpSpPr>
          <p:nvPr/>
        </p:nvGrpSpPr>
        <p:grpSpPr>
          <a:xfrm>
            <a:off x="4009445" y="4763715"/>
            <a:ext cx="859425" cy="859425"/>
            <a:chOff x="0" y="0"/>
            <a:chExt cx="495300" cy="495300"/>
          </a:xfrm>
        </p:grpSpPr>
        <p:sp>
          <p:nvSpPr>
            <p:cNvPr id="37" name="Freeform 37"/>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94C66"/>
            </a:solidFill>
          </p:spPr>
        </p:sp>
        <p:sp>
          <p:nvSpPr>
            <p:cNvPr id="38" name="Freeform 38"/>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39" name="TextBox 39"/>
          <p:cNvSpPr txBox="1"/>
          <p:nvPr/>
        </p:nvSpPr>
        <p:spPr>
          <a:xfrm>
            <a:off x="4949653" y="4679426"/>
            <a:ext cx="3181626" cy="306366"/>
          </a:xfrm>
          <a:prstGeom prst="rect">
            <a:avLst/>
          </a:prstGeom>
        </p:spPr>
        <p:txBody>
          <a:bodyPr wrap="square" lIns="0" tIns="0" rIns="0" bIns="0" rtlCol="0" anchor="t">
            <a:spAutoFit/>
          </a:bodyPr>
          <a:lstStyle/>
          <a:p>
            <a:pPr marL="0" lvl="1">
              <a:lnSpc>
                <a:spcPts val="2169"/>
              </a:lnSpc>
              <a:spcBef>
                <a:spcPct val="0"/>
              </a:spcBef>
            </a:pPr>
            <a:r>
              <a:rPr lang="en-US" sz="2800" spc="49">
                <a:solidFill>
                  <a:srgbClr val="FFFFFF"/>
                </a:solidFill>
                <a:latin typeface="Barlow Semi-Bold"/>
              </a:rPr>
              <a:t>secondary drivers</a:t>
            </a:r>
          </a:p>
        </p:txBody>
      </p:sp>
      <p:sp>
        <p:nvSpPr>
          <p:cNvPr id="40" name="TextBox 40"/>
          <p:cNvSpPr txBox="1"/>
          <p:nvPr/>
        </p:nvSpPr>
        <p:spPr>
          <a:xfrm>
            <a:off x="4949652" y="4919098"/>
            <a:ext cx="3261459" cy="1055161"/>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ea typeface="+mn-lt"/>
                <a:cs typeface="+mn-lt"/>
              </a:rPr>
              <a:t>the ”what” we need to accomplish the primary driver.</a:t>
            </a:r>
            <a:endParaRPr lang="en-US">
              <a:ea typeface="+mn-lt"/>
              <a:cs typeface="+mn-lt"/>
            </a:endParaRPr>
          </a:p>
        </p:txBody>
      </p:sp>
      <p:sp>
        <p:nvSpPr>
          <p:cNvPr id="41" name="TextBox 41"/>
          <p:cNvSpPr txBox="1"/>
          <p:nvPr/>
        </p:nvSpPr>
        <p:spPr>
          <a:xfrm>
            <a:off x="4153679" y="4919838"/>
            <a:ext cx="570957" cy="457626"/>
          </a:xfrm>
          <a:prstGeom prst="rect">
            <a:avLst/>
          </a:prstGeom>
        </p:spPr>
        <p:txBody>
          <a:bodyPr lIns="0" tIns="0" rIns="0" bIns="0" rtlCol="0" anchor="t">
            <a:spAutoFit/>
          </a:bodyPr>
          <a:lstStyle/>
          <a:p>
            <a:pPr algn="ctr">
              <a:lnSpc>
                <a:spcPts val="3981"/>
              </a:lnSpc>
            </a:pPr>
            <a:r>
              <a:rPr lang="en-US" sz="2843" spc="119">
                <a:solidFill>
                  <a:srgbClr val="F94C66"/>
                </a:solidFill>
                <a:latin typeface="Barlow Bold"/>
              </a:rPr>
              <a:t>03</a:t>
            </a:r>
          </a:p>
        </p:txBody>
      </p:sp>
      <p:sp>
        <p:nvSpPr>
          <p:cNvPr id="51" name="TextBox 51"/>
          <p:cNvSpPr txBox="1"/>
          <p:nvPr/>
        </p:nvSpPr>
        <p:spPr>
          <a:xfrm>
            <a:off x="759142" y="1810256"/>
            <a:ext cx="6802449" cy="854094"/>
          </a:xfrm>
          <a:prstGeom prst="rect">
            <a:avLst/>
          </a:prstGeom>
        </p:spPr>
        <p:txBody>
          <a:bodyPr wrap="square" lIns="0" tIns="0" rIns="0" bIns="0" rtlCol="0" anchor="t">
            <a:spAutoFit/>
          </a:bodyPr>
          <a:lstStyle/>
          <a:p>
            <a:pPr algn="ctr">
              <a:lnSpc>
                <a:spcPts val="3400"/>
              </a:lnSpc>
            </a:pPr>
            <a:r>
              <a:rPr lang="en-US" sz="2250" spc="117">
                <a:solidFill>
                  <a:srgbClr val="094C90"/>
                </a:solidFill>
                <a:latin typeface="Barlow SemiCondensed"/>
              </a:rPr>
              <a:t>Displays the Initiative in Manageable Tasks</a:t>
            </a:r>
          </a:p>
          <a:p>
            <a:pPr algn="ctr">
              <a:lnSpc>
                <a:spcPts val="3400"/>
              </a:lnSpc>
              <a:spcBef>
                <a:spcPct val="0"/>
              </a:spcBef>
            </a:pPr>
            <a:endParaRPr lang="en-US" sz="2266" spc="117">
              <a:solidFill>
                <a:srgbClr val="094C90"/>
              </a:solidFill>
              <a:latin typeface="Barlow SemiCondensed"/>
            </a:endParaRPr>
          </a:p>
        </p:txBody>
      </p:sp>
      <p:grpSp>
        <p:nvGrpSpPr>
          <p:cNvPr id="52" name="Group 52"/>
          <p:cNvGrpSpPr/>
          <p:nvPr/>
        </p:nvGrpSpPr>
        <p:grpSpPr>
          <a:xfrm>
            <a:off x="-846965" y="5061977"/>
            <a:ext cx="1368800" cy="1368800"/>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4" name="TextBox 5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5" name="Group 55"/>
          <p:cNvGrpSpPr/>
          <p:nvPr/>
        </p:nvGrpSpPr>
        <p:grpSpPr>
          <a:xfrm>
            <a:off x="874339" y="-746500"/>
            <a:ext cx="1368800" cy="1368800"/>
            <a:chOff x="0" y="0"/>
            <a:chExt cx="812800" cy="812800"/>
          </a:xfrm>
        </p:grpSpPr>
        <p:sp>
          <p:nvSpPr>
            <p:cNvPr id="56" name="Freeform 5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7" name="TextBox 5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8" name="Group 58"/>
          <p:cNvGrpSpPr/>
          <p:nvPr/>
        </p:nvGrpSpPr>
        <p:grpSpPr>
          <a:xfrm>
            <a:off x="11571100" y="464807"/>
            <a:ext cx="1368800" cy="1368800"/>
            <a:chOff x="0" y="0"/>
            <a:chExt cx="812800" cy="812800"/>
          </a:xfrm>
        </p:grpSpPr>
        <p:sp>
          <p:nvSpPr>
            <p:cNvPr id="59" name="Freeform 5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60" name="TextBox 60"/>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61" name="Freeform 61"/>
          <p:cNvSpPr/>
          <p:nvPr/>
        </p:nvSpPr>
        <p:spPr>
          <a:xfrm>
            <a:off x="-746067" y="-285762"/>
            <a:ext cx="1167003" cy="2743200"/>
          </a:xfrm>
          <a:custGeom>
            <a:avLst/>
            <a:gdLst/>
            <a:ahLst/>
            <a:cxnLst/>
            <a:rect l="l" t="t" r="r" b="b"/>
            <a:pathLst>
              <a:path w="1750504"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2" name="Freeform 62"/>
          <p:cNvSpPr/>
          <p:nvPr/>
        </p:nvSpPr>
        <p:spPr>
          <a:xfrm>
            <a:off x="11772898" y="5051674"/>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3" name="TextBox 63"/>
          <p:cNvSpPr txBox="1"/>
          <p:nvPr/>
        </p:nvSpPr>
        <p:spPr>
          <a:xfrm>
            <a:off x="7979073" y="6397874"/>
            <a:ext cx="3527127" cy="228268"/>
          </a:xfrm>
          <a:prstGeom prst="rect">
            <a:avLst/>
          </a:prstGeom>
        </p:spPr>
        <p:txBody>
          <a:bodyPr lIns="0" tIns="0" rIns="0" bIns="0" rtlCol="0" anchor="t">
            <a:spAutoFit/>
          </a:bodyPr>
          <a:lstStyle/>
          <a:p>
            <a:pPr algn="ctr">
              <a:lnSpc>
                <a:spcPts val="1882"/>
              </a:lnSpc>
              <a:spcBef>
                <a:spcPct val="0"/>
              </a:spcBef>
            </a:pPr>
            <a:r>
              <a:rPr lang="en-US" sz="1344" spc="43">
                <a:solidFill>
                  <a:srgbClr val="000000"/>
                </a:solidFill>
                <a:latin typeface="Barlow Semi-Bold"/>
              </a:rPr>
              <a:t> 2023 Institute for Healthcare Improvement.</a:t>
            </a:r>
          </a:p>
        </p:txBody>
      </p:sp>
      <p:pic>
        <p:nvPicPr>
          <p:cNvPr id="18" name="Picture 17" descr="A dashboard of a car">
            <a:extLst>
              <a:ext uri="{FF2B5EF4-FFF2-40B4-BE49-F238E27FC236}">
                <a16:creationId xmlns:a16="http://schemas.microsoft.com/office/drawing/2014/main" id="{1199796C-BA73-A007-E570-EBC0C69CD679}"/>
              </a:ext>
            </a:extLst>
          </p:cNvPr>
          <p:cNvPicPr>
            <a:picLocks noChangeAspect="1"/>
          </p:cNvPicPr>
          <p:nvPr/>
        </p:nvPicPr>
        <p:blipFill>
          <a:blip r:embed="rId5"/>
          <a:stretch>
            <a:fillRect/>
          </a:stretch>
        </p:blipFill>
        <p:spPr>
          <a:xfrm>
            <a:off x="7709876" y="410771"/>
            <a:ext cx="2952263" cy="1960788"/>
          </a:xfrm>
          <a:prstGeom prst="rect">
            <a:avLst/>
          </a:prstGeom>
        </p:spPr>
      </p:pic>
    </p:spTree>
    <p:extLst>
      <p:ext uri="{BB962C8B-B14F-4D97-AF65-F5344CB8AC3E}">
        <p14:creationId xmlns:p14="http://schemas.microsoft.com/office/powerpoint/2010/main" val="38709272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15</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Tree>
    <p:extLst>
      <p:ext uri="{BB962C8B-B14F-4D97-AF65-F5344CB8AC3E}">
        <p14:creationId xmlns:p14="http://schemas.microsoft.com/office/powerpoint/2010/main" val="3573947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46973" y="99109"/>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5"/>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2564870475"/>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FEDD1-1B2F-10C8-9EFB-EFBD0CAB6989}"/>
              </a:ext>
            </a:extLst>
          </p:cNvPr>
          <p:cNvSpPr>
            <a:spLocks noGrp="1"/>
          </p:cNvSpPr>
          <p:nvPr>
            <p:ph type="title"/>
          </p:nvPr>
        </p:nvSpPr>
        <p:spPr>
          <a:xfrm>
            <a:off x="609600" y="595163"/>
            <a:ext cx="10972800" cy="1325563"/>
          </a:xfrm>
        </p:spPr>
        <p:txBody>
          <a:bodyPr/>
          <a:lstStyle/>
          <a:p>
            <a:r>
              <a:rPr lang="en-US" sz="4800">
                <a:ea typeface="Lato Medium"/>
                <a:cs typeface="Lato Medium"/>
              </a:rPr>
              <a:t>The ILPQC ESSI Toolkit</a:t>
            </a:r>
            <a:endParaRPr lang="en-US"/>
          </a:p>
        </p:txBody>
      </p:sp>
      <p:sp>
        <p:nvSpPr>
          <p:cNvPr id="3" name="Content Placeholder 2">
            <a:extLst>
              <a:ext uri="{FF2B5EF4-FFF2-40B4-BE49-F238E27FC236}">
                <a16:creationId xmlns:a16="http://schemas.microsoft.com/office/drawing/2014/main" id="{9038DB7D-70BC-F3BC-5E8D-8CFC7F509BED}"/>
              </a:ext>
            </a:extLst>
          </p:cNvPr>
          <p:cNvSpPr>
            <a:spLocks noGrp="1"/>
          </p:cNvSpPr>
          <p:nvPr>
            <p:ph idx="1"/>
          </p:nvPr>
        </p:nvSpPr>
        <p:spPr>
          <a:xfrm>
            <a:off x="609600" y="2185059"/>
            <a:ext cx="10972800" cy="4351338"/>
          </a:xfrm>
        </p:spPr>
        <p:txBody>
          <a:bodyPr vert="horz" lIns="91440" tIns="45720" rIns="91440" bIns="45720" rtlCol="0" anchor="t">
            <a:noAutofit/>
          </a:bodyPr>
          <a:lstStyle/>
          <a:p>
            <a:pPr marL="0" indent="0">
              <a:buNone/>
            </a:pPr>
            <a:r>
              <a:rPr lang="en-US" sz="3200">
                <a:ea typeface="Lato"/>
                <a:cs typeface="Lato"/>
              </a:rPr>
              <a:t>The ESSI Toolkit includes the resources you need to successfully launch the ESSI initiative and achieve performance improvement </a:t>
            </a:r>
            <a:r>
              <a:rPr lang="en-US" sz="3200">
                <a:ea typeface="Lato"/>
                <a:cs typeface="Calibri"/>
              </a:rPr>
              <a:t>at</a:t>
            </a:r>
            <a:r>
              <a:rPr lang="en-US" sz="3200">
                <a:ea typeface="+mn-lt"/>
                <a:cs typeface="+mn-lt"/>
              </a:rPr>
              <a:t> your hospital</a:t>
            </a:r>
            <a:r>
              <a:rPr lang="en-US" sz="3200">
                <a:ea typeface="Lato"/>
                <a:cs typeface="Lato"/>
              </a:rPr>
              <a:t>.</a:t>
            </a:r>
            <a:endParaRPr lang="en-US" sz="3200"/>
          </a:p>
        </p:txBody>
      </p:sp>
      <p:sp>
        <p:nvSpPr>
          <p:cNvPr id="4" name="Slide Number Placeholder 3">
            <a:extLst>
              <a:ext uri="{FF2B5EF4-FFF2-40B4-BE49-F238E27FC236}">
                <a16:creationId xmlns:a16="http://schemas.microsoft.com/office/drawing/2014/main" id="{7EC0E548-6F53-0D95-2283-736F798A39F7}"/>
              </a:ext>
            </a:extLst>
          </p:cNvPr>
          <p:cNvSpPr>
            <a:spLocks noGrp="1"/>
          </p:cNvSpPr>
          <p:nvPr>
            <p:ph type="sldNum" sz="quarter" idx="10"/>
          </p:nvPr>
        </p:nvSpPr>
        <p:spPr/>
        <p:txBody>
          <a:bodyPr/>
          <a:lstStyle/>
          <a:p>
            <a:fld id="{97033E4B-E3EB-3D46-B2D8-3159663620FA}" type="slidenum">
              <a:rPr lang="en-US" smtClean="0"/>
              <a:pPr/>
              <a:t>17</a:t>
            </a:fld>
            <a:endParaRPr lang="en-US"/>
          </a:p>
        </p:txBody>
      </p:sp>
      <p:sp>
        <p:nvSpPr>
          <p:cNvPr id="5" name="Footer Placeholder 4">
            <a:extLst>
              <a:ext uri="{FF2B5EF4-FFF2-40B4-BE49-F238E27FC236}">
                <a16:creationId xmlns:a16="http://schemas.microsoft.com/office/drawing/2014/main" id="{5080866F-BB5C-35BF-E8E6-AB28AF18AE76}"/>
              </a:ext>
            </a:extLst>
          </p:cNvPr>
          <p:cNvSpPr>
            <a:spLocks noGrp="1"/>
          </p:cNvSpPr>
          <p:nvPr>
            <p:ph type="ftr" sz="quarter" idx="11"/>
          </p:nvPr>
        </p:nvSpPr>
        <p:spPr/>
        <p:txBody>
          <a:bodyPr/>
          <a:lstStyle/>
          <a:p>
            <a:pPr algn="l"/>
            <a:r>
              <a:rPr lang="en-US"/>
              <a:t>Illinois Perinatal Quality Collaborative</a:t>
            </a:r>
          </a:p>
        </p:txBody>
      </p:sp>
      <p:sp>
        <p:nvSpPr>
          <p:cNvPr id="6" name="TextBox 5">
            <a:extLst>
              <a:ext uri="{FF2B5EF4-FFF2-40B4-BE49-F238E27FC236}">
                <a16:creationId xmlns:a16="http://schemas.microsoft.com/office/drawing/2014/main" id="{EB7BD3D8-0E72-993A-2F4C-9CE922B7CC0B}"/>
              </a:ext>
            </a:extLst>
          </p:cNvPr>
          <p:cNvSpPr txBox="1"/>
          <p:nvPr/>
        </p:nvSpPr>
        <p:spPr>
          <a:xfrm>
            <a:off x="4350590" y="4293079"/>
            <a:ext cx="4008407"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400" b="1">
                <a:solidFill>
                  <a:srgbClr val="1C498B"/>
                </a:solidFill>
                <a:latin typeface="Barlow Bold"/>
              </a:rPr>
              <a:t>ESSI Toolkit</a:t>
            </a:r>
            <a:endParaRPr lang="en-US"/>
          </a:p>
        </p:txBody>
      </p:sp>
      <p:sp>
        <p:nvSpPr>
          <p:cNvPr id="8" name="Freeform 23">
            <a:extLst>
              <a:ext uri="{FF2B5EF4-FFF2-40B4-BE49-F238E27FC236}">
                <a16:creationId xmlns:a16="http://schemas.microsoft.com/office/drawing/2014/main" id="{9CAE83B1-576A-4BD3-4D30-DC90CF84A4CA}"/>
              </a:ext>
            </a:extLst>
          </p:cNvPr>
          <p:cNvSpPr/>
          <p:nvPr/>
        </p:nvSpPr>
        <p:spPr>
          <a:xfrm>
            <a:off x="7735814" y="3741039"/>
            <a:ext cx="1992043" cy="1667420"/>
          </a:xfrm>
          <a:custGeom>
            <a:avLst/>
            <a:gdLst/>
            <a:ahLst/>
            <a:cxnLst/>
            <a:rect l="l" t="t" r="r" b="b"/>
            <a:pathLst>
              <a:path w="2319518" h="2026679">
                <a:moveTo>
                  <a:pt x="0" y="0"/>
                </a:moveTo>
                <a:lnTo>
                  <a:pt x="2319518" y="0"/>
                </a:lnTo>
                <a:lnTo>
                  <a:pt x="2319518" y="2026679"/>
                </a:lnTo>
                <a:lnTo>
                  <a:pt x="0" y="202667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Tree>
    <p:extLst>
      <p:ext uri="{BB962C8B-B14F-4D97-AF65-F5344CB8AC3E}">
        <p14:creationId xmlns:p14="http://schemas.microsoft.com/office/powerpoint/2010/main" val="1132816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DFDFD"/>
        </a:solidFill>
        <a:effectLst/>
      </p:bgPr>
    </p:bg>
    <p:spTree>
      <p:nvGrpSpPr>
        <p:cNvPr id="1" name=""/>
        <p:cNvGrpSpPr/>
        <p:nvPr/>
      </p:nvGrpSpPr>
      <p:grpSpPr>
        <a:xfrm>
          <a:off x="0" y="0"/>
          <a:ext cx="0" cy="0"/>
          <a:chOff x="0" y="0"/>
          <a:chExt cx="0" cy="0"/>
        </a:xfrm>
      </p:grpSpPr>
      <p:sp>
        <p:nvSpPr>
          <p:cNvPr id="2" name="AutoShape 2"/>
          <p:cNvSpPr/>
          <p:nvPr/>
        </p:nvSpPr>
        <p:spPr>
          <a:xfrm>
            <a:off x="685800" y="2779300"/>
            <a:ext cx="3035829" cy="0"/>
          </a:xfrm>
          <a:prstGeom prst="line">
            <a:avLst/>
          </a:prstGeom>
          <a:ln w="28575" cap="flat">
            <a:solidFill>
              <a:srgbClr val="ECF0F3"/>
            </a:solidFill>
            <a:prstDash val="solid"/>
            <a:headEnd type="none" w="sm" len="sm"/>
            <a:tailEnd type="none" w="sm" len="sm"/>
          </a:ln>
        </p:spPr>
      </p:sp>
      <p:grpSp>
        <p:nvGrpSpPr>
          <p:cNvPr id="3" name="Group 3"/>
          <p:cNvGrpSpPr/>
          <p:nvPr/>
        </p:nvGrpSpPr>
        <p:grpSpPr>
          <a:xfrm>
            <a:off x="5945458" y="4237516"/>
            <a:ext cx="1001973" cy="1165933"/>
            <a:chOff x="0" y="0"/>
            <a:chExt cx="698500" cy="812800"/>
          </a:xfrm>
        </p:grpSpPr>
        <p:sp>
          <p:nvSpPr>
            <p:cNvPr id="4" name="Freeform 4"/>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sp>
        <p:sp>
          <p:nvSpPr>
            <p:cNvPr id="5" name="TextBox 5"/>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6" name="Group 6"/>
          <p:cNvGrpSpPr/>
          <p:nvPr/>
        </p:nvGrpSpPr>
        <p:grpSpPr>
          <a:xfrm>
            <a:off x="6501170" y="3235804"/>
            <a:ext cx="1001973" cy="1165933"/>
            <a:chOff x="0" y="0"/>
            <a:chExt cx="698500" cy="812800"/>
          </a:xfrm>
        </p:grpSpPr>
        <p:sp>
          <p:nvSpPr>
            <p:cNvPr id="7" name="Freeform 7"/>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sp>
        <p:sp>
          <p:nvSpPr>
            <p:cNvPr id="8" name="TextBox 8"/>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5945458" y="2234091"/>
            <a:ext cx="1001973" cy="1165933"/>
            <a:chOff x="0" y="0"/>
            <a:chExt cx="698500" cy="812800"/>
          </a:xfrm>
        </p:grpSpPr>
        <p:sp>
          <p:nvSpPr>
            <p:cNvPr id="10" name="Freeform 10"/>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4B03D"/>
            </a:solidFill>
          </p:spPr>
        </p:sp>
        <p:sp>
          <p:nvSpPr>
            <p:cNvPr id="11" name="TextBox 11"/>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6501170" y="1232378"/>
            <a:ext cx="1001973" cy="1165933"/>
            <a:chOff x="0" y="0"/>
            <a:chExt cx="698500" cy="812800"/>
          </a:xfrm>
        </p:grpSpPr>
        <p:sp>
          <p:nvSpPr>
            <p:cNvPr id="13" name="Freeform 1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sp>
        <p:sp>
          <p:nvSpPr>
            <p:cNvPr id="14" name="TextBox 14"/>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5945458" y="230666"/>
            <a:ext cx="1001973" cy="1165933"/>
            <a:chOff x="0" y="0"/>
            <a:chExt cx="698500" cy="812800"/>
          </a:xfrm>
        </p:grpSpPr>
        <p:sp>
          <p:nvSpPr>
            <p:cNvPr id="16" name="Freeform 1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sp>
        <p:sp>
          <p:nvSpPr>
            <p:cNvPr id="17" name="TextBox 17"/>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sp>
        <p:nvSpPr>
          <p:cNvPr id="18" name="Freeform 18"/>
          <p:cNvSpPr/>
          <p:nvPr/>
        </p:nvSpPr>
        <p:spPr>
          <a:xfrm>
            <a:off x="-576664" y="6548094"/>
            <a:ext cx="1153329" cy="461331"/>
          </a:xfrm>
          <a:custGeom>
            <a:avLst/>
            <a:gdLst/>
            <a:ahLst/>
            <a:cxnLst/>
            <a:rect l="l" t="t" r="r" b="b"/>
            <a:pathLst>
              <a:path w="1729993" h="691997">
                <a:moveTo>
                  <a:pt x="0" y="0"/>
                </a:moveTo>
                <a:lnTo>
                  <a:pt x="1729992" y="0"/>
                </a:lnTo>
                <a:lnTo>
                  <a:pt x="1729992" y="691997"/>
                </a:lnTo>
                <a:lnTo>
                  <a:pt x="0" y="691997"/>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19" name="Freeform 19"/>
          <p:cNvSpPr/>
          <p:nvPr/>
        </p:nvSpPr>
        <p:spPr>
          <a:xfrm>
            <a:off x="5869781" y="5162036"/>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0" name="Group 20"/>
          <p:cNvGrpSpPr/>
          <p:nvPr/>
        </p:nvGrpSpPr>
        <p:grpSpPr>
          <a:xfrm>
            <a:off x="6522123" y="5196582"/>
            <a:ext cx="1001973" cy="1165933"/>
            <a:chOff x="0" y="0"/>
            <a:chExt cx="698500" cy="812800"/>
          </a:xfrm>
        </p:grpSpPr>
        <p:sp>
          <p:nvSpPr>
            <p:cNvPr id="21"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CD7E7"/>
            </a:solidFill>
          </p:spPr>
        </p:sp>
        <p:sp>
          <p:nvSpPr>
            <p:cNvPr id="22" name="TextBox 22"/>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sp>
        <p:nvSpPr>
          <p:cNvPr id="23" name="Freeform 23"/>
          <p:cNvSpPr/>
          <p:nvPr/>
        </p:nvSpPr>
        <p:spPr>
          <a:xfrm>
            <a:off x="3135059" y="290473"/>
            <a:ext cx="1992043" cy="1667420"/>
          </a:xfrm>
          <a:custGeom>
            <a:avLst/>
            <a:gdLst/>
            <a:ahLst/>
            <a:cxnLst/>
            <a:rect l="l" t="t" r="r" b="b"/>
            <a:pathLst>
              <a:path w="2319518" h="2026679">
                <a:moveTo>
                  <a:pt x="0" y="0"/>
                </a:moveTo>
                <a:lnTo>
                  <a:pt x="2319518" y="0"/>
                </a:lnTo>
                <a:lnTo>
                  <a:pt x="2319518" y="2026679"/>
                </a:lnTo>
                <a:lnTo>
                  <a:pt x="0" y="202667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24" name="Freeform 24"/>
          <p:cNvSpPr/>
          <p:nvPr/>
        </p:nvSpPr>
        <p:spPr>
          <a:xfrm>
            <a:off x="2427608" y="5779548"/>
            <a:ext cx="1779647" cy="498578"/>
          </a:xfrm>
          <a:custGeom>
            <a:avLst/>
            <a:gdLst/>
            <a:ahLst/>
            <a:cxnLst/>
            <a:rect l="l" t="t" r="r" b="b"/>
            <a:pathLst>
              <a:path w="2669470" h="747867">
                <a:moveTo>
                  <a:pt x="0" y="0"/>
                </a:moveTo>
                <a:lnTo>
                  <a:pt x="2669470" y="0"/>
                </a:lnTo>
                <a:lnTo>
                  <a:pt x="2669470" y="747867"/>
                </a:lnTo>
                <a:lnTo>
                  <a:pt x="0" y="747867"/>
                </a:lnTo>
                <a:lnTo>
                  <a:pt x="0" y="0"/>
                </a:lnTo>
                <a:close/>
              </a:path>
            </a:pathLst>
          </a:custGeom>
          <a:blipFill>
            <a:blip r:embed="rId8"/>
            <a:stretch>
              <a:fillRect/>
            </a:stretch>
          </a:blipFill>
        </p:spPr>
      </p:sp>
      <p:sp>
        <p:nvSpPr>
          <p:cNvPr id="25" name="Freeform 25"/>
          <p:cNvSpPr/>
          <p:nvPr/>
        </p:nvSpPr>
        <p:spPr>
          <a:xfrm>
            <a:off x="4389627" y="5668080"/>
            <a:ext cx="1343704" cy="694435"/>
          </a:xfrm>
          <a:custGeom>
            <a:avLst/>
            <a:gdLst/>
            <a:ahLst/>
            <a:cxnLst/>
            <a:rect l="l" t="t" r="r" b="b"/>
            <a:pathLst>
              <a:path w="2015556" h="1041653">
                <a:moveTo>
                  <a:pt x="0" y="0"/>
                </a:moveTo>
                <a:lnTo>
                  <a:pt x="2015556" y="0"/>
                </a:lnTo>
                <a:lnTo>
                  <a:pt x="2015556" y="1041653"/>
                </a:lnTo>
                <a:lnTo>
                  <a:pt x="0" y="1041653"/>
                </a:lnTo>
                <a:lnTo>
                  <a:pt x="0" y="0"/>
                </a:lnTo>
                <a:close/>
              </a:path>
            </a:pathLst>
          </a:custGeom>
          <a:blipFill>
            <a:blip r:embed="rId9"/>
            <a:stretch>
              <a:fillRect/>
            </a:stretch>
          </a:blipFill>
        </p:spPr>
      </p:sp>
      <p:sp>
        <p:nvSpPr>
          <p:cNvPr id="26" name="Freeform 26"/>
          <p:cNvSpPr/>
          <p:nvPr/>
        </p:nvSpPr>
        <p:spPr>
          <a:xfrm>
            <a:off x="231715" y="5710654"/>
            <a:ext cx="2011743" cy="636367"/>
          </a:xfrm>
          <a:custGeom>
            <a:avLst/>
            <a:gdLst/>
            <a:ahLst/>
            <a:cxnLst/>
            <a:rect l="l" t="t" r="r" b="b"/>
            <a:pathLst>
              <a:path w="3017614" h="954551">
                <a:moveTo>
                  <a:pt x="0" y="0"/>
                </a:moveTo>
                <a:lnTo>
                  <a:pt x="3017614" y="0"/>
                </a:lnTo>
                <a:lnTo>
                  <a:pt x="3017614" y="954552"/>
                </a:lnTo>
                <a:lnTo>
                  <a:pt x="0" y="954552"/>
                </a:lnTo>
                <a:lnTo>
                  <a:pt x="0" y="0"/>
                </a:lnTo>
                <a:close/>
              </a:path>
            </a:pathLst>
          </a:custGeom>
          <a:blipFill>
            <a:blip r:embed="rId10"/>
            <a:stretch>
              <a:fillRect/>
            </a:stretch>
          </a:blipFill>
        </p:spPr>
      </p:sp>
      <p:sp>
        <p:nvSpPr>
          <p:cNvPr id="27" name="TextBox 27"/>
          <p:cNvSpPr txBox="1"/>
          <p:nvPr/>
        </p:nvSpPr>
        <p:spPr>
          <a:xfrm>
            <a:off x="952837" y="2281365"/>
            <a:ext cx="4108642" cy="1384995"/>
          </a:xfrm>
          <a:prstGeom prst="rect">
            <a:avLst/>
          </a:prstGeom>
        </p:spPr>
        <p:txBody>
          <a:bodyPr lIns="0" tIns="0" rIns="0" bIns="0" rtlCol="0" anchor="t">
            <a:spAutoFit/>
          </a:bodyPr>
          <a:lstStyle/>
          <a:p>
            <a:pPr algn="ctr">
              <a:lnSpc>
                <a:spcPts val="3570"/>
              </a:lnSpc>
            </a:pPr>
            <a:r>
              <a:rPr lang="en-US" sz="3466" spc="111">
                <a:solidFill>
                  <a:srgbClr val="000000"/>
                </a:solidFill>
                <a:latin typeface="Barlow Bold"/>
              </a:rPr>
              <a:t>National Guidelines and Position Statements</a:t>
            </a:r>
          </a:p>
        </p:txBody>
      </p:sp>
      <p:sp>
        <p:nvSpPr>
          <p:cNvPr id="28" name="TextBox 28"/>
          <p:cNvSpPr txBox="1"/>
          <p:nvPr/>
        </p:nvSpPr>
        <p:spPr>
          <a:xfrm>
            <a:off x="1080738" y="3810333"/>
            <a:ext cx="4108642" cy="1810752"/>
          </a:xfrm>
          <a:prstGeom prst="rect">
            <a:avLst/>
          </a:prstGeom>
        </p:spPr>
        <p:txBody>
          <a:bodyPr lIns="0" tIns="0" rIns="0" bIns="0" rtlCol="0" anchor="t">
            <a:spAutoFit/>
          </a:bodyPr>
          <a:lstStyle/>
          <a:p>
            <a:pPr algn="ctr">
              <a:lnSpc>
                <a:spcPts val="2399"/>
              </a:lnSpc>
            </a:pPr>
            <a:r>
              <a:rPr lang="en-US" sz="1550">
                <a:solidFill>
                  <a:srgbClr val="63696F"/>
                </a:solidFill>
                <a:latin typeface="Barlow Medium"/>
              </a:rPr>
              <a:t>ILPQC gathered the guidelines and position statements from the American Academy of Pediatrics, Association of Women's Health, Obstetric and Neonatal Nurses, and National Association of Neonatal Nurses that address Equity and Safe Sleep</a:t>
            </a:r>
          </a:p>
        </p:txBody>
      </p:sp>
      <p:sp>
        <p:nvSpPr>
          <p:cNvPr id="29" name="TextBox 29"/>
          <p:cNvSpPr txBox="1"/>
          <p:nvPr/>
        </p:nvSpPr>
        <p:spPr>
          <a:xfrm>
            <a:off x="6197808" y="656152"/>
            <a:ext cx="483677" cy="301365"/>
          </a:xfrm>
          <a:prstGeom prst="rect">
            <a:avLst/>
          </a:prstGeom>
        </p:spPr>
        <p:txBody>
          <a:bodyPr lIns="0" tIns="0" rIns="0" bIns="0" rtlCol="0" anchor="t">
            <a:spAutoFit/>
          </a:bodyPr>
          <a:lstStyle/>
          <a:p>
            <a:pPr>
              <a:lnSpc>
                <a:spcPts val="2519"/>
              </a:lnSpc>
            </a:pPr>
            <a:r>
              <a:rPr lang="en-US" sz="1799" spc="57">
                <a:solidFill>
                  <a:srgbClr val="000000"/>
                </a:solidFill>
                <a:latin typeface="Barlow Semi-Bold"/>
              </a:rPr>
              <a:t>AAP</a:t>
            </a:r>
          </a:p>
        </p:txBody>
      </p:sp>
      <p:sp>
        <p:nvSpPr>
          <p:cNvPr id="30" name="TextBox 30"/>
          <p:cNvSpPr txBox="1"/>
          <p:nvPr/>
        </p:nvSpPr>
        <p:spPr>
          <a:xfrm>
            <a:off x="7188931" y="667132"/>
            <a:ext cx="3386412" cy="263983"/>
          </a:xfrm>
          <a:prstGeom prst="rect">
            <a:avLst/>
          </a:prstGeom>
        </p:spPr>
        <p:txBody>
          <a:bodyPr lIns="0" tIns="0" rIns="0" bIns="0" rtlCol="0" anchor="t">
            <a:spAutoFit/>
          </a:bodyPr>
          <a:lstStyle/>
          <a:p>
            <a:pPr>
              <a:lnSpc>
                <a:spcPts val="2333"/>
              </a:lnSpc>
              <a:spcBef>
                <a:spcPct val="0"/>
              </a:spcBef>
            </a:pPr>
            <a:r>
              <a:rPr lang="en-US" sz="1667">
                <a:solidFill>
                  <a:srgbClr val="545454"/>
                </a:solidFill>
                <a:latin typeface="Barlow"/>
              </a:rPr>
              <a:t>Equity and Inclusion Efforts</a:t>
            </a:r>
          </a:p>
        </p:txBody>
      </p:sp>
      <p:sp>
        <p:nvSpPr>
          <p:cNvPr id="31" name="TextBox 31"/>
          <p:cNvSpPr txBox="1"/>
          <p:nvPr/>
        </p:nvSpPr>
        <p:spPr>
          <a:xfrm>
            <a:off x="7681310" y="1364849"/>
            <a:ext cx="4243061" cy="853888"/>
          </a:xfrm>
          <a:prstGeom prst="rect">
            <a:avLst/>
          </a:prstGeom>
        </p:spPr>
        <p:txBody>
          <a:bodyPr lIns="0" tIns="0" rIns="0" bIns="0" rtlCol="0" anchor="t">
            <a:spAutoFit/>
          </a:bodyPr>
          <a:lstStyle/>
          <a:p>
            <a:pPr>
              <a:lnSpc>
                <a:spcPts val="2333"/>
              </a:lnSpc>
              <a:spcBef>
                <a:spcPct val="0"/>
              </a:spcBef>
            </a:pPr>
            <a:r>
              <a:rPr lang="en-US" sz="1667">
                <a:solidFill>
                  <a:srgbClr val="545454"/>
                </a:solidFill>
                <a:latin typeface="Barlow"/>
              </a:rPr>
              <a:t>Sleep-Related Infant Deaths: Updated 2022 Recommendations for Reducing Infant Deaths in the Sleep Environment</a:t>
            </a:r>
          </a:p>
        </p:txBody>
      </p:sp>
      <p:sp>
        <p:nvSpPr>
          <p:cNvPr id="32" name="TextBox 32"/>
          <p:cNvSpPr txBox="1"/>
          <p:nvPr/>
        </p:nvSpPr>
        <p:spPr>
          <a:xfrm>
            <a:off x="5942791" y="2691803"/>
            <a:ext cx="1111557" cy="277640"/>
          </a:xfrm>
          <a:prstGeom prst="rect">
            <a:avLst/>
          </a:prstGeom>
        </p:spPr>
        <p:txBody>
          <a:bodyPr wrap="square" lIns="0" tIns="0" rIns="0" bIns="0" rtlCol="0" anchor="t">
            <a:spAutoFit/>
          </a:bodyPr>
          <a:lstStyle/>
          <a:p>
            <a:pPr>
              <a:lnSpc>
                <a:spcPts val="2333"/>
              </a:lnSpc>
            </a:pPr>
            <a:r>
              <a:rPr lang="en-US" sz="1666" spc="53">
                <a:solidFill>
                  <a:srgbClr val="000000"/>
                </a:solidFill>
                <a:latin typeface="Barlow Semi-Bold"/>
              </a:rPr>
              <a:t>AWHONN</a:t>
            </a:r>
          </a:p>
        </p:txBody>
      </p:sp>
      <p:sp>
        <p:nvSpPr>
          <p:cNvPr id="33" name="TextBox 33"/>
          <p:cNvSpPr txBox="1"/>
          <p:nvPr/>
        </p:nvSpPr>
        <p:spPr>
          <a:xfrm>
            <a:off x="7133933" y="2639634"/>
            <a:ext cx="4309500" cy="269882"/>
          </a:xfrm>
          <a:prstGeom prst="rect">
            <a:avLst/>
          </a:prstGeom>
        </p:spPr>
        <p:txBody>
          <a:bodyPr wrap="square" lIns="0" tIns="0" rIns="0" bIns="0" rtlCol="0" anchor="t">
            <a:spAutoFit/>
          </a:bodyPr>
          <a:lstStyle/>
          <a:p>
            <a:pPr>
              <a:lnSpc>
                <a:spcPts val="2333"/>
              </a:lnSpc>
              <a:spcBef>
                <a:spcPct val="0"/>
              </a:spcBef>
            </a:pPr>
            <a:r>
              <a:rPr lang="en-US" sz="1667">
                <a:solidFill>
                  <a:srgbClr val="545454"/>
                </a:solidFill>
                <a:latin typeface="Barlow"/>
              </a:rPr>
              <a:t>Diversity, Equity, and Inclusion at AWHONN ​</a:t>
            </a:r>
          </a:p>
        </p:txBody>
      </p:sp>
      <p:sp>
        <p:nvSpPr>
          <p:cNvPr id="34" name="TextBox 34"/>
          <p:cNvSpPr txBox="1"/>
          <p:nvPr/>
        </p:nvSpPr>
        <p:spPr>
          <a:xfrm>
            <a:off x="6632947" y="3647674"/>
            <a:ext cx="738418" cy="301365"/>
          </a:xfrm>
          <a:prstGeom prst="rect">
            <a:avLst/>
          </a:prstGeom>
        </p:spPr>
        <p:txBody>
          <a:bodyPr lIns="0" tIns="0" rIns="0" bIns="0" rtlCol="0" anchor="t">
            <a:spAutoFit/>
          </a:bodyPr>
          <a:lstStyle/>
          <a:p>
            <a:pPr>
              <a:lnSpc>
                <a:spcPts val="2519"/>
              </a:lnSpc>
            </a:pPr>
            <a:r>
              <a:rPr lang="en-US" sz="1799" spc="57">
                <a:solidFill>
                  <a:srgbClr val="000000"/>
                </a:solidFill>
                <a:latin typeface="Barlow Semi-Bold"/>
              </a:rPr>
              <a:t>NANN</a:t>
            </a:r>
          </a:p>
        </p:txBody>
      </p:sp>
      <p:sp>
        <p:nvSpPr>
          <p:cNvPr id="35" name="TextBox 35"/>
          <p:cNvSpPr txBox="1"/>
          <p:nvPr/>
        </p:nvSpPr>
        <p:spPr>
          <a:xfrm>
            <a:off x="7681309" y="3516087"/>
            <a:ext cx="4179727" cy="564835"/>
          </a:xfrm>
          <a:prstGeom prst="rect">
            <a:avLst/>
          </a:prstGeom>
        </p:spPr>
        <p:txBody>
          <a:bodyPr wrap="square" lIns="0" tIns="0" rIns="0" bIns="0" rtlCol="0" anchor="t">
            <a:spAutoFit/>
          </a:bodyPr>
          <a:lstStyle/>
          <a:p>
            <a:pPr>
              <a:lnSpc>
                <a:spcPts val="2333"/>
              </a:lnSpc>
              <a:spcBef>
                <a:spcPct val="0"/>
              </a:spcBef>
            </a:pPr>
            <a:r>
              <a:rPr lang="en-US" sz="1650">
                <a:solidFill>
                  <a:srgbClr val="545454"/>
                </a:solidFill>
                <a:latin typeface="Barlow"/>
              </a:rPr>
              <a:t>Position Statement #3070: Racial Disparity in the NICU (2020) ​</a:t>
            </a:r>
          </a:p>
        </p:txBody>
      </p:sp>
      <p:sp>
        <p:nvSpPr>
          <p:cNvPr id="36" name="TextBox 36"/>
          <p:cNvSpPr txBox="1"/>
          <p:nvPr/>
        </p:nvSpPr>
        <p:spPr>
          <a:xfrm>
            <a:off x="6104246" y="4687903"/>
            <a:ext cx="684399" cy="301365"/>
          </a:xfrm>
          <a:prstGeom prst="rect">
            <a:avLst/>
          </a:prstGeom>
        </p:spPr>
        <p:txBody>
          <a:bodyPr lIns="0" tIns="0" rIns="0" bIns="0" rtlCol="0" anchor="t">
            <a:spAutoFit/>
          </a:bodyPr>
          <a:lstStyle/>
          <a:p>
            <a:pPr>
              <a:lnSpc>
                <a:spcPts val="2519"/>
              </a:lnSpc>
            </a:pPr>
            <a:r>
              <a:rPr lang="en-US" sz="1799" spc="57">
                <a:solidFill>
                  <a:srgbClr val="000000"/>
                </a:solidFill>
                <a:latin typeface="Barlow Semi-Bold"/>
              </a:rPr>
              <a:t>NANN</a:t>
            </a:r>
          </a:p>
        </p:txBody>
      </p:sp>
      <p:sp>
        <p:nvSpPr>
          <p:cNvPr id="37" name="TextBox 37"/>
          <p:cNvSpPr txBox="1"/>
          <p:nvPr/>
        </p:nvSpPr>
        <p:spPr>
          <a:xfrm>
            <a:off x="7266669" y="4496476"/>
            <a:ext cx="3386412" cy="564835"/>
          </a:xfrm>
          <a:prstGeom prst="rect">
            <a:avLst/>
          </a:prstGeom>
        </p:spPr>
        <p:txBody>
          <a:bodyPr lIns="0" tIns="0" rIns="0" bIns="0" rtlCol="0" anchor="t">
            <a:spAutoFit/>
          </a:bodyPr>
          <a:lstStyle/>
          <a:p>
            <a:pPr>
              <a:lnSpc>
                <a:spcPts val="2333"/>
              </a:lnSpc>
              <a:spcBef>
                <a:spcPct val="0"/>
              </a:spcBef>
            </a:pPr>
            <a:r>
              <a:rPr lang="en-US" sz="1650">
                <a:solidFill>
                  <a:srgbClr val="545454"/>
                </a:solidFill>
                <a:latin typeface="Barlow"/>
              </a:rPr>
              <a:t>Position Statement #3075: Trauma-Informed Care in the NICU (2022)​</a:t>
            </a:r>
          </a:p>
        </p:txBody>
      </p:sp>
      <p:sp>
        <p:nvSpPr>
          <p:cNvPr id="38" name="TextBox 38"/>
          <p:cNvSpPr txBox="1"/>
          <p:nvPr/>
        </p:nvSpPr>
        <p:spPr>
          <a:xfrm>
            <a:off x="6757330" y="1711530"/>
            <a:ext cx="483677" cy="301365"/>
          </a:xfrm>
          <a:prstGeom prst="rect">
            <a:avLst/>
          </a:prstGeom>
        </p:spPr>
        <p:txBody>
          <a:bodyPr lIns="0" tIns="0" rIns="0" bIns="0" rtlCol="0" anchor="t">
            <a:spAutoFit/>
          </a:bodyPr>
          <a:lstStyle/>
          <a:p>
            <a:pPr>
              <a:lnSpc>
                <a:spcPts val="2519"/>
              </a:lnSpc>
            </a:pPr>
            <a:r>
              <a:rPr lang="en-US" sz="1799" spc="57">
                <a:solidFill>
                  <a:srgbClr val="000000"/>
                </a:solidFill>
                <a:latin typeface="Barlow Semi-Bold"/>
              </a:rPr>
              <a:t>AAP</a:t>
            </a:r>
          </a:p>
        </p:txBody>
      </p:sp>
      <p:sp>
        <p:nvSpPr>
          <p:cNvPr id="39" name="TextBox 39"/>
          <p:cNvSpPr txBox="1"/>
          <p:nvPr/>
        </p:nvSpPr>
        <p:spPr>
          <a:xfrm>
            <a:off x="6681486" y="5622068"/>
            <a:ext cx="684399" cy="301365"/>
          </a:xfrm>
          <a:prstGeom prst="rect">
            <a:avLst/>
          </a:prstGeom>
        </p:spPr>
        <p:txBody>
          <a:bodyPr lIns="0" tIns="0" rIns="0" bIns="0" rtlCol="0" anchor="t">
            <a:spAutoFit/>
          </a:bodyPr>
          <a:lstStyle/>
          <a:p>
            <a:pPr>
              <a:lnSpc>
                <a:spcPts val="2519"/>
              </a:lnSpc>
            </a:pPr>
            <a:r>
              <a:rPr lang="en-US" sz="1799" spc="57">
                <a:solidFill>
                  <a:srgbClr val="000000"/>
                </a:solidFill>
                <a:latin typeface="Barlow Semi-Bold"/>
              </a:rPr>
              <a:t>NANN</a:t>
            </a:r>
          </a:p>
        </p:txBody>
      </p:sp>
      <p:sp>
        <p:nvSpPr>
          <p:cNvPr id="40" name="TextBox 40"/>
          <p:cNvSpPr txBox="1"/>
          <p:nvPr/>
        </p:nvSpPr>
        <p:spPr>
          <a:xfrm>
            <a:off x="7787028" y="5628418"/>
            <a:ext cx="4137343" cy="275973"/>
          </a:xfrm>
          <a:prstGeom prst="rect">
            <a:avLst/>
          </a:prstGeom>
        </p:spPr>
        <p:txBody>
          <a:bodyPr lIns="0" tIns="0" rIns="0" bIns="0" rtlCol="0" anchor="t">
            <a:spAutoFit/>
          </a:bodyPr>
          <a:lstStyle/>
          <a:p>
            <a:pPr>
              <a:lnSpc>
                <a:spcPts val="2333"/>
              </a:lnSpc>
              <a:spcBef>
                <a:spcPct val="0"/>
              </a:spcBef>
            </a:pPr>
            <a:r>
              <a:rPr lang="en-US" sz="1650">
                <a:solidFill>
                  <a:srgbClr val="545454"/>
                </a:solidFill>
                <a:latin typeface="Barlow"/>
              </a:rPr>
              <a:t>9 Recommendations for Equality in Care </a:t>
            </a:r>
            <a:endParaRPr lang="en-US"/>
          </a:p>
        </p:txBody>
      </p:sp>
      <p:sp>
        <p:nvSpPr>
          <p:cNvPr id="41" name="TextBox 41"/>
          <p:cNvSpPr txBox="1"/>
          <p:nvPr/>
        </p:nvSpPr>
        <p:spPr>
          <a:xfrm>
            <a:off x="889337" y="572168"/>
            <a:ext cx="2004422" cy="1000274"/>
          </a:xfrm>
          <a:prstGeom prst="rect">
            <a:avLst/>
          </a:prstGeom>
        </p:spPr>
        <p:txBody>
          <a:bodyPr lIns="0" tIns="0" rIns="0" bIns="0" rtlCol="0" anchor="t">
            <a:spAutoFit/>
          </a:bodyPr>
          <a:lstStyle/>
          <a:p>
            <a:pPr algn="ctr">
              <a:lnSpc>
                <a:spcPts val="3914"/>
              </a:lnSpc>
            </a:pPr>
            <a:r>
              <a:rPr lang="en-US" sz="4400" b="1" spc="121">
                <a:solidFill>
                  <a:srgbClr val="1C498B"/>
                </a:solidFill>
                <a:latin typeface="Barlow Bold"/>
              </a:rPr>
              <a:t>ESSI Toolkit</a:t>
            </a:r>
          </a:p>
        </p:txBody>
      </p:sp>
      <p:sp>
        <p:nvSpPr>
          <p:cNvPr id="43" name="Freeform 21">
            <a:extLst>
              <a:ext uri="{FF2B5EF4-FFF2-40B4-BE49-F238E27FC236}">
                <a16:creationId xmlns:a16="http://schemas.microsoft.com/office/drawing/2014/main" id="{8306C3D8-831A-F712-3C29-BC96F5346A16}"/>
              </a:ext>
            </a:extLst>
          </p:cNvPr>
          <p:cNvSpPr/>
          <p:nvPr/>
        </p:nvSpPr>
        <p:spPr>
          <a:xfrm>
            <a:off x="10266940" y="209244"/>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1"/>
            <a:stretch>
              <a:fillRect/>
            </a:stretch>
          </a:blipFill>
        </p:spPr>
      </p:sp>
    </p:spTree>
    <p:extLst>
      <p:ext uri="{BB962C8B-B14F-4D97-AF65-F5344CB8AC3E}">
        <p14:creationId xmlns:p14="http://schemas.microsoft.com/office/powerpoint/2010/main" val="30049371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3265198" y="592654"/>
            <a:ext cx="5661604" cy="948978"/>
          </a:xfrm>
          <a:prstGeom prst="rect">
            <a:avLst/>
          </a:prstGeom>
        </p:spPr>
        <p:txBody>
          <a:bodyPr lIns="0" tIns="0" rIns="0" bIns="0" rtlCol="0" anchor="t">
            <a:spAutoFit/>
          </a:bodyPr>
          <a:lstStyle/>
          <a:p>
            <a:pPr algn="ctr">
              <a:lnSpc>
                <a:spcPts val="3733"/>
              </a:lnSpc>
            </a:pPr>
            <a:r>
              <a:rPr lang="en-US" sz="3200" b="1" spc="111">
                <a:solidFill>
                  <a:schemeClr val="tx2"/>
                </a:solidFill>
                <a:latin typeface="Barlow Bold"/>
              </a:rPr>
              <a:t>QI ROADMAP</a:t>
            </a:r>
            <a:r>
              <a:rPr lang="en-US" sz="3200" spc="111">
                <a:solidFill>
                  <a:srgbClr val="000000"/>
                </a:solidFill>
                <a:latin typeface="Barlow Bold"/>
              </a:rPr>
              <a:t> </a:t>
            </a:r>
          </a:p>
          <a:p>
            <a:pPr algn="ctr">
              <a:lnSpc>
                <a:spcPts val="3733"/>
              </a:lnSpc>
            </a:pPr>
            <a:r>
              <a:rPr lang="en-US" sz="3200" b="1" spc="111">
                <a:solidFill>
                  <a:srgbClr val="094C90"/>
                </a:solidFill>
                <a:latin typeface="Barlow Bold"/>
              </a:rPr>
              <a:t>KEY DRIVER DIAGRAM</a:t>
            </a:r>
          </a:p>
        </p:txBody>
      </p:sp>
      <p:grpSp>
        <p:nvGrpSpPr>
          <p:cNvPr id="3" name="Group 3"/>
          <p:cNvGrpSpPr/>
          <p:nvPr/>
        </p:nvGrpSpPr>
        <p:grpSpPr>
          <a:xfrm rot="16200000">
            <a:off x="3395086" y="1758231"/>
            <a:ext cx="1386957" cy="3353536"/>
            <a:chOff x="0" y="0"/>
            <a:chExt cx="635000" cy="1535372"/>
          </a:xfrm>
        </p:grpSpPr>
        <p:sp>
          <p:nvSpPr>
            <p:cNvPr id="4" name="Freeform 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53BF9D"/>
              </a:solidFill>
              <a:prstDash val="solid"/>
              <a:miter/>
            </a:ln>
          </p:spPr>
        </p:sp>
        <p:sp>
          <p:nvSpPr>
            <p:cNvPr id="5" name="TextBox 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rot="16200000">
            <a:off x="3468529" y="1476914"/>
            <a:ext cx="1372580" cy="3727347"/>
            <a:chOff x="0" y="0"/>
            <a:chExt cx="635000" cy="1535372"/>
          </a:xfrm>
        </p:grpSpPr>
        <p:sp>
          <p:nvSpPr>
            <p:cNvPr id="7" name="Freeform 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53BF9D"/>
            </a:solidFill>
          </p:spPr>
        </p:sp>
        <p:sp>
          <p:nvSpPr>
            <p:cNvPr id="8" name="TextBox 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9" name="Group 9"/>
          <p:cNvGrpSpPr>
            <a:grpSpLocks noChangeAspect="1"/>
          </p:cNvGrpSpPr>
          <p:nvPr/>
        </p:nvGrpSpPr>
        <p:grpSpPr>
          <a:xfrm>
            <a:off x="1711722" y="2903686"/>
            <a:ext cx="859425" cy="859425"/>
            <a:chOff x="0" y="0"/>
            <a:chExt cx="495300" cy="495300"/>
          </a:xfrm>
        </p:grpSpPr>
        <p:sp>
          <p:nvSpPr>
            <p:cNvPr id="10" name="Freeform 10"/>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53BF9D"/>
            </a:solidFill>
          </p:spPr>
        </p:sp>
        <p:sp>
          <p:nvSpPr>
            <p:cNvPr id="11" name="Freeform 11"/>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12" name="TextBox 12"/>
          <p:cNvSpPr txBox="1"/>
          <p:nvPr/>
        </p:nvSpPr>
        <p:spPr>
          <a:xfrm>
            <a:off x="26519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aim statement</a:t>
            </a:r>
          </a:p>
        </p:txBody>
      </p:sp>
      <p:sp>
        <p:nvSpPr>
          <p:cNvPr id="13" name="TextBox 13"/>
          <p:cNvSpPr txBox="1"/>
          <p:nvPr/>
        </p:nvSpPr>
        <p:spPr>
          <a:xfrm>
            <a:off x="2651930" y="3085017"/>
            <a:ext cx="2995090" cy="959187"/>
          </a:xfrm>
          <a:prstGeom prst="rect">
            <a:avLst/>
          </a:prstGeom>
        </p:spPr>
        <p:txBody>
          <a:bodyPr wrap="square" lIns="0" tIns="0" rIns="0" bIns="0" rtlCol="0" anchor="t">
            <a:spAutoFit/>
          </a:bodyPr>
          <a:lstStyle/>
          <a:p>
            <a:pPr>
              <a:lnSpc>
                <a:spcPts val="2799"/>
              </a:lnSpc>
            </a:pPr>
            <a:r>
              <a:rPr lang="en-US" sz="2000" spc="97">
                <a:solidFill>
                  <a:srgbClr val="FFFFFF"/>
                </a:solidFill>
                <a:latin typeface="Barlow SemiCondensed"/>
              </a:rPr>
              <a:t> what are we trying to accomplish?</a:t>
            </a:r>
          </a:p>
          <a:p>
            <a:pPr>
              <a:lnSpc>
                <a:spcPts val="1691"/>
              </a:lnSpc>
              <a:spcBef>
                <a:spcPct val="0"/>
              </a:spcBef>
            </a:pPr>
            <a:endParaRPr lang="en-US" sz="1866" spc="97">
              <a:solidFill>
                <a:srgbClr val="FFFFFF"/>
              </a:solidFill>
              <a:latin typeface="Barlow SemiCondensed"/>
            </a:endParaRPr>
          </a:p>
        </p:txBody>
      </p:sp>
      <p:sp>
        <p:nvSpPr>
          <p:cNvPr id="14" name="TextBox 14"/>
          <p:cNvSpPr txBox="1"/>
          <p:nvPr/>
        </p:nvSpPr>
        <p:spPr>
          <a:xfrm>
            <a:off x="1855956" y="3059809"/>
            <a:ext cx="570957" cy="457626"/>
          </a:xfrm>
          <a:prstGeom prst="rect">
            <a:avLst/>
          </a:prstGeom>
        </p:spPr>
        <p:txBody>
          <a:bodyPr lIns="0" tIns="0" rIns="0" bIns="0" rtlCol="0" anchor="t">
            <a:spAutoFit/>
          </a:bodyPr>
          <a:lstStyle/>
          <a:p>
            <a:pPr algn="ctr">
              <a:lnSpc>
                <a:spcPts val="3981"/>
              </a:lnSpc>
            </a:pPr>
            <a:r>
              <a:rPr lang="en-US" sz="2843" spc="119">
                <a:solidFill>
                  <a:srgbClr val="53BF9D"/>
                </a:solidFill>
                <a:latin typeface="Barlow Bold"/>
              </a:rPr>
              <a:t>01</a:t>
            </a:r>
          </a:p>
        </p:txBody>
      </p:sp>
      <p:grpSp>
        <p:nvGrpSpPr>
          <p:cNvPr id="15" name="Group 15"/>
          <p:cNvGrpSpPr/>
          <p:nvPr/>
        </p:nvGrpSpPr>
        <p:grpSpPr>
          <a:xfrm rot="16200000">
            <a:off x="8200184" y="1758231"/>
            <a:ext cx="1386957" cy="3353536"/>
            <a:chOff x="0" y="0"/>
            <a:chExt cx="635000" cy="1535372"/>
          </a:xfrm>
        </p:grpSpPr>
        <p:sp>
          <p:nvSpPr>
            <p:cNvPr id="16" name="Freeform 1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BD4291"/>
              </a:solidFill>
              <a:prstDash val="solid"/>
              <a:miter/>
            </a:ln>
          </p:spPr>
        </p:sp>
        <p:sp>
          <p:nvSpPr>
            <p:cNvPr id="17" name="TextBox 1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18" name="Group 18"/>
          <p:cNvGrpSpPr/>
          <p:nvPr/>
        </p:nvGrpSpPr>
        <p:grpSpPr>
          <a:xfrm rot="16200000">
            <a:off x="8200184" y="3658708"/>
            <a:ext cx="1386957" cy="3353536"/>
            <a:chOff x="0" y="0"/>
            <a:chExt cx="635000" cy="1535372"/>
          </a:xfrm>
        </p:grpSpPr>
        <p:sp>
          <p:nvSpPr>
            <p:cNvPr id="19" name="Freeform 19"/>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FC54D"/>
              </a:solidFill>
              <a:prstDash val="solid"/>
              <a:miter/>
            </a:ln>
          </p:spPr>
        </p:sp>
        <p:sp>
          <p:nvSpPr>
            <p:cNvPr id="20" name="TextBox 20"/>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1" name="Group 21"/>
          <p:cNvGrpSpPr/>
          <p:nvPr/>
        </p:nvGrpSpPr>
        <p:grpSpPr>
          <a:xfrm rot="16200000">
            <a:off x="8056454" y="1656631"/>
            <a:ext cx="1386957" cy="3353536"/>
            <a:chOff x="0" y="0"/>
            <a:chExt cx="635000" cy="1535372"/>
          </a:xfrm>
        </p:grpSpPr>
        <p:sp>
          <p:nvSpPr>
            <p:cNvPr id="22" name="Freeform 2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BD4291"/>
            </a:solidFill>
          </p:spPr>
        </p:sp>
        <p:sp>
          <p:nvSpPr>
            <p:cNvPr id="23" name="TextBox 2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4" name="Group 24"/>
          <p:cNvGrpSpPr>
            <a:grpSpLocks noChangeAspect="1"/>
          </p:cNvGrpSpPr>
          <p:nvPr/>
        </p:nvGrpSpPr>
        <p:grpSpPr>
          <a:xfrm>
            <a:off x="6493739" y="2903686"/>
            <a:ext cx="859425" cy="859425"/>
            <a:chOff x="0" y="0"/>
            <a:chExt cx="495300" cy="495300"/>
          </a:xfrm>
        </p:grpSpPr>
        <p:sp>
          <p:nvSpPr>
            <p:cNvPr id="25" name="Freeform 2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BD4291"/>
            </a:solidFill>
          </p:spPr>
        </p:sp>
        <p:sp>
          <p:nvSpPr>
            <p:cNvPr id="26" name="Freeform 2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27" name="TextBox 27"/>
          <p:cNvSpPr txBox="1"/>
          <p:nvPr/>
        </p:nvSpPr>
        <p:spPr>
          <a:xfrm>
            <a:off x="75534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primary drivers </a:t>
            </a:r>
          </a:p>
        </p:txBody>
      </p:sp>
      <p:sp>
        <p:nvSpPr>
          <p:cNvPr id="28" name="TextBox 28"/>
          <p:cNvSpPr txBox="1"/>
          <p:nvPr/>
        </p:nvSpPr>
        <p:spPr>
          <a:xfrm>
            <a:off x="7424034" y="3113772"/>
            <a:ext cx="282256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aim.</a:t>
            </a:r>
          </a:p>
        </p:txBody>
      </p:sp>
      <p:sp>
        <p:nvSpPr>
          <p:cNvPr id="29" name="TextBox 29"/>
          <p:cNvSpPr txBox="1"/>
          <p:nvPr/>
        </p:nvSpPr>
        <p:spPr>
          <a:xfrm>
            <a:off x="6637973" y="3059809"/>
            <a:ext cx="570957" cy="457626"/>
          </a:xfrm>
          <a:prstGeom prst="rect">
            <a:avLst/>
          </a:prstGeom>
        </p:spPr>
        <p:txBody>
          <a:bodyPr lIns="0" tIns="0" rIns="0" bIns="0" rtlCol="0" anchor="t">
            <a:spAutoFit/>
          </a:bodyPr>
          <a:lstStyle/>
          <a:p>
            <a:pPr algn="ctr">
              <a:lnSpc>
                <a:spcPts val="3981"/>
              </a:lnSpc>
            </a:pPr>
            <a:r>
              <a:rPr lang="en-US" sz="2843" spc="119">
                <a:solidFill>
                  <a:srgbClr val="BD4291"/>
                </a:solidFill>
                <a:latin typeface="Barlow Bold"/>
              </a:rPr>
              <a:t>02</a:t>
            </a:r>
          </a:p>
        </p:txBody>
      </p:sp>
      <p:grpSp>
        <p:nvGrpSpPr>
          <p:cNvPr id="30" name="Group 30"/>
          <p:cNvGrpSpPr/>
          <p:nvPr/>
        </p:nvGrpSpPr>
        <p:grpSpPr>
          <a:xfrm rot="16200000">
            <a:off x="3395086" y="3658708"/>
            <a:ext cx="1386957" cy="3353536"/>
            <a:chOff x="0" y="0"/>
            <a:chExt cx="635000" cy="1535372"/>
          </a:xfrm>
        </p:grpSpPr>
        <p:sp>
          <p:nvSpPr>
            <p:cNvPr id="31" name="Freeform 31"/>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94C66"/>
              </a:solidFill>
              <a:prstDash val="solid"/>
              <a:miter/>
            </a:ln>
          </p:spPr>
        </p:sp>
        <p:sp>
          <p:nvSpPr>
            <p:cNvPr id="32" name="TextBox 32"/>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3" name="Group 33"/>
          <p:cNvGrpSpPr/>
          <p:nvPr/>
        </p:nvGrpSpPr>
        <p:grpSpPr>
          <a:xfrm rot="16200000">
            <a:off x="3418209" y="3384610"/>
            <a:ext cx="1473221" cy="3727347"/>
            <a:chOff x="0" y="0"/>
            <a:chExt cx="635000" cy="1535372"/>
          </a:xfrm>
        </p:grpSpPr>
        <p:sp>
          <p:nvSpPr>
            <p:cNvPr id="34" name="Freeform 3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94C66"/>
            </a:solidFill>
          </p:spPr>
        </p:sp>
        <p:sp>
          <p:nvSpPr>
            <p:cNvPr id="35" name="TextBox 3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6" name="Group 36"/>
          <p:cNvGrpSpPr>
            <a:grpSpLocks noChangeAspect="1"/>
          </p:cNvGrpSpPr>
          <p:nvPr/>
        </p:nvGrpSpPr>
        <p:grpSpPr>
          <a:xfrm>
            <a:off x="1711722" y="4775438"/>
            <a:ext cx="859425" cy="859425"/>
            <a:chOff x="0" y="0"/>
            <a:chExt cx="495300" cy="495300"/>
          </a:xfrm>
        </p:grpSpPr>
        <p:sp>
          <p:nvSpPr>
            <p:cNvPr id="37" name="Freeform 37"/>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94C66"/>
            </a:solidFill>
          </p:spPr>
        </p:sp>
        <p:sp>
          <p:nvSpPr>
            <p:cNvPr id="38" name="Freeform 38"/>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39" name="TextBox 39"/>
          <p:cNvSpPr txBox="1"/>
          <p:nvPr/>
        </p:nvSpPr>
        <p:spPr>
          <a:xfrm>
            <a:off x="26519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secondary drivers </a:t>
            </a:r>
            <a:endParaRPr lang="en-US" sz="1549" spc="49">
              <a:solidFill>
                <a:srgbClr val="FFFFFF"/>
              </a:solidFill>
              <a:latin typeface="Barlow Semi-Bold"/>
            </a:endParaRPr>
          </a:p>
        </p:txBody>
      </p:sp>
      <p:sp>
        <p:nvSpPr>
          <p:cNvPr id="40" name="TextBox 40"/>
          <p:cNvSpPr txBox="1"/>
          <p:nvPr/>
        </p:nvSpPr>
        <p:spPr>
          <a:xfrm>
            <a:off x="2580044" y="4988331"/>
            <a:ext cx="356338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primary driver.</a:t>
            </a:r>
          </a:p>
        </p:txBody>
      </p:sp>
      <p:sp>
        <p:nvSpPr>
          <p:cNvPr id="41" name="TextBox 41"/>
          <p:cNvSpPr txBox="1"/>
          <p:nvPr/>
        </p:nvSpPr>
        <p:spPr>
          <a:xfrm>
            <a:off x="1855956" y="4931561"/>
            <a:ext cx="570957" cy="457626"/>
          </a:xfrm>
          <a:prstGeom prst="rect">
            <a:avLst/>
          </a:prstGeom>
        </p:spPr>
        <p:txBody>
          <a:bodyPr lIns="0" tIns="0" rIns="0" bIns="0" rtlCol="0" anchor="t">
            <a:spAutoFit/>
          </a:bodyPr>
          <a:lstStyle/>
          <a:p>
            <a:pPr algn="ctr">
              <a:lnSpc>
                <a:spcPts val="3981"/>
              </a:lnSpc>
            </a:pPr>
            <a:r>
              <a:rPr lang="en-US" sz="2843" spc="119">
                <a:solidFill>
                  <a:srgbClr val="F94C66"/>
                </a:solidFill>
                <a:latin typeface="Barlow Bold"/>
              </a:rPr>
              <a:t>03</a:t>
            </a:r>
          </a:p>
        </p:txBody>
      </p:sp>
      <p:grpSp>
        <p:nvGrpSpPr>
          <p:cNvPr id="42" name="Group 42"/>
          <p:cNvGrpSpPr/>
          <p:nvPr/>
        </p:nvGrpSpPr>
        <p:grpSpPr>
          <a:xfrm rot="16200000">
            <a:off x="8056454" y="3528383"/>
            <a:ext cx="1386957" cy="3353536"/>
            <a:chOff x="0" y="0"/>
            <a:chExt cx="635000" cy="1535372"/>
          </a:xfrm>
        </p:grpSpPr>
        <p:sp>
          <p:nvSpPr>
            <p:cNvPr id="43" name="Freeform 43"/>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4B03D"/>
            </a:solidFill>
          </p:spPr>
        </p:sp>
        <p:sp>
          <p:nvSpPr>
            <p:cNvPr id="44" name="TextBox 44"/>
            <p:cNvSpPr txBox="1"/>
            <p:nvPr/>
          </p:nvSpPr>
          <p:spPr>
            <a:xfrm>
              <a:off x="0" y="-38100"/>
              <a:ext cx="635000" cy="1459172"/>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45" name="Group 45"/>
          <p:cNvGrpSpPr>
            <a:grpSpLocks noChangeAspect="1"/>
          </p:cNvGrpSpPr>
          <p:nvPr/>
        </p:nvGrpSpPr>
        <p:grpSpPr>
          <a:xfrm>
            <a:off x="6493739" y="4775438"/>
            <a:ext cx="859425" cy="859425"/>
            <a:chOff x="0" y="0"/>
            <a:chExt cx="495300" cy="495300"/>
          </a:xfrm>
        </p:grpSpPr>
        <p:sp>
          <p:nvSpPr>
            <p:cNvPr id="46" name="Freeform 46"/>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FC54D"/>
            </a:solidFill>
          </p:spPr>
        </p:sp>
        <p:sp>
          <p:nvSpPr>
            <p:cNvPr id="47" name="Freeform 47"/>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48" name="TextBox 48"/>
          <p:cNvSpPr txBox="1"/>
          <p:nvPr/>
        </p:nvSpPr>
        <p:spPr>
          <a:xfrm>
            <a:off x="75534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change ideas</a:t>
            </a:r>
          </a:p>
        </p:txBody>
      </p:sp>
      <p:sp>
        <p:nvSpPr>
          <p:cNvPr id="49" name="TextBox 49"/>
          <p:cNvSpPr txBox="1"/>
          <p:nvPr/>
        </p:nvSpPr>
        <p:spPr>
          <a:xfrm>
            <a:off x="7556364" y="5050974"/>
            <a:ext cx="3031378"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how” we will </a:t>
            </a:r>
          </a:p>
          <a:p>
            <a:pPr>
              <a:lnSpc>
                <a:spcPts val="2799"/>
              </a:lnSpc>
              <a:spcBef>
                <a:spcPct val="0"/>
              </a:spcBef>
            </a:pPr>
            <a:r>
              <a:rPr lang="en-US" sz="2000" spc="97">
                <a:solidFill>
                  <a:srgbClr val="FFFFFF"/>
                </a:solidFill>
                <a:latin typeface="Barlow SemiCondensed"/>
              </a:rPr>
              <a:t>accomplish the aim. </a:t>
            </a:r>
          </a:p>
        </p:txBody>
      </p:sp>
      <p:sp>
        <p:nvSpPr>
          <p:cNvPr id="50" name="TextBox 50"/>
          <p:cNvSpPr txBox="1"/>
          <p:nvPr/>
        </p:nvSpPr>
        <p:spPr>
          <a:xfrm>
            <a:off x="6637973" y="4931561"/>
            <a:ext cx="570957" cy="457626"/>
          </a:xfrm>
          <a:prstGeom prst="rect">
            <a:avLst/>
          </a:prstGeom>
        </p:spPr>
        <p:txBody>
          <a:bodyPr lIns="0" tIns="0" rIns="0" bIns="0" rtlCol="0" anchor="t">
            <a:spAutoFit/>
          </a:bodyPr>
          <a:lstStyle/>
          <a:p>
            <a:pPr algn="ctr">
              <a:lnSpc>
                <a:spcPts val="3981"/>
              </a:lnSpc>
            </a:pPr>
            <a:r>
              <a:rPr lang="en-US" sz="2843" spc="119">
                <a:solidFill>
                  <a:srgbClr val="FFC54D"/>
                </a:solidFill>
                <a:latin typeface="Barlow Bold"/>
              </a:rPr>
              <a:t>04</a:t>
            </a:r>
          </a:p>
        </p:txBody>
      </p:sp>
      <p:sp>
        <p:nvSpPr>
          <p:cNvPr id="51" name="TextBox 51"/>
          <p:cNvSpPr txBox="1"/>
          <p:nvPr/>
        </p:nvSpPr>
        <p:spPr>
          <a:xfrm>
            <a:off x="3011078" y="1597250"/>
            <a:ext cx="6169846" cy="839717"/>
          </a:xfrm>
          <a:prstGeom prst="rect">
            <a:avLst/>
          </a:prstGeom>
        </p:spPr>
        <p:txBody>
          <a:bodyPr lIns="0" tIns="0" rIns="0" bIns="0" rtlCol="0" anchor="t">
            <a:spAutoFit/>
          </a:bodyPr>
          <a:lstStyle/>
          <a:p>
            <a:pPr algn="ctr">
              <a:lnSpc>
                <a:spcPts val="3400"/>
              </a:lnSpc>
            </a:pPr>
            <a:r>
              <a:rPr lang="en-US" sz="2250" spc="117">
                <a:solidFill>
                  <a:srgbClr val="094C90"/>
                </a:solidFill>
                <a:latin typeface="Barlow SemiCondensed"/>
              </a:rPr>
              <a:t>Displays the Initiative in Manageable Tasks</a:t>
            </a:r>
          </a:p>
          <a:p>
            <a:pPr algn="ctr">
              <a:lnSpc>
                <a:spcPts val="3400"/>
              </a:lnSpc>
              <a:spcBef>
                <a:spcPct val="0"/>
              </a:spcBef>
            </a:pPr>
            <a:endParaRPr lang="en-US" sz="2266" spc="117">
              <a:solidFill>
                <a:srgbClr val="094C90"/>
              </a:solidFill>
              <a:latin typeface="Barlow SemiCondensed"/>
            </a:endParaRPr>
          </a:p>
        </p:txBody>
      </p:sp>
      <p:grpSp>
        <p:nvGrpSpPr>
          <p:cNvPr id="52" name="Group 52"/>
          <p:cNvGrpSpPr/>
          <p:nvPr/>
        </p:nvGrpSpPr>
        <p:grpSpPr>
          <a:xfrm>
            <a:off x="-846965" y="5061977"/>
            <a:ext cx="1368800" cy="1368800"/>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4" name="TextBox 5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5" name="Group 55"/>
          <p:cNvGrpSpPr/>
          <p:nvPr/>
        </p:nvGrpSpPr>
        <p:grpSpPr>
          <a:xfrm>
            <a:off x="874339" y="-746500"/>
            <a:ext cx="1368800" cy="1368800"/>
            <a:chOff x="0" y="0"/>
            <a:chExt cx="812800" cy="812800"/>
          </a:xfrm>
        </p:grpSpPr>
        <p:sp>
          <p:nvSpPr>
            <p:cNvPr id="56" name="Freeform 5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7" name="TextBox 5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8" name="Group 58"/>
          <p:cNvGrpSpPr/>
          <p:nvPr/>
        </p:nvGrpSpPr>
        <p:grpSpPr>
          <a:xfrm>
            <a:off x="11571100" y="464807"/>
            <a:ext cx="1368800" cy="1368800"/>
            <a:chOff x="0" y="0"/>
            <a:chExt cx="812800" cy="812800"/>
          </a:xfrm>
        </p:grpSpPr>
        <p:sp>
          <p:nvSpPr>
            <p:cNvPr id="59" name="Freeform 5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60" name="TextBox 60"/>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61" name="Freeform 61"/>
          <p:cNvSpPr/>
          <p:nvPr/>
        </p:nvSpPr>
        <p:spPr>
          <a:xfrm>
            <a:off x="-746067" y="-285762"/>
            <a:ext cx="1167003" cy="2743200"/>
          </a:xfrm>
          <a:custGeom>
            <a:avLst/>
            <a:gdLst/>
            <a:ahLst/>
            <a:cxnLst/>
            <a:rect l="l" t="t" r="r" b="b"/>
            <a:pathLst>
              <a:path w="1750504"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2" name="Freeform 62"/>
          <p:cNvSpPr/>
          <p:nvPr/>
        </p:nvSpPr>
        <p:spPr>
          <a:xfrm>
            <a:off x="11772898" y="5051674"/>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3" name="TextBox 63"/>
          <p:cNvSpPr txBox="1"/>
          <p:nvPr/>
        </p:nvSpPr>
        <p:spPr>
          <a:xfrm>
            <a:off x="7979073" y="6397874"/>
            <a:ext cx="3527127" cy="228268"/>
          </a:xfrm>
          <a:prstGeom prst="rect">
            <a:avLst/>
          </a:prstGeom>
        </p:spPr>
        <p:txBody>
          <a:bodyPr lIns="0" tIns="0" rIns="0" bIns="0" rtlCol="0" anchor="t">
            <a:spAutoFit/>
          </a:bodyPr>
          <a:lstStyle/>
          <a:p>
            <a:pPr algn="ctr">
              <a:lnSpc>
                <a:spcPts val="1882"/>
              </a:lnSpc>
              <a:spcBef>
                <a:spcPct val="0"/>
              </a:spcBef>
            </a:pPr>
            <a:r>
              <a:rPr lang="en-US" sz="1344" spc="43">
                <a:solidFill>
                  <a:srgbClr val="000000"/>
                </a:solidFill>
                <a:latin typeface="Barlow Semi-Bold"/>
              </a:rPr>
              <a:t> 2023 Institute for Healthcare Improvement.</a:t>
            </a:r>
          </a:p>
        </p:txBody>
      </p:sp>
    </p:spTree>
    <p:extLst>
      <p:ext uri="{BB962C8B-B14F-4D97-AF65-F5344CB8AC3E}">
        <p14:creationId xmlns:p14="http://schemas.microsoft.com/office/powerpoint/2010/main" val="3850125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5727074" y="1820812"/>
            <a:ext cx="6330964" cy="321260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p:cNvSpPr>
            <a:spLocks noGrp="1"/>
          </p:cNvSpPr>
          <p:nvPr>
            <p:ph type="title"/>
          </p:nvPr>
        </p:nvSpPr>
        <p:spPr>
          <a:xfrm>
            <a:off x="320039" y="337457"/>
            <a:ext cx="8229600" cy="1143000"/>
          </a:xfrm>
          <a:noFill/>
        </p:spPr>
        <p:txBody>
          <a:bodyPr>
            <a:normAutofit/>
          </a:bodyPr>
          <a:lstStyle/>
          <a:p>
            <a:r>
              <a:rPr lang="en-US" altLang="en-US" sz="4800">
                <a:ea typeface="Lato Medium"/>
                <a:cs typeface="Lato Medium"/>
              </a:rPr>
              <a:t>Neonatal Breakout Overview</a:t>
            </a:r>
          </a:p>
        </p:txBody>
      </p:sp>
      <p:sp>
        <p:nvSpPr>
          <p:cNvPr id="16387" name="Content Placeholder 3"/>
          <p:cNvSpPr>
            <a:spLocks noGrp="1"/>
          </p:cNvSpPr>
          <p:nvPr>
            <p:ph idx="1"/>
          </p:nvPr>
        </p:nvSpPr>
        <p:spPr>
          <a:xfrm>
            <a:off x="513887" y="2016556"/>
            <a:ext cx="5275157" cy="4924534"/>
          </a:xfrm>
        </p:spPr>
        <p:txBody>
          <a:bodyPr vert="horz" lIns="91440" tIns="45720" rIns="91440" bIns="45720" rtlCol="0" anchor="t">
            <a:normAutofit/>
          </a:bodyPr>
          <a:lstStyle/>
          <a:p>
            <a:r>
              <a:rPr lang="en-US" altLang="en-US" sz="2800">
                <a:ea typeface="Lato"/>
                <a:cs typeface="Lato"/>
              </a:rPr>
              <a:t>Introduction</a:t>
            </a:r>
            <a:endParaRPr lang="en-US" altLang="en-US" sz="2800"/>
          </a:p>
          <a:p>
            <a:pPr>
              <a:buClr>
                <a:srgbClr val="F5668F"/>
              </a:buClr>
            </a:pPr>
            <a:r>
              <a:rPr lang="en-US" altLang="en-US" sz="2800">
                <a:ea typeface="Lato"/>
                <a:cs typeface="Lato"/>
              </a:rPr>
              <a:t>ESSI Initiative Background</a:t>
            </a:r>
            <a:endParaRPr lang="en-US" altLang="en-US" sz="2800"/>
          </a:p>
          <a:p>
            <a:pPr>
              <a:buClr>
                <a:srgbClr val="F5668F"/>
              </a:buClr>
            </a:pPr>
            <a:r>
              <a:rPr lang="en-US" altLang="en-US" sz="2800">
                <a:ea typeface="Lato"/>
                <a:cs typeface="Lato"/>
              </a:rPr>
              <a:t>Key Driver Diagram and Toolkit</a:t>
            </a:r>
            <a:endParaRPr lang="en-US" altLang="en-US" sz="2800"/>
          </a:p>
          <a:p>
            <a:pPr>
              <a:buClr>
                <a:srgbClr val="F5668F"/>
              </a:buClr>
            </a:pPr>
            <a:r>
              <a:rPr lang="en-US" altLang="en-US" sz="2800">
                <a:ea typeface="Lato"/>
                <a:cs typeface="Lato"/>
              </a:rPr>
              <a:t>10 Steps for Getting Started</a:t>
            </a:r>
            <a:endParaRPr lang="en-US" altLang="en-US" sz="2800"/>
          </a:p>
          <a:p>
            <a:pPr>
              <a:buClr>
                <a:srgbClr val="F5668F"/>
              </a:buClr>
            </a:pPr>
            <a:endParaRPr lang="en-US" altLang="en-US" sz="2800"/>
          </a:p>
          <a:p>
            <a:pPr>
              <a:buClr>
                <a:srgbClr val="F5668F"/>
              </a:buClr>
            </a:pPr>
            <a:endParaRPr lang="en-US" altLang="en-US" sz="2200"/>
          </a:p>
          <a:p>
            <a:pPr>
              <a:buClr>
                <a:srgbClr val="F5668F"/>
              </a:buClr>
            </a:pPr>
            <a:endParaRPr lang="en-US" altLang="en-US" sz="2200"/>
          </a:p>
          <a:p>
            <a:pPr marL="457200" lvl="1" indent="0">
              <a:buClr>
                <a:srgbClr val="004990"/>
              </a:buClr>
              <a:buNone/>
            </a:pPr>
            <a:endParaRPr lang="en-US" altLang="en-US" sz="2200"/>
          </a:p>
          <a:p>
            <a:pPr>
              <a:buClr>
                <a:srgbClr val="F5668F"/>
              </a:buClr>
            </a:pPr>
            <a:endParaRPr lang="en-US" altLang="en-US"/>
          </a:p>
        </p:txBody>
      </p:sp>
      <p:sp>
        <p:nvSpPr>
          <p:cNvPr id="3" name="Rectangle 2"/>
          <p:cNvSpPr/>
          <p:nvPr/>
        </p:nvSpPr>
        <p:spPr>
          <a:xfrm>
            <a:off x="5726386" y="1588090"/>
            <a:ext cx="6383130" cy="3693319"/>
          </a:xfrm>
          <a:prstGeom prst="rect">
            <a:avLst/>
          </a:prstGeom>
        </p:spPr>
        <p:txBody>
          <a:bodyPr wrap="square" lIns="91440" tIns="45720" rIns="91440" bIns="45720" anchor="t">
            <a:spAutoFit/>
          </a:bodyPr>
          <a:lstStyle/>
          <a:p>
            <a:pPr algn="ctr"/>
            <a:endParaRPr lang="en-US" altLang="en-US" sz="2800" b="1">
              <a:ea typeface="Lato"/>
              <a:cs typeface="Lato"/>
            </a:endParaRPr>
          </a:p>
          <a:p>
            <a:pPr marL="800100" lvl="1" indent="-342900">
              <a:buClr>
                <a:srgbClr val="004990"/>
              </a:buClr>
              <a:buFont typeface="Arial" panose="020B0604020202020204" pitchFamily="34" charset="0"/>
              <a:buChar char="•"/>
            </a:pPr>
            <a:r>
              <a:rPr lang="en-US" sz="2800">
                <a:ea typeface="+mn-lt"/>
                <a:cs typeface="+mn-lt"/>
              </a:rPr>
              <a:t>Susan Hwang, MD, MPH</a:t>
            </a:r>
          </a:p>
          <a:p>
            <a:pPr lvl="2">
              <a:buClr>
                <a:srgbClr val="004990"/>
              </a:buClr>
              <a:buFont typeface="Arial" panose="020B0604020202020204" pitchFamily="34" charset="0"/>
              <a:buChar char="•"/>
            </a:pPr>
            <a:r>
              <a:rPr lang="en-US" sz="2200">
                <a:ea typeface="+mn-lt"/>
                <a:cs typeface="+mn-lt"/>
              </a:rPr>
              <a:t> Neonatologist and Board Vice Chair, Colorado Perinatal Care Quality Collaborative (CPCQC)</a:t>
            </a:r>
          </a:p>
          <a:p>
            <a:pPr>
              <a:buClr>
                <a:srgbClr val="004990"/>
              </a:buClr>
              <a:buFont typeface="Arial" panose="020B0604020202020204" pitchFamily="34" charset="0"/>
              <a:buChar char="•"/>
            </a:pPr>
            <a:endParaRPr lang="en-US" sz="1200">
              <a:ea typeface="+mn-lt"/>
              <a:cs typeface="+mn-lt"/>
            </a:endParaRPr>
          </a:p>
          <a:p>
            <a:pPr marL="800100" lvl="1" indent="-342900">
              <a:buClr>
                <a:srgbClr val="004990"/>
              </a:buClr>
              <a:buFont typeface="Arial" panose="020B0604020202020204" pitchFamily="34" charset="0"/>
              <a:buChar char="•"/>
            </a:pPr>
            <a:r>
              <a:rPr lang="en-US" sz="2800">
                <a:ea typeface="+mn-lt"/>
                <a:cs typeface="+mn-lt"/>
              </a:rPr>
              <a:t>Brenda Barker, MEd, MBA</a:t>
            </a:r>
          </a:p>
          <a:p>
            <a:pPr marL="914400">
              <a:buClr>
                <a:srgbClr val="004990"/>
              </a:buClr>
              <a:buFont typeface="Arial" panose="020B0604020202020204" pitchFamily="34" charset="0"/>
              <a:buChar char="•"/>
            </a:pPr>
            <a:r>
              <a:rPr lang="en-US" sz="2200">
                <a:ea typeface="+mn-lt"/>
                <a:cs typeface="+mn-lt"/>
              </a:rPr>
              <a:t> Executive Director, Tennessee Initiative for Perinatal Quality Care (TIPQC)</a:t>
            </a:r>
          </a:p>
          <a:p>
            <a:pPr marL="1257300" lvl="2" indent="-342900">
              <a:buClr>
                <a:srgbClr val="004990"/>
              </a:buClr>
              <a:buFont typeface="Arial" panose="020B0604020202020204" pitchFamily="34" charset="0"/>
              <a:buChar char="•"/>
            </a:pPr>
            <a:endParaRPr lang="en-US" sz="2800">
              <a:ea typeface="+mn-lt"/>
              <a:cs typeface="+mn-lt"/>
            </a:endParaRPr>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20</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15527" y="655007"/>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02B4FC7-02B4-B308-F882-1F10636CBFF9}"/>
              </a:ext>
            </a:extLst>
          </p:cNvPr>
          <p:cNvSpPr/>
          <p:nvPr/>
        </p:nvSpPr>
        <p:spPr>
          <a:xfrm>
            <a:off x="4360623" y="581938"/>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ea typeface="Calibri"/>
                <a:cs typeface="Calibri"/>
              </a:rPr>
              <a:t>1</a:t>
            </a:r>
            <a:endParaRPr lang="en-US" sz="3200"/>
          </a:p>
        </p:txBody>
      </p:sp>
    </p:spTree>
    <p:extLst>
      <p:ext uri="{BB962C8B-B14F-4D97-AF65-F5344CB8AC3E}">
        <p14:creationId xmlns:p14="http://schemas.microsoft.com/office/powerpoint/2010/main" val="1210022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3" name="Group 3"/>
          <p:cNvGrpSpPr/>
          <p:nvPr/>
        </p:nvGrpSpPr>
        <p:grpSpPr>
          <a:xfrm>
            <a:off x="5781680" y="5498672"/>
            <a:ext cx="5457846" cy="1085844"/>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C54D"/>
            </a:solidFill>
          </p:spPr>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7" name="Group 7"/>
          <p:cNvGrpSpPr/>
          <p:nvPr/>
        </p:nvGrpSpPr>
        <p:grpSpPr>
          <a:xfrm>
            <a:off x="5781680" y="4325711"/>
            <a:ext cx="5457846" cy="1085844"/>
            <a:chOff x="0" y="0"/>
            <a:chExt cx="2156186" cy="428975"/>
          </a:xfrm>
        </p:grpSpPr>
        <p:sp>
          <p:nvSpPr>
            <p:cNvPr id="8" name="Freeform 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BD4291"/>
            </a:solidFill>
          </p:spPr>
        </p:sp>
        <p:sp>
          <p:nvSpPr>
            <p:cNvPr id="9" name="TextBox 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0" name="Freeform 10"/>
          <p:cNvSpPr/>
          <p:nvPr/>
        </p:nvSpPr>
        <p:spPr>
          <a:xfrm>
            <a:off x="5938142" y="2359430"/>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11" name="Group 11"/>
          <p:cNvGrpSpPr/>
          <p:nvPr/>
        </p:nvGrpSpPr>
        <p:grpSpPr>
          <a:xfrm>
            <a:off x="5704980" y="1524486"/>
            <a:ext cx="5457846" cy="1085844"/>
            <a:chOff x="0" y="0"/>
            <a:chExt cx="2156186" cy="428975"/>
          </a:xfrm>
        </p:grpSpPr>
        <p:sp>
          <p:nvSpPr>
            <p:cNvPr id="12" name="Freeform 12"/>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53BF9D"/>
            </a:solidFill>
          </p:spPr>
        </p:sp>
        <p:sp>
          <p:nvSpPr>
            <p:cNvPr id="13" name="TextBox 13"/>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grpSp>
        <p:nvGrpSpPr>
          <p:cNvPr id="14" name="Group 14"/>
          <p:cNvGrpSpPr/>
          <p:nvPr/>
        </p:nvGrpSpPr>
        <p:grpSpPr>
          <a:xfrm>
            <a:off x="5704980" y="298942"/>
            <a:ext cx="5457846" cy="1085844"/>
            <a:chOff x="0" y="0"/>
            <a:chExt cx="2156186" cy="428975"/>
          </a:xfrm>
        </p:grpSpPr>
        <p:sp>
          <p:nvSpPr>
            <p:cNvPr id="15" name="Freeform 15"/>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94C66"/>
            </a:solidFill>
          </p:spPr>
        </p:sp>
        <p:sp>
          <p:nvSpPr>
            <p:cNvPr id="16" name="TextBox 16"/>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7" name="AutoShape 17"/>
          <p:cNvSpPr/>
          <p:nvPr/>
        </p:nvSpPr>
        <p:spPr>
          <a:xfrm flipV="1">
            <a:off x="6862805" y="543941"/>
            <a:ext cx="0" cy="570703"/>
          </a:xfrm>
          <a:prstGeom prst="line">
            <a:avLst/>
          </a:prstGeom>
          <a:ln w="38100" cap="flat">
            <a:solidFill>
              <a:srgbClr val="FFFFFF"/>
            </a:solidFill>
            <a:prstDash val="solid"/>
            <a:headEnd type="none" w="sm" len="sm"/>
            <a:tailEnd type="none" w="sm" len="sm"/>
          </a:ln>
        </p:spPr>
      </p:sp>
      <p:sp>
        <p:nvSpPr>
          <p:cNvPr id="18" name="AutoShape 18"/>
          <p:cNvSpPr/>
          <p:nvPr/>
        </p:nvSpPr>
        <p:spPr>
          <a:xfrm flipV="1">
            <a:off x="6875505" y="1699242"/>
            <a:ext cx="0" cy="570703"/>
          </a:xfrm>
          <a:prstGeom prst="line">
            <a:avLst/>
          </a:prstGeom>
          <a:ln w="38100" cap="flat">
            <a:solidFill>
              <a:srgbClr val="FFFFFF"/>
            </a:solidFill>
            <a:prstDash val="solid"/>
            <a:headEnd type="none" w="sm" len="sm"/>
            <a:tailEnd type="none" w="sm" len="sm"/>
          </a:ln>
        </p:spPr>
      </p:sp>
      <p:sp>
        <p:nvSpPr>
          <p:cNvPr id="19" name="AutoShape 19"/>
          <p:cNvSpPr/>
          <p:nvPr/>
        </p:nvSpPr>
        <p:spPr>
          <a:xfrm flipV="1">
            <a:off x="6888205" y="4606691"/>
            <a:ext cx="0" cy="570703"/>
          </a:xfrm>
          <a:prstGeom prst="line">
            <a:avLst/>
          </a:prstGeom>
          <a:ln w="38100" cap="flat">
            <a:solidFill>
              <a:srgbClr val="FFFFFF"/>
            </a:solidFill>
            <a:prstDash val="solid"/>
            <a:headEnd type="none" w="sm" len="sm"/>
            <a:tailEnd type="none" w="sm" len="sm"/>
          </a:ln>
        </p:spPr>
      </p:sp>
      <p:sp>
        <p:nvSpPr>
          <p:cNvPr id="20" name="AutoShape 20"/>
          <p:cNvSpPr/>
          <p:nvPr/>
        </p:nvSpPr>
        <p:spPr>
          <a:xfrm flipV="1">
            <a:off x="6888205" y="5756243"/>
            <a:ext cx="0" cy="570703"/>
          </a:xfrm>
          <a:prstGeom prst="line">
            <a:avLst/>
          </a:prstGeom>
          <a:ln w="38100" cap="flat">
            <a:solidFill>
              <a:srgbClr val="FFFFFF"/>
            </a:solidFill>
            <a:prstDash val="solid"/>
            <a:headEnd type="none" w="sm" len="sm"/>
            <a:tailEnd type="none" w="sm" len="sm"/>
          </a:ln>
        </p:spPr>
      </p:sp>
      <p:sp>
        <p:nvSpPr>
          <p:cNvPr id="21" name="AutoShape 21"/>
          <p:cNvSpPr/>
          <p:nvPr/>
        </p:nvSpPr>
        <p:spPr>
          <a:xfrm>
            <a:off x="5781679" y="2884983"/>
            <a:ext cx="1488295" cy="0"/>
          </a:xfrm>
          <a:prstGeom prst="line">
            <a:avLst/>
          </a:prstGeom>
          <a:ln w="38100" cap="flat">
            <a:solidFill>
              <a:srgbClr val="000000"/>
            </a:solidFill>
            <a:prstDash val="solid"/>
            <a:headEnd type="none" w="sm" len="sm"/>
            <a:tailEnd type="none" w="sm" len="sm"/>
          </a:ln>
        </p:spPr>
      </p:sp>
      <p:sp>
        <p:nvSpPr>
          <p:cNvPr id="22" name="Freeform 2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23" name="Freeform 23"/>
          <p:cNvSpPr/>
          <p:nvPr/>
        </p:nvSpPr>
        <p:spPr>
          <a:xfrm flipV="1">
            <a:off x="11549785" y="-576427"/>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4" name="Group 24"/>
          <p:cNvGrpSpPr/>
          <p:nvPr/>
        </p:nvGrpSpPr>
        <p:grpSpPr>
          <a:xfrm>
            <a:off x="11377921" y="6168748"/>
            <a:ext cx="1368800" cy="1368800"/>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6" name="TextBox 2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7" name="Group 27"/>
          <p:cNvGrpSpPr/>
          <p:nvPr/>
        </p:nvGrpSpPr>
        <p:grpSpPr>
          <a:xfrm>
            <a:off x="-415216" y="-654827"/>
            <a:ext cx="1368800" cy="136880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9" name="TextBox 2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30" name="Freeform 30"/>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31" name="Freeform 31"/>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2" name="Freeform 3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3" name="Freeform 33"/>
          <p:cNvSpPr/>
          <p:nvPr/>
        </p:nvSpPr>
        <p:spPr>
          <a:xfrm>
            <a:off x="396776" y="599422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sp>
        <p:nvSpPr>
          <p:cNvPr id="34" name="TextBox 34"/>
          <p:cNvSpPr txBox="1"/>
          <p:nvPr/>
        </p:nvSpPr>
        <p:spPr>
          <a:xfrm>
            <a:off x="896976" y="2086999"/>
            <a:ext cx="4632329" cy="1857175"/>
          </a:xfrm>
          <a:prstGeom prst="rect">
            <a:avLst/>
          </a:prstGeom>
        </p:spPr>
        <p:txBody>
          <a:bodyPr lIns="0" tIns="0" rIns="0" bIns="0" rtlCol="0" anchor="t">
            <a:spAutoFit/>
          </a:bodyPr>
          <a:lstStyle/>
          <a:p>
            <a:pPr>
              <a:lnSpc>
                <a:spcPts val="3733"/>
              </a:lnSpc>
            </a:pPr>
            <a:r>
              <a:rPr lang="en-US" sz="2666" spc="111">
                <a:solidFill>
                  <a:srgbClr val="000000"/>
                </a:solidFill>
                <a:latin typeface="Barlow Bold"/>
              </a:rPr>
              <a:t>DRIVER 1: </a:t>
            </a:r>
          </a:p>
          <a:p>
            <a:pPr>
              <a:lnSpc>
                <a:spcPts val="3733"/>
              </a:lnSpc>
            </a:pPr>
            <a:r>
              <a:rPr lang="en-US" sz="2666" spc="111">
                <a:solidFill>
                  <a:srgbClr val="000000"/>
                </a:solidFill>
                <a:latin typeface="Barlow Bold"/>
              </a:rPr>
              <a:t>HEALTHCARE PROFESSIONAL COMMITMENT​</a:t>
            </a:r>
          </a:p>
        </p:txBody>
      </p:sp>
      <p:grpSp>
        <p:nvGrpSpPr>
          <p:cNvPr id="35" name="Group 35"/>
          <p:cNvGrpSpPr/>
          <p:nvPr/>
        </p:nvGrpSpPr>
        <p:grpSpPr>
          <a:xfrm>
            <a:off x="685801" y="685800"/>
            <a:ext cx="3816499" cy="1229323"/>
            <a:chOff x="0" y="0"/>
            <a:chExt cx="1300650" cy="418949"/>
          </a:xfrm>
        </p:grpSpPr>
        <p:sp>
          <p:nvSpPr>
            <p:cNvPr id="36" name="Freeform 36"/>
            <p:cNvSpPr/>
            <p:nvPr/>
          </p:nvSpPr>
          <p:spPr>
            <a:xfrm>
              <a:off x="0" y="0"/>
              <a:ext cx="1300650" cy="418949"/>
            </a:xfrm>
            <a:custGeom>
              <a:avLst/>
              <a:gdLst/>
              <a:ahLst/>
              <a:cxnLst/>
              <a:rect l="l" t="t" r="r" b="b"/>
              <a:pathLst>
                <a:path w="1300650" h="418949">
                  <a:moveTo>
                    <a:pt x="27047" y="0"/>
                  </a:moveTo>
                  <a:lnTo>
                    <a:pt x="1273603" y="0"/>
                  </a:lnTo>
                  <a:cubicBezTo>
                    <a:pt x="1288541" y="0"/>
                    <a:pt x="1300650" y="12109"/>
                    <a:pt x="1300650" y="27047"/>
                  </a:cubicBezTo>
                  <a:lnTo>
                    <a:pt x="1300650" y="391902"/>
                  </a:lnTo>
                  <a:cubicBezTo>
                    <a:pt x="1300650" y="399075"/>
                    <a:pt x="1297800" y="405955"/>
                    <a:pt x="1292728" y="411027"/>
                  </a:cubicBezTo>
                  <a:cubicBezTo>
                    <a:pt x="1287656" y="416099"/>
                    <a:pt x="1280776" y="418949"/>
                    <a:pt x="1273603" y="418949"/>
                  </a:cubicBezTo>
                  <a:lnTo>
                    <a:pt x="27047" y="418949"/>
                  </a:lnTo>
                  <a:cubicBezTo>
                    <a:pt x="19874" y="418949"/>
                    <a:pt x="12994" y="416099"/>
                    <a:pt x="7922" y="411027"/>
                  </a:cubicBezTo>
                  <a:cubicBezTo>
                    <a:pt x="2850" y="405955"/>
                    <a:pt x="0" y="399075"/>
                    <a:pt x="0" y="391902"/>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37" name="TextBox 37"/>
            <p:cNvSpPr txBox="1"/>
            <p:nvPr/>
          </p:nvSpPr>
          <p:spPr>
            <a:xfrm>
              <a:off x="0" y="-38100"/>
              <a:ext cx="1300650" cy="457049"/>
            </a:xfrm>
            <a:prstGeom prst="rect">
              <a:avLst/>
            </a:prstGeom>
          </p:spPr>
          <p:txBody>
            <a:bodyPr lIns="33867" tIns="33867" rIns="33867" bIns="33867" rtlCol="0" anchor="ctr"/>
            <a:lstStyle/>
            <a:p>
              <a:pPr algn="ctr">
                <a:lnSpc>
                  <a:spcPts val="1882"/>
                </a:lnSpc>
              </a:pPr>
              <a:endParaRPr sz="800"/>
            </a:p>
          </p:txBody>
        </p:sp>
      </p:grpSp>
      <p:sp>
        <p:nvSpPr>
          <p:cNvPr id="38" name="Freeform 38"/>
          <p:cNvSpPr/>
          <p:nvPr/>
        </p:nvSpPr>
        <p:spPr>
          <a:xfrm>
            <a:off x="3590492" y="2438686"/>
            <a:ext cx="1242138" cy="1438075"/>
          </a:xfrm>
          <a:custGeom>
            <a:avLst/>
            <a:gdLst/>
            <a:ahLst/>
            <a:cxnLst/>
            <a:rect l="l" t="t" r="r" b="b"/>
            <a:pathLst>
              <a:path w="1863207" h="2157113">
                <a:moveTo>
                  <a:pt x="0" y="0"/>
                </a:moveTo>
                <a:lnTo>
                  <a:pt x="1863206" y="0"/>
                </a:lnTo>
                <a:lnTo>
                  <a:pt x="1863206" y="2157113"/>
                </a:lnTo>
                <a:lnTo>
                  <a:pt x="0" y="2157113"/>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39" name="Group 39"/>
          <p:cNvGrpSpPr/>
          <p:nvPr/>
        </p:nvGrpSpPr>
        <p:grpSpPr>
          <a:xfrm>
            <a:off x="685800" y="4281327"/>
            <a:ext cx="3787056" cy="1387588"/>
            <a:chOff x="0" y="0"/>
            <a:chExt cx="1290616" cy="472885"/>
          </a:xfrm>
        </p:grpSpPr>
        <p:sp>
          <p:nvSpPr>
            <p:cNvPr id="40" name="Freeform 40"/>
            <p:cNvSpPr/>
            <p:nvPr/>
          </p:nvSpPr>
          <p:spPr>
            <a:xfrm>
              <a:off x="0" y="0"/>
              <a:ext cx="1290616" cy="472885"/>
            </a:xfrm>
            <a:custGeom>
              <a:avLst/>
              <a:gdLst/>
              <a:ahLst/>
              <a:cxnLst/>
              <a:rect l="l" t="t" r="r" b="b"/>
              <a:pathLst>
                <a:path w="1290616" h="472885">
                  <a:moveTo>
                    <a:pt x="27257" y="0"/>
                  </a:moveTo>
                  <a:lnTo>
                    <a:pt x="1263358" y="0"/>
                  </a:lnTo>
                  <a:cubicBezTo>
                    <a:pt x="1270587" y="0"/>
                    <a:pt x="1277520" y="2872"/>
                    <a:pt x="1282632" y="7984"/>
                  </a:cubicBezTo>
                  <a:cubicBezTo>
                    <a:pt x="1287744" y="13095"/>
                    <a:pt x="1290616" y="20028"/>
                    <a:pt x="1290616" y="27257"/>
                  </a:cubicBezTo>
                  <a:lnTo>
                    <a:pt x="1290616" y="445628"/>
                  </a:lnTo>
                  <a:cubicBezTo>
                    <a:pt x="1290616" y="460682"/>
                    <a:pt x="1278412" y="472885"/>
                    <a:pt x="1263358" y="472885"/>
                  </a:cubicBezTo>
                  <a:lnTo>
                    <a:pt x="27257" y="472885"/>
                  </a:lnTo>
                  <a:cubicBezTo>
                    <a:pt x="12204" y="472885"/>
                    <a:pt x="0" y="460682"/>
                    <a:pt x="0" y="445628"/>
                  </a:cubicBezTo>
                  <a:lnTo>
                    <a:pt x="0" y="27257"/>
                  </a:lnTo>
                  <a:cubicBezTo>
                    <a:pt x="0" y="12204"/>
                    <a:pt x="12204" y="0"/>
                    <a:pt x="27257" y="0"/>
                  </a:cubicBezTo>
                  <a:close/>
                </a:path>
              </a:pathLst>
            </a:custGeom>
            <a:solidFill>
              <a:srgbClr val="FFFFFF"/>
            </a:solidFill>
            <a:ln w="57150" cap="sq">
              <a:solidFill>
                <a:srgbClr val="BD4291"/>
              </a:solidFill>
              <a:prstDash val="solid"/>
              <a:miter/>
            </a:ln>
          </p:spPr>
        </p:sp>
        <p:sp>
          <p:nvSpPr>
            <p:cNvPr id="41" name="TextBox 41"/>
            <p:cNvSpPr txBox="1"/>
            <p:nvPr/>
          </p:nvSpPr>
          <p:spPr>
            <a:xfrm>
              <a:off x="0" y="-38100"/>
              <a:ext cx="1290616" cy="510985"/>
            </a:xfrm>
            <a:prstGeom prst="rect">
              <a:avLst/>
            </a:prstGeom>
          </p:spPr>
          <p:txBody>
            <a:bodyPr lIns="33867" tIns="33867" rIns="33867" bIns="33867" rtlCol="0" anchor="ctr"/>
            <a:lstStyle/>
            <a:p>
              <a:pPr algn="ctr">
                <a:lnSpc>
                  <a:spcPts val="1882"/>
                </a:lnSpc>
              </a:pPr>
              <a:endParaRPr sz="800"/>
            </a:p>
          </p:txBody>
        </p:sp>
      </p:grpSp>
      <p:sp>
        <p:nvSpPr>
          <p:cNvPr id="42" name="Freeform 42"/>
          <p:cNvSpPr/>
          <p:nvPr/>
        </p:nvSpPr>
        <p:spPr>
          <a:xfrm>
            <a:off x="5912498" y="478995"/>
            <a:ext cx="862781" cy="670812"/>
          </a:xfrm>
          <a:custGeom>
            <a:avLst/>
            <a:gdLst/>
            <a:ahLst/>
            <a:cxnLst/>
            <a:rect l="l" t="t" r="r" b="b"/>
            <a:pathLst>
              <a:path w="1294171" h="1006218">
                <a:moveTo>
                  <a:pt x="0" y="0"/>
                </a:moveTo>
                <a:lnTo>
                  <a:pt x="1294171" y="0"/>
                </a:lnTo>
                <a:lnTo>
                  <a:pt x="1294171" y="1006218"/>
                </a:lnTo>
                <a:lnTo>
                  <a:pt x="0" y="1006218"/>
                </a:lnTo>
                <a:lnTo>
                  <a:pt x="0" y="0"/>
                </a:lnTo>
                <a:close/>
              </a:path>
            </a:pathLst>
          </a:custGeom>
          <a:blipFill>
            <a:blip r:embed="rId13"/>
            <a:stretch>
              <a:fillRect/>
            </a:stretch>
          </a:blipFill>
        </p:spPr>
      </p:sp>
      <p:grpSp>
        <p:nvGrpSpPr>
          <p:cNvPr id="43" name="Group 43"/>
          <p:cNvGrpSpPr/>
          <p:nvPr/>
        </p:nvGrpSpPr>
        <p:grpSpPr>
          <a:xfrm>
            <a:off x="5781680" y="3050083"/>
            <a:ext cx="5457846" cy="1085844"/>
            <a:chOff x="0" y="0"/>
            <a:chExt cx="2156186" cy="428975"/>
          </a:xfrm>
        </p:grpSpPr>
        <p:sp>
          <p:nvSpPr>
            <p:cNvPr id="44" name="Freeform 4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sp>
        <p:sp>
          <p:nvSpPr>
            <p:cNvPr id="45" name="TextBox 4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6" name="AutoShape 46"/>
          <p:cNvSpPr/>
          <p:nvPr/>
        </p:nvSpPr>
        <p:spPr>
          <a:xfrm flipV="1">
            <a:off x="6900905" y="3257183"/>
            <a:ext cx="0" cy="570703"/>
          </a:xfrm>
          <a:prstGeom prst="line">
            <a:avLst/>
          </a:prstGeom>
          <a:ln w="38100" cap="flat">
            <a:solidFill>
              <a:srgbClr val="FFFFFF"/>
            </a:solidFill>
            <a:prstDash val="solid"/>
            <a:headEnd type="none" w="sm" len="sm"/>
            <a:tailEnd type="none" w="sm" len="sm"/>
          </a:ln>
        </p:spPr>
      </p:sp>
      <p:sp>
        <p:nvSpPr>
          <p:cNvPr id="47" name="Freeform 47"/>
          <p:cNvSpPr/>
          <p:nvPr/>
        </p:nvSpPr>
        <p:spPr>
          <a:xfrm>
            <a:off x="5950259" y="1651425"/>
            <a:ext cx="787260" cy="787260"/>
          </a:xfrm>
          <a:custGeom>
            <a:avLst/>
            <a:gdLst/>
            <a:ahLst/>
            <a:cxnLst/>
            <a:rect l="l" t="t" r="r" b="b"/>
            <a:pathLst>
              <a:path w="1180890" h="1180890">
                <a:moveTo>
                  <a:pt x="0" y="0"/>
                </a:moveTo>
                <a:lnTo>
                  <a:pt x="1180890" y="0"/>
                </a:lnTo>
                <a:lnTo>
                  <a:pt x="1180890" y="1180890"/>
                </a:lnTo>
                <a:lnTo>
                  <a:pt x="0" y="118089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48" name="Freeform 48"/>
          <p:cNvSpPr/>
          <p:nvPr/>
        </p:nvSpPr>
        <p:spPr>
          <a:xfrm>
            <a:off x="5912498" y="3234543"/>
            <a:ext cx="897608" cy="615983"/>
          </a:xfrm>
          <a:custGeom>
            <a:avLst/>
            <a:gdLst/>
            <a:ahLst/>
            <a:cxnLst/>
            <a:rect l="l" t="t" r="r" b="b"/>
            <a:pathLst>
              <a:path w="1346412" h="923975">
                <a:moveTo>
                  <a:pt x="0" y="0"/>
                </a:moveTo>
                <a:lnTo>
                  <a:pt x="1346412" y="0"/>
                </a:lnTo>
                <a:lnTo>
                  <a:pt x="1346412" y="923975"/>
                </a:lnTo>
                <a:lnTo>
                  <a:pt x="0" y="923975"/>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49" name="Freeform 49"/>
          <p:cNvSpPr/>
          <p:nvPr/>
        </p:nvSpPr>
        <p:spPr>
          <a:xfrm>
            <a:off x="6022040" y="4501721"/>
            <a:ext cx="715479" cy="733824"/>
          </a:xfrm>
          <a:custGeom>
            <a:avLst/>
            <a:gdLst/>
            <a:ahLst/>
            <a:cxnLst/>
            <a:rect l="l" t="t" r="r" b="b"/>
            <a:pathLst>
              <a:path w="1073218" h="1100736">
                <a:moveTo>
                  <a:pt x="0" y="0"/>
                </a:moveTo>
                <a:lnTo>
                  <a:pt x="1073218" y="0"/>
                </a:lnTo>
                <a:lnTo>
                  <a:pt x="1073218" y="1100736"/>
                </a:lnTo>
                <a:lnTo>
                  <a:pt x="0" y="1100736"/>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sp>
      <p:sp>
        <p:nvSpPr>
          <p:cNvPr id="50" name="Freeform 50"/>
          <p:cNvSpPr/>
          <p:nvPr/>
        </p:nvSpPr>
        <p:spPr>
          <a:xfrm>
            <a:off x="6061891" y="5658876"/>
            <a:ext cx="598823" cy="803790"/>
          </a:xfrm>
          <a:custGeom>
            <a:avLst/>
            <a:gdLst/>
            <a:ahLst/>
            <a:cxnLst/>
            <a:rect l="l" t="t" r="r" b="b"/>
            <a:pathLst>
              <a:path w="898235" h="1205685">
                <a:moveTo>
                  <a:pt x="0" y="0"/>
                </a:moveTo>
                <a:lnTo>
                  <a:pt x="898235" y="0"/>
                </a:lnTo>
                <a:lnTo>
                  <a:pt x="898235" y="1205685"/>
                </a:lnTo>
                <a:lnTo>
                  <a:pt x="0" y="1205685"/>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sp>
      <p:sp>
        <p:nvSpPr>
          <p:cNvPr id="51" name="TextBox 51"/>
          <p:cNvSpPr txBox="1"/>
          <p:nvPr/>
        </p:nvSpPr>
        <p:spPr>
          <a:xfrm>
            <a:off x="7002505" y="369410"/>
            <a:ext cx="4084512" cy="959237"/>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ducate providers, nurses, and other staff about listening to families, providing respectful care and building trust, and addressing implicit bias and engaging in anti-racism </a:t>
            </a:r>
            <a:endParaRPr lang="en-US" sz="1344" spc="43">
              <a:solidFill>
                <a:srgbClr val="FFFFFF"/>
              </a:solidFill>
              <a:latin typeface="Barlow Semi-Bold"/>
            </a:endParaRPr>
          </a:p>
        </p:txBody>
      </p:sp>
      <p:sp>
        <p:nvSpPr>
          <p:cNvPr id="52" name="TextBox 52"/>
          <p:cNvSpPr txBox="1"/>
          <p:nvPr/>
        </p:nvSpPr>
        <p:spPr>
          <a:xfrm>
            <a:off x="7002505" y="1741317"/>
            <a:ext cx="3456530"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ncourage open discussions about equitable and respectful care </a:t>
            </a:r>
            <a:endParaRPr lang="en-US" sz="1344" b="1" spc="43">
              <a:solidFill>
                <a:srgbClr val="FFFFFF"/>
              </a:solidFill>
              <a:latin typeface="Barlow Semi-Bold"/>
            </a:endParaRPr>
          </a:p>
        </p:txBody>
      </p:sp>
      <p:sp>
        <p:nvSpPr>
          <p:cNvPr id="53" name="TextBox 53"/>
          <p:cNvSpPr txBox="1"/>
          <p:nvPr/>
        </p:nvSpPr>
        <p:spPr>
          <a:xfrm>
            <a:off x="7006459" y="3238168"/>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ducate providers, nurses, and other staff about the importance of a safe sleep environment for every sleep during hospitalization and at home  </a:t>
            </a:r>
            <a:endParaRPr lang="en-US" sz="1344" spc="43">
              <a:solidFill>
                <a:srgbClr val="FFFFFF"/>
              </a:solidFill>
              <a:latin typeface="Barlow Semi-Bold"/>
            </a:endParaRPr>
          </a:p>
        </p:txBody>
      </p:sp>
      <p:sp>
        <p:nvSpPr>
          <p:cNvPr id="54" name="TextBox 54"/>
          <p:cNvSpPr txBox="1"/>
          <p:nvPr/>
        </p:nvSpPr>
        <p:spPr>
          <a:xfrm>
            <a:off x="6999151" y="5662230"/>
            <a:ext cx="4086822" cy="714042"/>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dorse and model a safe sleep environment for every sleep during the hospitalization, including correcting unsafe behaviors  </a:t>
            </a:r>
            <a:endParaRPr lang="en-US" sz="1344" spc="43">
              <a:solidFill>
                <a:srgbClr val="FFFFFF"/>
              </a:solidFill>
              <a:latin typeface="Barlow Semi-Bold"/>
            </a:endParaRPr>
          </a:p>
        </p:txBody>
      </p:sp>
      <p:sp>
        <p:nvSpPr>
          <p:cNvPr id="55" name="TextBox 55"/>
          <p:cNvSpPr txBox="1"/>
          <p:nvPr/>
        </p:nvSpPr>
        <p:spPr>
          <a:xfrm>
            <a:off x="896975" y="863581"/>
            <a:ext cx="3454879"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Equitable and Respectful Care Education and Implementation </a:t>
            </a:r>
          </a:p>
        </p:txBody>
      </p:sp>
      <p:sp>
        <p:nvSpPr>
          <p:cNvPr id="56" name="TextBox 56"/>
          <p:cNvSpPr txBox="1"/>
          <p:nvPr/>
        </p:nvSpPr>
        <p:spPr>
          <a:xfrm>
            <a:off x="685800" y="4538241"/>
            <a:ext cx="3787056"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Safe Sleep Environment Education and Implementation</a:t>
            </a:r>
          </a:p>
        </p:txBody>
      </p:sp>
      <p:sp>
        <p:nvSpPr>
          <p:cNvPr id="57" name="TextBox 57"/>
          <p:cNvSpPr txBox="1"/>
          <p:nvPr/>
        </p:nvSpPr>
        <p:spPr>
          <a:xfrm>
            <a:off x="7002505" y="4421678"/>
            <a:ext cx="4324974" cy="957698"/>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courage meaningful, culturally appropriate, respectful, nonjudgmental conversations between providers, nurses, and other staff and parents and caregivers about a safe sleep environment </a:t>
            </a:r>
            <a:endParaRPr lang="en-US" sz="1344" spc="43">
              <a:solidFill>
                <a:srgbClr val="FFFFFF"/>
              </a:solidFill>
              <a:latin typeface="Barlow Semi-Bold"/>
            </a:endParaRPr>
          </a:p>
        </p:txBody>
      </p:sp>
      <p:cxnSp>
        <p:nvCxnSpPr>
          <p:cNvPr id="58" name="Straight Arrow Connector 57">
            <a:extLst>
              <a:ext uri="{FF2B5EF4-FFF2-40B4-BE49-F238E27FC236}">
                <a16:creationId xmlns:a16="http://schemas.microsoft.com/office/drawing/2014/main" id="{7FE085C4-0A4D-D525-BEFC-A58C8B262908}"/>
              </a:ext>
            </a:extLst>
          </p:cNvPr>
          <p:cNvCxnSpPr/>
          <p:nvPr/>
        </p:nvCxnSpPr>
        <p:spPr>
          <a:xfrm>
            <a:off x="4516003" y="1366228"/>
            <a:ext cx="1149483" cy="856890"/>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AB05664-6AAD-B37F-B42B-F3BE57FF4B64}"/>
              </a:ext>
            </a:extLst>
          </p:cNvPr>
          <p:cNvCxnSpPr>
            <a:cxnSpLocks/>
          </p:cNvCxnSpPr>
          <p:nvPr/>
        </p:nvCxnSpPr>
        <p:spPr>
          <a:xfrm flipV="1">
            <a:off x="4492293" y="843899"/>
            <a:ext cx="1173194" cy="5377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780975F-40AC-4431-7277-8634D267BA1E}"/>
              </a:ext>
            </a:extLst>
          </p:cNvPr>
          <p:cNvCxnSpPr>
            <a:cxnSpLocks/>
          </p:cNvCxnSpPr>
          <p:nvPr/>
        </p:nvCxnSpPr>
        <p:spPr>
          <a:xfrm>
            <a:off x="4449161" y="4842018"/>
            <a:ext cx="1426731" cy="12840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6E294E1-60D1-93D5-F703-4C8CA9125137}"/>
              </a:ext>
            </a:extLst>
          </p:cNvPr>
          <p:cNvCxnSpPr>
            <a:cxnSpLocks/>
          </p:cNvCxnSpPr>
          <p:nvPr/>
        </p:nvCxnSpPr>
        <p:spPr>
          <a:xfrm flipV="1">
            <a:off x="4475896" y="4856696"/>
            <a:ext cx="1269798" cy="2542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33F86FB-67E8-46C0-0C13-6B8ABD7D4C87}"/>
              </a:ext>
            </a:extLst>
          </p:cNvPr>
          <p:cNvCxnSpPr>
            <a:cxnSpLocks/>
          </p:cNvCxnSpPr>
          <p:nvPr/>
        </p:nvCxnSpPr>
        <p:spPr>
          <a:xfrm flipV="1">
            <a:off x="4449160" y="3586696"/>
            <a:ext cx="1283167" cy="132216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CE06DA76-2516-7530-74D6-38D1B1FC6BFE}"/>
              </a:ext>
            </a:extLst>
          </p:cNvPr>
          <p:cNvSpPr txBox="1"/>
          <p:nvPr/>
        </p:nvSpPr>
        <p:spPr>
          <a:xfrm>
            <a:off x="7656419" y="2632239"/>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65" name="TextBox 64">
            <a:extLst>
              <a:ext uri="{FF2B5EF4-FFF2-40B4-BE49-F238E27FC236}">
                <a16:creationId xmlns:a16="http://schemas.microsoft.com/office/drawing/2014/main" id="{28CD4543-B35F-C7BE-C5DB-7DF0067C551A}"/>
              </a:ext>
            </a:extLst>
          </p:cNvPr>
          <p:cNvSpPr txBox="1"/>
          <p:nvPr/>
        </p:nvSpPr>
        <p:spPr>
          <a:xfrm>
            <a:off x="7843325" y="-85082"/>
            <a:ext cx="2667520" cy="461665"/>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3419957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DFDFD"/>
        </a:solidFill>
        <a:effectLst/>
      </p:bgPr>
    </p:bg>
    <p:spTree>
      <p:nvGrpSpPr>
        <p:cNvPr id="1" name=""/>
        <p:cNvGrpSpPr/>
        <p:nvPr/>
      </p:nvGrpSpPr>
      <p:grpSpPr>
        <a:xfrm>
          <a:off x="0" y="0"/>
          <a:ext cx="0" cy="0"/>
          <a:chOff x="0" y="0"/>
          <a:chExt cx="0" cy="0"/>
        </a:xfrm>
      </p:grpSpPr>
      <p:grpSp>
        <p:nvGrpSpPr>
          <p:cNvPr id="2" name="Group 2"/>
          <p:cNvGrpSpPr/>
          <p:nvPr/>
        </p:nvGrpSpPr>
        <p:grpSpPr>
          <a:xfrm>
            <a:off x="4632197" y="2587284"/>
            <a:ext cx="2409770" cy="2804096"/>
            <a:chOff x="0" y="0"/>
            <a:chExt cx="698500" cy="812800"/>
          </a:xfrm>
        </p:grpSpPr>
        <p:sp>
          <p:nvSpPr>
            <p:cNvPr id="3" name="Freeform 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C498B"/>
            </a:solidFill>
          </p:spPr>
        </p:sp>
        <p:sp>
          <p:nvSpPr>
            <p:cNvPr id="4" name="TextBox 4"/>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5" name="Group 5"/>
          <p:cNvGrpSpPr/>
          <p:nvPr/>
        </p:nvGrpSpPr>
        <p:grpSpPr>
          <a:xfrm>
            <a:off x="4022623" y="1413045"/>
            <a:ext cx="1331545" cy="1549435"/>
            <a:chOff x="0" y="0"/>
            <a:chExt cx="698500" cy="812800"/>
          </a:xfrm>
        </p:grpSpPr>
        <p:sp>
          <p:nvSpPr>
            <p:cNvPr id="6" name="Freeform 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sp>
        <p:sp>
          <p:nvSpPr>
            <p:cNvPr id="7" name="TextBox 7"/>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8" name="Group 8"/>
          <p:cNvGrpSpPr/>
          <p:nvPr/>
        </p:nvGrpSpPr>
        <p:grpSpPr>
          <a:xfrm>
            <a:off x="6424792" y="1413045"/>
            <a:ext cx="1331545" cy="1549435"/>
            <a:chOff x="0" y="0"/>
            <a:chExt cx="698500" cy="812800"/>
          </a:xfrm>
        </p:grpSpPr>
        <p:sp>
          <p:nvSpPr>
            <p:cNvPr id="9" name="Freeform 9"/>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C45ED1"/>
            </a:solidFill>
          </p:spPr>
        </p:sp>
        <p:sp>
          <p:nvSpPr>
            <p:cNvPr id="10" name="TextBox 10"/>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1" name="Group 11"/>
          <p:cNvGrpSpPr/>
          <p:nvPr/>
        </p:nvGrpSpPr>
        <p:grpSpPr>
          <a:xfrm>
            <a:off x="3223169" y="3128439"/>
            <a:ext cx="1313884" cy="1528883"/>
            <a:chOff x="0" y="0"/>
            <a:chExt cx="698500" cy="812800"/>
          </a:xfrm>
        </p:grpSpPr>
        <p:sp>
          <p:nvSpPr>
            <p:cNvPr id="12" name="Freeform 12"/>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sp>
        <p:sp>
          <p:nvSpPr>
            <p:cNvPr id="13" name="TextBox 13"/>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4" name="Group 14"/>
          <p:cNvGrpSpPr/>
          <p:nvPr/>
        </p:nvGrpSpPr>
        <p:grpSpPr>
          <a:xfrm>
            <a:off x="7173115" y="3128439"/>
            <a:ext cx="1313884" cy="1528883"/>
            <a:chOff x="0" y="0"/>
            <a:chExt cx="698500" cy="812800"/>
          </a:xfrm>
        </p:grpSpPr>
        <p:sp>
          <p:nvSpPr>
            <p:cNvPr id="15" name="Freeform 15"/>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sp>
        <p:sp>
          <p:nvSpPr>
            <p:cNvPr id="16" name="TextBox 16"/>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7" name="Group 17"/>
          <p:cNvGrpSpPr/>
          <p:nvPr/>
        </p:nvGrpSpPr>
        <p:grpSpPr>
          <a:xfrm>
            <a:off x="3880111" y="4987657"/>
            <a:ext cx="1285801" cy="1496205"/>
            <a:chOff x="0" y="0"/>
            <a:chExt cx="698500" cy="812800"/>
          </a:xfrm>
        </p:grpSpPr>
        <p:sp>
          <p:nvSpPr>
            <p:cNvPr id="18" name="Freeform 18"/>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sp>
        <p:sp>
          <p:nvSpPr>
            <p:cNvPr id="19" name="TextBox 19"/>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20" name="Group 20"/>
          <p:cNvGrpSpPr/>
          <p:nvPr/>
        </p:nvGrpSpPr>
        <p:grpSpPr>
          <a:xfrm>
            <a:off x="6537970" y="4987657"/>
            <a:ext cx="1285801" cy="1496205"/>
            <a:chOff x="0" y="0"/>
            <a:chExt cx="698500" cy="812800"/>
          </a:xfrm>
        </p:grpSpPr>
        <p:sp>
          <p:nvSpPr>
            <p:cNvPr id="21"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7ECF"/>
            </a:solidFill>
          </p:spPr>
        </p:sp>
        <p:sp>
          <p:nvSpPr>
            <p:cNvPr id="22" name="TextBox 22"/>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sp>
        <p:nvSpPr>
          <p:cNvPr id="23" name="Freeform 23"/>
          <p:cNvSpPr/>
          <p:nvPr/>
        </p:nvSpPr>
        <p:spPr>
          <a:xfrm>
            <a:off x="-727206" y="6780867"/>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24" name="Freeform 24"/>
          <p:cNvSpPr/>
          <p:nvPr/>
        </p:nvSpPr>
        <p:spPr>
          <a:xfrm>
            <a:off x="375869" y="484024"/>
            <a:ext cx="3069801"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25" name="Freeform 25"/>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27" name="Freeform 27"/>
          <p:cNvSpPr/>
          <p:nvPr/>
        </p:nvSpPr>
        <p:spPr>
          <a:xfrm>
            <a:off x="4133617" y="1863794"/>
            <a:ext cx="987780" cy="656130"/>
          </a:xfrm>
          <a:custGeom>
            <a:avLst/>
            <a:gdLst/>
            <a:ahLst/>
            <a:cxnLst/>
            <a:rect l="l" t="t" r="r" b="b"/>
            <a:pathLst>
              <a:path w="1481670" h="984195">
                <a:moveTo>
                  <a:pt x="0" y="0"/>
                </a:moveTo>
                <a:lnTo>
                  <a:pt x="1481670" y="0"/>
                </a:lnTo>
                <a:lnTo>
                  <a:pt x="1481670" y="984194"/>
                </a:lnTo>
                <a:lnTo>
                  <a:pt x="0" y="9841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8" name="Freeform 28"/>
          <p:cNvSpPr/>
          <p:nvPr/>
        </p:nvSpPr>
        <p:spPr>
          <a:xfrm>
            <a:off x="3438022" y="3567183"/>
            <a:ext cx="1005513" cy="613363"/>
          </a:xfrm>
          <a:custGeom>
            <a:avLst/>
            <a:gdLst/>
            <a:ahLst/>
            <a:cxnLst/>
            <a:rect l="l" t="t" r="r" b="b"/>
            <a:pathLst>
              <a:path w="1508270" h="920045">
                <a:moveTo>
                  <a:pt x="0" y="0"/>
                </a:moveTo>
                <a:lnTo>
                  <a:pt x="1508270" y="0"/>
                </a:lnTo>
                <a:lnTo>
                  <a:pt x="1508270" y="920045"/>
                </a:lnTo>
                <a:lnTo>
                  <a:pt x="0" y="92004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29" name="Freeform 29"/>
          <p:cNvSpPr/>
          <p:nvPr/>
        </p:nvSpPr>
        <p:spPr>
          <a:xfrm>
            <a:off x="4048019" y="5311105"/>
            <a:ext cx="791031" cy="791031"/>
          </a:xfrm>
          <a:custGeom>
            <a:avLst/>
            <a:gdLst/>
            <a:ahLst/>
            <a:cxnLst/>
            <a:rect l="l" t="t" r="r" b="b"/>
            <a:pathLst>
              <a:path w="1186546" h="1186546">
                <a:moveTo>
                  <a:pt x="0" y="0"/>
                </a:moveTo>
                <a:lnTo>
                  <a:pt x="1186546" y="0"/>
                </a:lnTo>
                <a:lnTo>
                  <a:pt x="1186546" y="1186546"/>
                </a:lnTo>
                <a:lnTo>
                  <a:pt x="0" y="1186546"/>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30" name="Freeform 30"/>
          <p:cNvSpPr/>
          <p:nvPr/>
        </p:nvSpPr>
        <p:spPr>
          <a:xfrm>
            <a:off x="6717491" y="1739170"/>
            <a:ext cx="784248" cy="685861"/>
          </a:xfrm>
          <a:custGeom>
            <a:avLst/>
            <a:gdLst/>
            <a:ahLst/>
            <a:cxnLst/>
            <a:rect l="l" t="t" r="r" b="b"/>
            <a:pathLst>
              <a:path w="1176372" h="1028791">
                <a:moveTo>
                  <a:pt x="0" y="0"/>
                </a:moveTo>
                <a:lnTo>
                  <a:pt x="1176372" y="0"/>
                </a:lnTo>
                <a:lnTo>
                  <a:pt x="1176372" y="1028791"/>
                </a:lnTo>
                <a:lnTo>
                  <a:pt x="0" y="1028791"/>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31" name="Freeform 31"/>
          <p:cNvSpPr/>
          <p:nvPr/>
        </p:nvSpPr>
        <p:spPr>
          <a:xfrm>
            <a:off x="7429650" y="3511255"/>
            <a:ext cx="801345" cy="725217"/>
          </a:xfrm>
          <a:custGeom>
            <a:avLst/>
            <a:gdLst/>
            <a:ahLst/>
            <a:cxnLst/>
            <a:rect l="l" t="t" r="r" b="b"/>
            <a:pathLst>
              <a:path w="1202018" h="1087826">
                <a:moveTo>
                  <a:pt x="0" y="0"/>
                </a:moveTo>
                <a:lnTo>
                  <a:pt x="1202018" y="0"/>
                </a:lnTo>
                <a:lnTo>
                  <a:pt x="1202018" y="1087827"/>
                </a:lnTo>
                <a:lnTo>
                  <a:pt x="0" y="1087827"/>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32" name="Freeform 32"/>
          <p:cNvSpPr/>
          <p:nvPr/>
        </p:nvSpPr>
        <p:spPr>
          <a:xfrm>
            <a:off x="6918620" y="5247872"/>
            <a:ext cx="602027" cy="946211"/>
          </a:xfrm>
          <a:custGeom>
            <a:avLst/>
            <a:gdLst/>
            <a:ahLst/>
            <a:cxnLst/>
            <a:rect l="l" t="t" r="r" b="b"/>
            <a:pathLst>
              <a:path w="903040" h="1419316">
                <a:moveTo>
                  <a:pt x="0" y="0"/>
                </a:moveTo>
                <a:lnTo>
                  <a:pt x="903039" y="0"/>
                </a:lnTo>
                <a:lnTo>
                  <a:pt x="903039" y="1419316"/>
                </a:lnTo>
                <a:lnTo>
                  <a:pt x="0" y="1419316"/>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sp>
        <p:nvSpPr>
          <p:cNvPr id="33" name="TextBox 33"/>
          <p:cNvSpPr txBox="1"/>
          <p:nvPr/>
        </p:nvSpPr>
        <p:spPr>
          <a:xfrm>
            <a:off x="-308363" y="1512272"/>
            <a:ext cx="4330985"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I-PROMOTE Implicit Bias Training Directory</a:t>
            </a:r>
          </a:p>
        </p:txBody>
      </p:sp>
      <p:sp>
        <p:nvSpPr>
          <p:cNvPr id="34" name="TextBox 34"/>
          <p:cNvSpPr txBox="1"/>
          <p:nvPr/>
        </p:nvSpPr>
        <p:spPr>
          <a:xfrm>
            <a:off x="810362" y="3169469"/>
            <a:ext cx="2093537"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E-Learning Modules</a:t>
            </a:r>
          </a:p>
        </p:txBody>
      </p:sp>
      <p:sp>
        <p:nvSpPr>
          <p:cNvPr id="35" name="TextBox 35"/>
          <p:cNvSpPr txBox="1"/>
          <p:nvPr/>
        </p:nvSpPr>
        <p:spPr>
          <a:xfrm>
            <a:off x="70952" y="3569064"/>
            <a:ext cx="3364637" cy="1049198"/>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National Health Start Association</a:t>
            </a:r>
          </a:p>
          <a:p>
            <a:pPr marL="331067" lvl="1" indent="-165534" algn="just">
              <a:lnSpc>
                <a:spcPts val="2147"/>
              </a:lnSpc>
              <a:buFont typeface="Arial"/>
              <a:buChar char="•"/>
            </a:pPr>
            <a:r>
              <a:rPr lang="en-US" sz="1533">
                <a:solidFill>
                  <a:srgbClr val="63696F"/>
                </a:solidFill>
                <a:latin typeface="Barlow"/>
              </a:rPr>
              <a:t>March of Dimes</a:t>
            </a:r>
          </a:p>
          <a:p>
            <a:pPr marL="331067" lvl="1" indent="-165534" algn="just">
              <a:lnSpc>
                <a:spcPts val="2147"/>
              </a:lnSpc>
              <a:buFont typeface="Arial"/>
              <a:buChar char="•"/>
            </a:pPr>
            <a:r>
              <a:rPr lang="en-US" sz="1533">
                <a:solidFill>
                  <a:srgbClr val="63696F"/>
                </a:solidFill>
                <a:latin typeface="Barlow"/>
              </a:rPr>
              <a:t>Think Cultural Health</a:t>
            </a:r>
          </a:p>
          <a:p>
            <a:pPr marL="331067" lvl="1" indent="-165534" algn="just">
              <a:lnSpc>
                <a:spcPts val="2147"/>
              </a:lnSpc>
              <a:spcBef>
                <a:spcPct val="0"/>
              </a:spcBef>
              <a:buFont typeface="Arial"/>
              <a:buChar char="•"/>
            </a:pPr>
            <a:r>
              <a:rPr lang="en-US" sz="1533">
                <a:solidFill>
                  <a:srgbClr val="63696F"/>
                </a:solidFill>
                <a:latin typeface="Barlow"/>
              </a:rPr>
              <a:t>Diversity Science</a:t>
            </a:r>
          </a:p>
        </p:txBody>
      </p:sp>
      <p:sp>
        <p:nvSpPr>
          <p:cNvPr id="36" name="TextBox 36"/>
          <p:cNvSpPr txBox="1"/>
          <p:nvPr/>
        </p:nvSpPr>
        <p:spPr>
          <a:xfrm>
            <a:off x="1614473" y="5273005"/>
            <a:ext cx="2093537" cy="265714"/>
          </a:xfrm>
          <a:prstGeom prst="rect">
            <a:avLst/>
          </a:prstGeom>
        </p:spPr>
        <p:txBody>
          <a:bodyPr lIns="0" tIns="0" rIns="0" bIns="0" rtlCol="0" anchor="t">
            <a:spAutoFit/>
          </a:bodyPr>
          <a:lstStyle/>
          <a:p>
            <a:pPr algn="ctr">
              <a:lnSpc>
                <a:spcPts val="2239"/>
              </a:lnSpc>
            </a:pPr>
            <a:r>
              <a:rPr lang="en-US" sz="1600">
                <a:solidFill>
                  <a:srgbClr val="000000"/>
                </a:solidFill>
                <a:latin typeface="Barlow Semi-Bold"/>
              </a:rPr>
              <a:t>Live Trainings</a:t>
            </a:r>
          </a:p>
        </p:txBody>
      </p:sp>
      <p:sp>
        <p:nvSpPr>
          <p:cNvPr id="37" name="TextBox 37"/>
          <p:cNvSpPr txBox="1"/>
          <p:nvPr/>
        </p:nvSpPr>
        <p:spPr>
          <a:xfrm>
            <a:off x="1562155" y="5600666"/>
            <a:ext cx="2403253" cy="510589"/>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PQI </a:t>
            </a:r>
            <a:r>
              <a:rPr lang="en-US" sz="1533" err="1">
                <a:solidFill>
                  <a:srgbClr val="63696F"/>
                </a:solidFill>
                <a:latin typeface="Barlow"/>
              </a:rPr>
              <a:t>SpeakUp</a:t>
            </a:r>
            <a:r>
              <a:rPr lang="en-US" sz="1533">
                <a:solidFill>
                  <a:srgbClr val="63696F"/>
                </a:solidFill>
                <a:latin typeface="Barlow"/>
              </a:rPr>
              <a:t> Training</a:t>
            </a:r>
          </a:p>
          <a:p>
            <a:pPr marL="331067" lvl="1" indent="-165534" algn="just">
              <a:lnSpc>
                <a:spcPts val="2147"/>
              </a:lnSpc>
              <a:buFont typeface="Arial"/>
              <a:buChar char="•"/>
            </a:pPr>
            <a:r>
              <a:rPr lang="en-US" sz="1533">
                <a:solidFill>
                  <a:srgbClr val="63696F"/>
                </a:solidFill>
                <a:latin typeface="Barlow"/>
              </a:rPr>
              <a:t>March of Dimes</a:t>
            </a:r>
          </a:p>
        </p:txBody>
      </p:sp>
      <p:sp>
        <p:nvSpPr>
          <p:cNvPr id="38" name="TextBox 38"/>
          <p:cNvSpPr txBox="1"/>
          <p:nvPr/>
        </p:nvSpPr>
        <p:spPr>
          <a:xfrm>
            <a:off x="8003749" y="1462309"/>
            <a:ext cx="3698763"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Listening to Parents and Family Voices</a:t>
            </a:r>
          </a:p>
        </p:txBody>
      </p:sp>
      <p:sp>
        <p:nvSpPr>
          <p:cNvPr id="39" name="TextBox 39"/>
          <p:cNvSpPr txBox="1"/>
          <p:nvPr/>
        </p:nvSpPr>
        <p:spPr>
          <a:xfrm>
            <a:off x="7830322" y="1789970"/>
            <a:ext cx="4106918" cy="779893"/>
          </a:xfrm>
          <a:prstGeom prst="rect">
            <a:avLst/>
          </a:prstGeom>
        </p:spPr>
        <p:txBody>
          <a:bodyPr lIns="0" tIns="0" rIns="0" bIns="0" rtlCol="0" anchor="t">
            <a:spAutoFit/>
          </a:bodyPr>
          <a:lstStyle/>
          <a:p>
            <a:pPr marL="330835" lvl="1" indent="-165100">
              <a:lnSpc>
                <a:spcPts val="2147"/>
              </a:lnSpc>
              <a:buFont typeface="Arial"/>
              <a:buChar char="•"/>
            </a:pPr>
            <a:r>
              <a:rPr lang="en-US" sz="1500">
                <a:solidFill>
                  <a:srgbClr val="63696F"/>
                </a:solidFill>
                <a:latin typeface="Barlow"/>
              </a:rPr>
              <a:t>The Illinois Maternal Health Digital Storytelling Project </a:t>
            </a:r>
            <a:endParaRPr lang="en-US"/>
          </a:p>
          <a:p>
            <a:pPr marL="330835" lvl="1" indent="-165100">
              <a:lnSpc>
                <a:spcPts val="2147"/>
              </a:lnSpc>
              <a:buFont typeface="Arial"/>
              <a:buChar char="•"/>
            </a:pPr>
            <a:r>
              <a:rPr lang="en-US" sz="1500">
                <a:solidFill>
                  <a:srgbClr val="63696F"/>
                </a:solidFill>
                <a:latin typeface="Barlow"/>
              </a:rPr>
              <a:t>CDC HEAR HER Campaign </a:t>
            </a:r>
          </a:p>
        </p:txBody>
      </p:sp>
      <p:sp>
        <p:nvSpPr>
          <p:cNvPr id="40" name="TextBox 40"/>
          <p:cNvSpPr txBox="1"/>
          <p:nvPr/>
        </p:nvSpPr>
        <p:spPr>
          <a:xfrm>
            <a:off x="8640926" y="3288849"/>
            <a:ext cx="3061585"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Tools to Facilitate Discussions</a:t>
            </a:r>
          </a:p>
        </p:txBody>
      </p:sp>
      <p:sp>
        <p:nvSpPr>
          <p:cNvPr id="41" name="TextBox 41"/>
          <p:cNvSpPr txBox="1"/>
          <p:nvPr/>
        </p:nvSpPr>
        <p:spPr>
          <a:xfrm>
            <a:off x="8473382" y="3529382"/>
            <a:ext cx="3449481"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Toxic – A Black Woman’s Story</a:t>
            </a:r>
            <a:endParaRPr lang="en-US" sz="1500">
              <a:solidFill>
                <a:srgbClr val="000000"/>
              </a:solidFill>
              <a:latin typeface="Calibri"/>
              <a:cs typeface="Calibri"/>
            </a:endParaRPr>
          </a:p>
          <a:p>
            <a:pPr marL="330835" lvl="1" indent="-165100">
              <a:lnSpc>
                <a:spcPts val="2147"/>
              </a:lnSpc>
              <a:buFont typeface="Arial"/>
              <a:buChar char="•"/>
            </a:pPr>
            <a:r>
              <a:rPr lang="en-US" sz="1500">
                <a:solidFill>
                  <a:srgbClr val="63696F"/>
                </a:solidFill>
                <a:latin typeface="Barlow"/>
              </a:rPr>
              <a:t>Laboring with Hope Film</a:t>
            </a:r>
            <a:endParaRPr lang="en-US" sz="1500">
              <a:cs typeface="Calibri"/>
            </a:endParaRPr>
          </a:p>
          <a:p>
            <a:pPr marL="330835" lvl="1" indent="-165100">
              <a:lnSpc>
                <a:spcPts val="2147"/>
              </a:lnSpc>
              <a:buFont typeface="Arial"/>
              <a:buChar char="•"/>
            </a:pPr>
            <a:r>
              <a:rPr lang="en-US" sz="1500">
                <a:solidFill>
                  <a:srgbClr val="63696F"/>
                </a:solidFill>
                <a:latin typeface="Barlow"/>
              </a:rPr>
              <a:t>Aftershock Film</a:t>
            </a:r>
          </a:p>
          <a:p>
            <a:pPr marL="330835" lvl="1" indent="-165100">
              <a:lnSpc>
                <a:spcPts val="2147"/>
              </a:lnSpc>
              <a:buFont typeface="Arial"/>
              <a:buChar char="•"/>
            </a:pPr>
            <a:r>
              <a:rPr lang="en-US" sz="1500">
                <a:solidFill>
                  <a:srgbClr val="63696F"/>
                </a:solidFill>
                <a:latin typeface="Barlow"/>
              </a:rPr>
              <a:t>PQI 21-day Anti-Racism Challenge</a:t>
            </a:r>
          </a:p>
        </p:txBody>
      </p:sp>
      <p:sp>
        <p:nvSpPr>
          <p:cNvPr id="42" name="TextBox 42"/>
          <p:cNvSpPr txBox="1"/>
          <p:nvPr/>
        </p:nvSpPr>
        <p:spPr>
          <a:xfrm>
            <a:off x="8003749" y="5115389"/>
            <a:ext cx="3933491"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Resources for Respectful Care Practices</a:t>
            </a:r>
          </a:p>
        </p:txBody>
      </p:sp>
      <p:sp>
        <p:nvSpPr>
          <p:cNvPr id="43" name="TextBox 43"/>
          <p:cNvSpPr txBox="1"/>
          <p:nvPr/>
        </p:nvSpPr>
        <p:spPr>
          <a:xfrm>
            <a:off x="7824163" y="5447842"/>
            <a:ext cx="4405185"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ILPQC Actionable Respectful Care Strategies </a:t>
            </a:r>
            <a:endParaRPr lang="en-US"/>
          </a:p>
          <a:p>
            <a:pPr marL="330835" lvl="1" indent="-165100">
              <a:lnSpc>
                <a:spcPts val="2147"/>
              </a:lnSpc>
              <a:buFont typeface="Arial"/>
              <a:buChar char="•"/>
            </a:pPr>
            <a:r>
              <a:rPr lang="en-US" sz="1500">
                <a:solidFill>
                  <a:srgbClr val="63696F"/>
                </a:solidFill>
                <a:latin typeface="Barlow"/>
              </a:rPr>
              <a:t>AWHONN Respectful Maternity Care Implementation Toolkit-</a:t>
            </a:r>
          </a:p>
          <a:p>
            <a:pPr marL="330835" lvl="1" indent="-165100">
              <a:lnSpc>
                <a:spcPts val="2147"/>
              </a:lnSpc>
              <a:buFont typeface="Arial"/>
              <a:buChar char="•"/>
            </a:pPr>
            <a:r>
              <a:rPr lang="en-US" sz="1500">
                <a:solidFill>
                  <a:srgbClr val="63696F"/>
                </a:solidFill>
                <a:latin typeface="Barlow"/>
              </a:rPr>
              <a:t>The SHARE Approach  to shared decision-making</a:t>
            </a:r>
          </a:p>
        </p:txBody>
      </p:sp>
      <p:sp>
        <p:nvSpPr>
          <p:cNvPr id="44" name="TextBox 44"/>
          <p:cNvSpPr txBox="1"/>
          <p:nvPr/>
        </p:nvSpPr>
        <p:spPr>
          <a:xfrm>
            <a:off x="570590"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5" name="TextBox 45"/>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6" name="TextBox 46"/>
          <p:cNvSpPr txBox="1"/>
          <p:nvPr/>
        </p:nvSpPr>
        <p:spPr>
          <a:xfrm>
            <a:off x="4721453" y="3190368"/>
            <a:ext cx="2362267" cy="313227"/>
          </a:xfrm>
          <a:prstGeom prst="rect">
            <a:avLst/>
          </a:prstGeom>
        </p:spPr>
        <p:txBody>
          <a:bodyPr lIns="0" tIns="0" rIns="0" bIns="0" rtlCol="0" anchor="t">
            <a:spAutoFit/>
          </a:bodyPr>
          <a:lstStyle/>
          <a:p>
            <a:pPr algn="ctr">
              <a:lnSpc>
                <a:spcPts val="2613"/>
              </a:lnSpc>
              <a:spcBef>
                <a:spcPct val="0"/>
              </a:spcBef>
            </a:pPr>
            <a:r>
              <a:rPr lang="en-US" sz="1866" u="sng">
                <a:solidFill>
                  <a:srgbClr val="FDFDFD"/>
                </a:solidFill>
                <a:latin typeface="Canva Sans Bold"/>
              </a:rPr>
              <a:t>Secondary Driver 1:</a:t>
            </a:r>
            <a:r>
              <a:rPr lang="en-US" sz="1866">
                <a:solidFill>
                  <a:srgbClr val="FDFDFD"/>
                </a:solidFill>
                <a:latin typeface="Canva Sans Bold"/>
              </a:rPr>
              <a:t> </a:t>
            </a:r>
          </a:p>
        </p:txBody>
      </p:sp>
      <p:sp>
        <p:nvSpPr>
          <p:cNvPr id="47" name="TextBox 47"/>
          <p:cNvSpPr txBox="1"/>
          <p:nvPr/>
        </p:nvSpPr>
        <p:spPr>
          <a:xfrm>
            <a:off x="186798" y="1824388"/>
            <a:ext cx="3622035" cy="779059"/>
          </a:xfrm>
          <a:prstGeom prst="rect">
            <a:avLst/>
          </a:prstGeom>
        </p:spPr>
        <p:txBody>
          <a:bodyPr lIns="0" tIns="0" rIns="0" bIns="0" rtlCol="0" anchor="t">
            <a:spAutoFit/>
          </a:bodyPr>
          <a:lstStyle/>
          <a:p>
            <a:pPr algn="ctr">
              <a:lnSpc>
                <a:spcPts val="2147"/>
              </a:lnSpc>
              <a:spcBef>
                <a:spcPct val="0"/>
              </a:spcBef>
            </a:pPr>
            <a:r>
              <a:rPr lang="en-US" sz="1500">
                <a:solidFill>
                  <a:srgbClr val="63696F"/>
                </a:solidFill>
                <a:latin typeface="Barlow"/>
              </a:rPr>
              <a:t>Inventory of implicit bias trainings available including the sponsoring organization, title, estimated completion time, and cost</a:t>
            </a:r>
          </a:p>
        </p:txBody>
      </p:sp>
      <p:sp>
        <p:nvSpPr>
          <p:cNvPr id="49" name="TextBox 49"/>
          <p:cNvSpPr txBox="1"/>
          <p:nvPr/>
        </p:nvSpPr>
        <p:spPr>
          <a:xfrm>
            <a:off x="4839050" y="3597777"/>
            <a:ext cx="2079570" cy="1162498"/>
          </a:xfrm>
          <a:prstGeom prst="rect">
            <a:avLst/>
          </a:prstGeom>
        </p:spPr>
        <p:txBody>
          <a:bodyPr lIns="0" tIns="0" rIns="0" bIns="0" rtlCol="0" anchor="t">
            <a:spAutoFit/>
          </a:bodyPr>
          <a:lstStyle/>
          <a:p>
            <a:pPr algn="ctr">
              <a:lnSpc>
                <a:spcPts val="2333"/>
              </a:lnSpc>
              <a:spcBef>
                <a:spcPct val="0"/>
              </a:spcBef>
            </a:pPr>
            <a:r>
              <a:rPr lang="en-US" sz="1666">
                <a:solidFill>
                  <a:srgbClr val="FDFDFD"/>
                </a:solidFill>
                <a:latin typeface="Canva Sans"/>
              </a:rPr>
              <a:t>Equitable and Respectful Care Education and Implementation </a:t>
            </a:r>
          </a:p>
        </p:txBody>
      </p:sp>
      <p:sp>
        <p:nvSpPr>
          <p:cNvPr id="51" name="Freeform 4">
            <a:extLst>
              <a:ext uri="{FF2B5EF4-FFF2-40B4-BE49-F238E27FC236}">
                <a16:creationId xmlns:a16="http://schemas.microsoft.com/office/drawing/2014/main" id="{DADB789B-D1D8-A439-C1FC-0121F131E706}"/>
              </a:ext>
            </a:extLst>
          </p:cNvPr>
          <p:cNvSpPr/>
          <p:nvPr/>
        </p:nvSpPr>
        <p:spPr>
          <a:xfrm>
            <a:off x="8564610" y="43476"/>
            <a:ext cx="1401505" cy="1264101"/>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sp>
      <p:sp>
        <p:nvSpPr>
          <p:cNvPr id="53" name="TextBox 19">
            <a:extLst>
              <a:ext uri="{FF2B5EF4-FFF2-40B4-BE49-F238E27FC236}">
                <a16:creationId xmlns:a16="http://schemas.microsoft.com/office/drawing/2014/main" id="{7AA1F7FA-AA52-FED3-1784-BE66C8A7FBFC}"/>
              </a:ext>
            </a:extLst>
          </p:cNvPr>
          <p:cNvSpPr txBox="1"/>
          <p:nvPr/>
        </p:nvSpPr>
        <p:spPr>
          <a:xfrm>
            <a:off x="9761891" y="888931"/>
            <a:ext cx="2532194"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5" name="Freeform 21">
            <a:extLst>
              <a:ext uri="{FF2B5EF4-FFF2-40B4-BE49-F238E27FC236}">
                <a16:creationId xmlns:a16="http://schemas.microsoft.com/office/drawing/2014/main" id="{20BABE46-A93F-751A-4C5F-3AC294D73230}"/>
              </a:ext>
            </a:extLst>
          </p:cNvPr>
          <p:cNvSpPr/>
          <p:nvPr/>
        </p:nvSpPr>
        <p:spPr>
          <a:xfrm>
            <a:off x="10381762" y="4223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23"/>
            <a:stretch>
              <a:fillRect/>
            </a:stretch>
          </a:blipFill>
        </p:spPr>
      </p:sp>
    </p:spTree>
    <p:extLst>
      <p:ext uri="{BB962C8B-B14F-4D97-AF65-F5344CB8AC3E}">
        <p14:creationId xmlns:p14="http://schemas.microsoft.com/office/powerpoint/2010/main" val="1536434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P spid="39" grpId="0"/>
      <p:bldP spid="41" grpId="0"/>
      <p:bldP spid="43" grpId="0"/>
      <p:bldP spid="47"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DFDFD"/>
        </a:solidFill>
        <a:effectLst/>
      </p:bgPr>
    </p:bg>
    <p:spTree>
      <p:nvGrpSpPr>
        <p:cNvPr id="1" name=""/>
        <p:cNvGrpSpPr/>
        <p:nvPr/>
      </p:nvGrpSpPr>
      <p:grpSpPr>
        <a:xfrm>
          <a:off x="0" y="0"/>
          <a:ext cx="0" cy="0"/>
          <a:chOff x="0" y="0"/>
          <a:chExt cx="0" cy="0"/>
        </a:xfrm>
      </p:grpSpPr>
      <p:sp>
        <p:nvSpPr>
          <p:cNvPr id="3" name="Freeform 3"/>
          <p:cNvSpPr/>
          <p:nvPr/>
        </p:nvSpPr>
        <p:spPr>
          <a:xfrm>
            <a:off x="6096000" y="2036092"/>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sp>
        <p:nvSpPr>
          <p:cNvPr id="4" name="Freeform 4"/>
          <p:cNvSpPr/>
          <p:nvPr/>
        </p:nvSpPr>
        <p:spPr>
          <a:xfrm>
            <a:off x="3471609"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sp>
        <p:nvSpPr>
          <p:cNvPr id="5" name="Freeform 5"/>
          <p:cNvSpPr/>
          <p:nvPr/>
        </p:nvSpPr>
        <p:spPr>
          <a:xfrm>
            <a:off x="9079451"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grpSp>
        <p:nvGrpSpPr>
          <p:cNvPr id="6" name="Group 6"/>
          <p:cNvGrpSpPr/>
          <p:nvPr/>
        </p:nvGrpSpPr>
        <p:grpSpPr>
          <a:xfrm>
            <a:off x="540761" y="4569353"/>
            <a:ext cx="2320458" cy="558429"/>
            <a:chOff x="0" y="0"/>
            <a:chExt cx="1688728" cy="406400"/>
          </a:xfrm>
        </p:grpSpPr>
        <p:sp>
          <p:nvSpPr>
            <p:cNvPr id="7" name="Freeform 7"/>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F58366"/>
            </a:solidFill>
          </p:spPr>
        </p:sp>
        <p:sp>
          <p:nvSpPr>
            <p:cNvPr id="8" name="TextBox 8"/>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915611" y="2518500"/>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sp>
        <p:sp>
          <p:nvSpPr>
            <p:cNvPr id="11" name="TextBox 1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3492857" y="3849008"/>
            <a:ext cx="2195435" cy="523384"/>
            <a:chOff x="0" y="0"/>
            <a:chExt cx="1704723" cy="406400"/>
          </a:xfrm>
        </p:grpSpPr>
        <p:sp>
          <p:nvSpPr>
            <p:cNvPr id="13" name="Freeform 13"/>
            <p:cNvSpPr/>
            <p:nvPr/>
          </p:nvSpPr>
          <p:spPr>
            <a:xfrm>
              <a:off x="0" y="0"/>
              <a:ext cx="1704723" cy="406400"/>
            </a:xfrm>
            <a:custGeom>
              <a:avLst/>
              <a:gdLst/>
              <a:ahLst/>
              <a:cxnLst/>
              <a:rect l="l" t="t" r="r" b="b"/>
              <a:pathLst>
                <a:path w="1704723" h="406400">
                  <a:moveTo>
                    <a:pt x="1501523" y="0"/>
                  </a:moveTo>
                  <a:cubicBezTo>
                    <a:pt x="1613747" y="0"/>
                    <a:pt x="1704723" y="90976"/>
                    <a:pt x="1704723" y="203200"/>
                  </a:cubicBezTo>
                  <a:cubicBezTo>
                    <a:pt x="1704723" y="315424"/>
                    <a:pt x="1613747" y="406400"/>
                    <a:pt x="1501523" y="406400"/>
                  </a:cubicBezTo>
                  <a:lnTo>
                    <a:pt x="203200" y="406400"/>
                  </a:lnTo>
                  <a:cubicBezTo>
                    <a:pt x="90976" y="406400"/>
                    <a:pt x="0" y="315424"/>
                    <a:pt x="0" y="203200"/>
                  </a:cubicBezTo>
                  <a:cubicBezTo>
                    <a:pt x="0" y="90976"/>
                    <a:pt x="90976" y="0"/>
                    <a:pt x="203200" y="0"/>
                  </a:cubicBezTo>
                  <a:close/>
                </a:path>
              </a:pathLst>
            </a:custGeom>
            <a:solidFill>
              <a:srgbClr val="F5668F"/>
            </a:solidFill>
          </p:spPr>
        </p:sp>
        <p:sp>
          <p:nvSpPr>
            <p:cNvPr id="14" name="TextBox 14"/>
            <p:cNvSpPr txBox="1"/>
            <p:nvPr/>
          </p:nvSpPr>
          <p:spPr>
            <a:xfrm>
              <a:off x="0" y="-57150"/>
              <a:ext cx="1704723" cy="463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3824565" y="1773777"/>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668F"/>
            </a:solidFill>
          </p:spPr>
        </p:sp>
        <p:sp>
          <p:nvSpPr>
            <p:cNvPr id="17" name="TextBox 1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8" name="Group 18"/>
          <p:cNvGrpSpPr/>
          <p:nvPr/>
        </p:nvGrpSpPr>
        <p:grpSpPr>
          <a:xfrm>
            <a:off x="9057698" y="3878037"/>
            <a:ext cx="2880299" cy="852503"/>
            <a:chOff x="0" y="0"/>
            <a:chExt cx="2236510" cy="661956"/>
          </a:xfrm>
        </p:grpSpPr>
        <p:sp>
          <p:nvSpPr>
            <p:cNvPr id="19" name="Freeform 19"/>
            <p:cNvSpPr/>
            <p:nvPr/>
          </p:nvSpPr>
          <p:spPr>
            <a:xfrm>
              <a:off x="0" y="0"/>
              <a:ext cx="2236510" cy="661956"/>
            </a:xfrm>
            <a:custGeom>
              <a:avLst/>
              <a:gdLst/>
              <a:ahLst/>
              <a:cxnLst/>
              <a:rect l="l" t="t" r="r" b="b"/>
              <a:pathLst>
                <a:path w="2236510" h="661956">
                  <a:moveTo>
                    <a:pt x="2033310" y="0"/>
                  </a:moveTo>
                  <a:cubicBezTo>
                    <a:pt x="2145534" y="0"/>
                    <a:pt x="2236510" y="148184"/>
                    <a:pt x="2236510" y="330978"/>
                  </a:cubicBezTo>
                  <a:cubicBezTo>
                    <a:pt x="2236510" y="513772"/>
                    <a:pt x="2145534" y="661956"/>
                    <a:pt x="2033310" y="661956"/>
                  </a:cubicBezTo>
                  <a:lnTo>
                    <a:pt x="203200" y="661956"/>
                  </a:lnTo>
                  <a:cubicBezTo>
                    <a:pt x="90976" y="661956"/>
                    <a:pt x="0" y="513772"/>
                    <a:pt x="0" y="330978"/>
                  </a:cubicBezTo>
                  <a:cubicBezTo>
                    <a:pt x="0" y="148184"/>
                    <a:pt x="90976" y="0"/>
                    <a:pt x="203200" y="0"/>
                  </a:cubicBezTo>
                  <a:close/>
                </a:path>
              </a:pathLst>
            </a:custGeom>
            <a:solidFill>
              <a:srgbClr val="1C498B"/>
            </a:solidFill>
          </p:spPr>
        </p:sp>
        <p:sp>
          <p:nvSpPr>
            <p:cNvPr id="20" name="TextBox 20"/>
            <p:cNvSpPr txBox="1"/>
            <p:nvPr/>
          </p:nvSpPr>
          <p:spPr>
            <a:xfrm>
              <a:off x="0" y="-57150"/>
              <a:ext cx="2236510" cy="719106"/>
            </a:xfrm>
            <a:prstGeom prst="rect">
              <a:avLst/>
            </a:prstGeom>
          </p:spPr>
          <p:txBody>
            <a:bodyPr lIns="33867" tIns="33867" rIns="33867" bIns="33867" rtlCol="0" anchor="ctr"/>
            <a:lstStyle/>
            <a:p>
              <a:pPr algn="ctr">
                <a:lnSpc>
                  <a:spcPts val="2239"/>
                </a:lnSpc>
              </a:pPr>
              <a:endParaRPr sz="800"/>
            </a:p>
          </p:txBody>
        </p:sp>
      </p:grpSp>
      <p:grpSp>
        <p:nvGrpSpPr>
          <p:cNvPr id="21" name="Group 21"/>
          <p:cNvGrpSpPr/>
          <p:nvPr/>
        </p:nvGrpSpPr>
        <p:grpSpPr>
          <a:xfrm>
            <a:off x="9642475" y="1773777"/>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C498B"/>
            </a:solidFill>
          </p:spPr>
        </p:sp>
        <p:sp>
          <p:nvSpPr>
            <p:cNvPr id="23" name="TextBox 23"/>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4" name="Group 24"/>
          <p:cNvGrpSpPr/>
          <p:nvPr/>
        </p:nvGrpSpPr>
        <p:grpSpPr>
          <a:xfrm>
            <a:off x="6457950" y="4465454"/>
            <a:ext cx="2381250" cy="627283"/>
            <a:chOff x="0" y="0"/>
            <a:chExt cx="1762718" cy="464346"/>
          </a:xfrm>
        </p:grpSpPr>
        <p:sp>
          <p:nvSpPr>
            <p:cNvPr id="25" name="Freeform 25"/>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6B95FD"/>
            </a:solidFill>
          </p:spPr>
        </p:sp>
        <p:sp>
          <p:nvSpPr>
            <p:cNvPr id="26" name="TextBox 26"/>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7" name="Group 27"/>
          <p:cNvGrpSpPr/>
          <p:nvPr/>
        </p:nvGrpSpPr>
        <p:grpSpPr>
          <a:xfrm>
            <a:off x="6733520" y="2518500"/>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B95FD"/>
            </a:solidFill>
          </p:spPr>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31" name="Freeform 31"/>
          <p:cNvSpPr/>
          <p:nvPr/>
        </p:nvSpPr>
        <p:spPr>
          <a:xfrm>
            <a:off x="313239" y="484024"/>
            <a:ext cx="3153307"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2" name="Freeform 32"/>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34" name="Freeform 34"/>
          <p:cNvSpPr/>
          <p:nvPr/>
        </p:nvSpPr>
        <p:spPr>
          <a:xfrm>
            <a:off x="6964264" y="2721892"/>
            <a:ext cx="1403171" cy="1371600"/>
          </a:xfrm>
          <a:custGeom>
            <a:avLst/>
            <a:gdLst/>
            <a:ahLst/>
            <a:cxnLst/>
            <a:rect l="l" t="t" r="r" b="b"/>
            <a:pathLst>
              <a:path w="2104757" h="2057400">
                <a:moveTo>
                  <a:pt x="0" y="0"/>
                </a:moveTo>
                <a:lnTo>
                  <a:pt x="2104757" y="0"/>
                </a:lnTo>
                <a:lnTo>
                  <a:pt x="2104757" y="2057400"/>
                </a:lnTo>
                <a:lnTo>
                  <a:pt x="0" y="20574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5" name="Freeform 35"/>
          <p:cNvSpPr/>
          <p:nvPr/>
        </p:nvSpPr>
        <p:spPr>
          <a:xfrm>
            <a:off x="9906439" y="2025585"/>
            <a:ext cx="1130300" cy="1130300"/>
          </a:xfrm>
          <a:custGeom>
            <a:avLst/>
            <a:gdLst/>
            <a:ahLst/>
            <a:cxnLst/>
            <a:rect l="l" t="t" r="r" b="b"/>
            <a:pathLst>
              <a:path w="1695450" h="1695450">
                <a:moveTo>
                  <a:pt x="0" y="0"/>
                </a:moveTo>
                <a:lnTo>
                  <a:pt x="1695450" y="0"/>
                </a:lnTo>
                <a:lnTo>
                  <a:pt x="1695450" y="1695450"/>
                </a:lnTo>
                <a:lnTo>
                  <a:pt x="0" y="169545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36" name="Freeform 36"/>
          <p:cNvSpPr/>
          <p:nvPr/>
        </p:nvSpPr>
        <p:spPr>
          <a:xfrm>
            <a:off x="4006374" y="2189779"/>
            <a:ext cx="1314610" cy="801912"/>
          </a:xfrm>
          <a:custGeom>
            <a:avLst/>
            <a:gdLst/>
            <a:ahLst/>
            <a:cxnLst/>
            <a:rect l="l" t="t" r="r" b="b"/>
            <a:pathLst>
              <a:path w="1971915" h="1202868">
                <a:moveTo>
                  <a:pt x="0" y="0"/>
                </a:moveTo>
                <a:lnTo>
                  <a:pt x="1971915" y="0"/>
                </a:lnTo>
                <a:lnTo>
                  <a:pt x="1971915" y="1202868"/>
                </a:lnTo>
                <a:lnTo>
                  <a:pt x="0" y="120286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37" name="Freeform 37"/>
          <p:cNvSpPr/>
          <p:nvPr/>
        </p:nvSpPr>
        <p:spPr>
          <a:xfrm>
            <a:off x="1299819" y="2760375"/>
            <a:ext cx="865499" cy="1150165"/>
          </a:xfrm>
          <a:custGeom>
            <a:avLst/>
            <a:gdLst/>
            <a:ahLst/>
            <a:cxnLst/>
            <a:rect l="l" t="t" r="r" b="b"/>
            <a:pathLst>
              <a:path w="1298249" h="1725248">
                <a:moveTo>
                  <a:pt x="0" y="0"/>
                </a:moveTo>
                <a:lnTo>
                  <a:pt x="1298249" y="0"/>
                </a:lnTo>
                <a:lnTo>
                  <a:pt x="1298249" y="1725247"/>
                </a:lnTo>
                <a:lnTo>
                  <a:pt x="0" y="172524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38" name="TextBox 38"/>
          <p:cNvSpPr txBox="1"/>
          <p:nvPr/>
        </p:nvSpPr>
        <p:spPr>
          <a:xfrm>
            <a:off x="685800" y="4692440"/>
            <a:ext cx="2093537" cy="252633"/>
          </a:xfrm>
          <a:prstGeom prst="rect">
            <a:avLst/>
          </a:prstGeom>
        </p:spPr>
        <p:txBody>
          <a:bodyPr lIns="0" tIns="0" rIns="0" bIns="0" rtlCol="0" anchor="t">
            <a:spAutoFit/>
          </a:bodyPr>
          <a:lstStyle/>
          <a:p>
            <a:pPr algn="ctr">
              <a:lnSpc>
                <a:spcPts val="2239"/>
              </a:lnSpc>
            </a:pPr>
            <a:r>
              <a:rPr lang="en-US" sz="1600">
                <a:solidFill>
                  <a:srgbClr val="FDFDFD"/>
                </a:solidFill>
                <a:latin typeface="Barlow Bold"/>
              </a:rPr>
              <a:t>AAP Technical Report</a:t>
            </a:r>
          </a:p>
        </p:txBody>
      </p:sp>
      <p:sp>
        <p:nvSpPr>
          <p:cNvPr id="39" name="TextBox 39"/>
          <p:cNvSpPr txBox="1"/>
          <p:nvPr/>
        </p:nvSpPr>
        <p:spPr>
          <a:xfrm>
            <a:off x="576665" y="5148565"/>
            <a:ext cx="2339567" cy="1435201"/>
          </a:xfrm>
          <a:prstGeom prst="rect">
            <a:avLst/>
          </a:prstGeom>
        </p:spPr>
        <p:txBody>
          <a:bodyPr lIns="0" tIns="0" rIns="0" bIns="0" rtlCol="0" anchor="t">
            <a:spAutoFit/>
          </a:bodyPr>
          <a:lstStyle/>
          <a:p>
            <a:pPr algn="ctr">
              <a:lnSpc>
                <a:spcPts val="1867"/>
              </a:lnSpc>
              <a:spcBef>
                <a:spcPct val="0"/>
              </a:spcBef>
            </a:pPr>
            <a:r>
              <a:rPr lang="en-US" sz="1400">
                <a:solidFill>
                  <a:srgbClr val="63696F"/>
                </a:solidFill>
                <a:latin typeface="Barlow Medium"/>
              </a:rPr>
              <a:t>Evidence Base for 2022 Updated Recommendations for a Safe Infant Sleeping Environment to Reduce the Risk of Sleep-Related Infant Deaths </a:t>
            </a:r>
          </a:p>
        </p:txBody>
      </p:sp>
      <p:sp>
        <p:nvSpPr>
          <p:cNvPr id="40" name="TextBox 40"/>
          <p:cNvSpPr txBox="1"/>
          <p:nvPr/>
        </p:nvSpPr>
        <p:spPr>
          <a:xfrm>
            <a:off x="3594755" y="3947717"/>
            <a:ext cx="2093537" cy="277640"/>
          </a:xfrm>
          <a:prstGeom prst="rect">
            <a:avLst/>
          </a:prstGeom>
        </p:spPr>
        <p:txBody>
          <a:bodyPr lIns="0" tIns="0" rIns="0" bIns="0" rtlCol="0" anchor="t">
            <a:spAutoFit/>
          </a:bodyPr>
          <a:lstStyle/>
          <a:p>
            <a:pPr algn="ctr">
              <a:lnSpc>
                <a:spcPts val="2333"/>
              </a:lnSpc>
            </a:pPr>
            <a:r>
              <a:rPr lang="en-US" sz="1666">
                <a:solidFill>
                  <a:srgbClr val="FDFDFD"/>
                </a:solidFill>
                <a:latin typeface="Barlow Semi-Bold"/>
              </a:rPr>
              <a:t>E-Learning Modules</a:t>
            </a:r>
          </a:p>
        </p:txBody>
      </p:sp>
      <p:sp>
        <p:nvSpPr>
          <p:cNvPr id="41" name="TextBox 41"/>
          <p:cNvSpPr txBox="1"/>
          <p:nvPr/>
        </p:nvSpPr>
        <p:spPr>
          <a:xfrm>
            <a:off x="3223169" y="4543953"/>
            <a:ext cx="2872831" cy="2115131"/>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Cribs for Kids: Hospital-Wide Infant Safe Sleep Training</a:t>
            </a:r>
            <a:endParaRPr lang="en-US" sz="1450"/>
          </a:p>
          <a:p>
            <a:pPr marL="316230" lvl="1" indent="-158115">
              <a:lnSpc>
                <a:spcPts val="2053"/>
              </a:lnSpc>
              <a:buFont typeface="Arial"/>
              <a:buChar char="•"/>
            </a:pPr>
            <a:r>
              <a:rPr lang="en-US" sz="1450">
                <a:solidFill>
                  <a:srgbClr val="63696F"/>
                </a:solidFill>
                <a:latin typeface="Barlow Medium"/>
              </a:rPr>
              <a:t>Cribs for Kids Safe Sleep Ambassador Education Outreach Program </a:t>
            </a:r>
          </a:p>
          <a:p>
            <a:pPr marL="316230" lvl="1" indent="-158115">
              <a:lnSpc>
                <a:spcPts val="2053"/>
              </a:lnSpc>
              <a:spcBef>
                <a:spcPct val="0"/>
              </a:spcBef>
              <a:buFont typeface="Arial"/>
              <a:buChar char="•"/>
            </a:pPr>
            <a:r>
              <a:rPr lang="en-US" sz="1450">
                <a:solidFill>
                  <a:srgbClr val="63696F"/>
                </a:solidFill>
                <a:latin typeface="Barlow Medium"/>
              </a:rPr>
              <a:t>NIH Safe to Sleep Provider Training and Materials </a:t>
            </a:r>
          </a:p>
          <a:p>
            <a:pPr algn="ctr">
              <a:lnSpc>
                <a:spcPts val="1960"/>
              </a:lnSpc>
              <a:spcBef>
                <a:spcPct val="0"/>
              </a:spcBef>
            </a:pPr>
            <a:endParaRPr lang="en-US" sz="1467">
              <a:solidFill>
                <a:srgbClr val="63696F"/>
              </a:solidFill>
              <a:latin typeface="Barlow Medium"/>
            </a:endParaRPr>
          </a:p>
        </p:txBody>
      </p:sp>
      <p:sp>
        <p:nvSpPr>
          <p:cNvPr id="42" name="TextBox 42"/>
          <p:cNvSpPr txBox="1"/>
          <p:nvPr/>
        </p:nvSpPr>
        <p:spPr>
          <a:xfrm>
            <a:off x="9159320" y="3992167"/>
            <a:ext cx="2710688" cy="654025"/>
          </a:xfrm>
          <a:prstGeom prst="rect">
            <a:avLst/>
          </a:prstGeom>
        </p:spPr>
        <p:txBody>
          <a:bodyPr lIns="0" tIns="0" rIns="0" bIns="0" rtlCol="0" anchor="t">
            <a:spAutoFit/>
          </a:bodyPr>
          <a:lstStyle/>
          <a:p>
            <a:pPr algn="ctr">
              <a:lnSpc>
                <a:spcPts val="1731"/>
              </a:lnSpc>
            </a:pPr>
            <a:r>
              <a:rPr lang="en-US" sz="1467">
                <a:solidFill>
                  <a:srgbClr val="FDFDFD"/>
                </a:solidFill>
                <a:latin typeface="Barlow Semi-Bold"/>
              </a:rPr>
              <a:t>Encourage meaningful, culturally appropriate, respectful, nonjudgmental conversations. </a:t>
            </a:r>
          </a:p>
        </p:txBody>
      </p:sp>
      <p:sp>
        <p:nvSpPr>
          <p:cNvPr id="43" name="TextBox 43"/>
          <p:cNvSpPr txBox="1"/>
          <p:nvPr/>
        </p:nvSpPr>
        <p:spPr>
          <a:xfrm>
            <a:off x="9200838" y="4890084"/>
            <a:ext cx="2914611" cy="1047082"/>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AAP Safe Sleep Communication Strategies </a:t>
            </a:r>
            <a:endParaRPr lang="en-US"/>
          </a:p>
          <a:p>
            <a:pPr marL="316230" lvl="1" indent="-158115">
              <a:lnSpc>
                <a:spcPts val="2053"/>
              </a:lnSpc>
              <a:buFont typeface="Arial"/>
              <a:buChar char="•"/>
            </a:pPr>
            <a:r>
              <a:rPr lang="en-US" sz="1450">
                <a:solidFill>
                  <a:srgbClr val="63696F"/>
                </a:solidFill>
                <a:latin typeface="Barlow Medium"/>
              </a:rPr>
              <a:t>NICHQ Building on Campaigns with Conversation</a:t>
            </a:r>
          </a:p>
        </p:txBody>
      </p:sp>
      <p:sp>
        <p:nvSpPr>
          <p:cNvPr id="44" name="TextBox 44"/>
          <p:cNvSpPr txBox="1"/>
          <p:nvPr/>
        </p:nvSpPr>
        <p:spPr>
          <a:xfrm>
            <a:off x="6580542" y="4581531"/>
            <a:ext cx="2193897" cy="520976"/>
          </a:xfrm>
          <a:prstGeom prst="rect">
            <a:avLst/>
          </a:prstGeom>
        </p:spPr>
        <p:txBody>
          <a:bodyPr lIns="0" tIns="0" rIns="0" bIns="0" rtlCol="0" anchor="t">
            <a:spAutoFit/>
          </a:bodyPr>
          <a:lstStyle/>
          <a:p>
            <a:pPr algn="ctr">
              <a:lnSpc>
                <a:spcPts val="2053"/>
              </a:lnSpc>
            </a:pPr>
            <a:r>
              <a:rPr lang="en-US" sz="1467">
                <a:solidFill>
                  <a:srgbClr val="FDFDFD"/>
                </a:solidFill>
                <a:latin typeface="Barlow Semi-Bold"/>
              </a:rPr>
              <a:t>Endorse and Model a Safe Sleep Environment</a:t>
            </a:r>
          </a:p>
        </p:txBody>
      </p:sp>
      <p:sp>
        <p:nvSpPr>
          <p:cNvPr id="45" name="TextBox 45"/>
          <p:cNvSpPr txBox="1"/>
          <p:nvPr/>
        </p:nvSpPr>
        <p:spPr>
          <a:xfrm>
            <a:off x="6006042" y="5150827"/>
            <a:ext cx="3195016" cy="1585690"/>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NYSPQC Safe Sleep Crib Cards</a:t>
            </a:r>
            <a:endParaRPr lang="en-US" sz="1450"/>
          </a:p>
          <a:p>
            <a:pPr marL="316230" lvl="1" indent="-158115">
              <a:lnSpc>
                <a:spcPts val="2053"/>
              </a:lnSpc>
              <a:buFont typeface="Arial"/>
              <a:buChar char="•"/>
            </a:pPr>
            <a:r>
              <a:rPr lang="en-US" sz="1450">
                <a:solidFill>
                  <a:srgbClr val="63696F"/>
                </a:solidFill>
                <a:latin typeface="Barlow Medium"/>
              </a:rPr>
              <a:t>Audit tools   </a:t>
            </a:r>
          </a:p>
          <a:p>
            <a:pPr marL="316230" lvl="1" indent="-158115">
              <a:lnSpc>
                <a:spcPts val="2053"/>
              </a:lnSpc>
              <a:buFont typeface="Arial"/>
              <a:buChar char="•"/>
            </a:pPr>
            <a:r>
              <a:rPr lang="en-US" sz="1450">
                <a:solidFill>
                  <a:srgbClr val="63696F"/>
                </a:solidFill>
                <a:latin typeface="Barlow Medium"/>
              </a:rPr>
              <a:t>Cribs for Kids T</a:t>
            </a:r>
            <a:r>
              <a:rPr lang="en-US" sz="1500">
                <a:solidFill>
                  <a:srgbClr val="63696F"/>
                </a:solidFill>
                <a:ea typeface="+mn-lt"/>
                <a:cs typeface="+mn-lt"/>
              </a:rPr>
              <a:t>oolkit &amp; Resources </a:t>
            </a:r>
            <a:r>
              <a:rPr lang="en-US" sz="1450">
                <a:solidFill>
                  <a:srgbClr val="63696F"/>
                </a:solidFill>
                <a:latin typeface="Barlow Medium"/>
              </a:rPr>
              <a:t> </a:t>
            </a:r>
          </a:p>
          <a:p>
            <a:pPr marL="316230" lvl="1" indent="-158115">
              <a:lnSpc>
                <a:spcPts val="2053"/>
              </a:lnSpc>
              <a:buFont typeface="Arial"/>
              <a:buChar char="•"/>
            </a:pPr>
            <a:r>
              <a:rPr lang="en-US" sz="1450">
                <a:solidFill>
                  <a:srgbClr val="63696F"/>
                </a:solidFill>
                <a:latin typeface="Barlow Medium"/>
              </a:rPr>
              <a:t>Modeling Safe Practices: A Checklist for Infant Sleep &amp; Breastfeeding Images</a:t>
            </a:r>
          </a:p>
        </p:txBody>
      </p:sp>
      <p:sp>
        <p:nvSpPr>
          <p:cNvPr id="46" name="TextBox 46"/>
          <p:cNvSpPr txBox="1"/>
          <p:nvPr/>
        </p:nvSpPr>
        <p:spPr>
          <a:xfrm>
            <a:off x="539275"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7" name="TextBox 47"/>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9" name="Freeform 4">
            <a:extLst>
              <a:ext uri="{FF2B5EF4-FFF2-40B4-BE49-F238E27FC236}">
                <a16:creationId xmlns:a16="http://schemas.microsoft.com/office/drawing/2014/main" id="{4FD6BDF7-E6F5-6DC8-9332-E3E0DB7057F0}"/>
              </a:ext>
            </a:extLst>
          </p:cNvPr>
          <p:cNvSpPr/>
          <p:nvPr/>
        </p:nvSpPr>
        <p:spPr>
          <a:xfrm>
            <a:off x="8257369" y="226246"/>
            <a:ext cx="1848385" cy="130585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51" name="TextBox 19">
            <a:extLst>
              <a:ext uri="{FF2B5EF4-FFF2-40B4-BE49-F238E27FC236}">
                <a16:creationId xmlns:a16="http://schemas.microsoft.com/office/drawing/2014/main" id="{233EFC40-2641-E728-F412-79899FC6D0D7}"/>
              </a:ext>
            </a:extLst>
          </p:cNvPr>
          <p:cNvSpPr txBox="1"/>
          <p:nvPr/>
        </p:nvSpPr>
        <p:spPr>
          <a:xfrm>
            <a:off x="9910059" y="1086120"/>
            <a:ext cx="2503437"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3" name="Freeform 21">
            <a:extLst>
              <a:ext uri="{FF2B5EF4-FFF2-40B4-BE49-F238E27FC236}">
                <a16:creationId xmlns:a16="http://schemas.microsoft.com/office/drawing/2014/main" id="{66360ABF-1F2C-C63A-9187-17E2573B3DEB}"/>
              </a:ext>
            </a:extLst>
          </p:cNvPr>
          <p:cNvSpPr/>
          <p:nvPr/>
        </p:nvSpPr>
        <p:spPr>
          <a:xfrm>
            <a:off x="10256502" y="6310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8"/>
            <a:stretch>
              <a:fillRect/>
            </a:stretch>
          </a:blipFill>
        </p:spPr>
      </p:sp>
      <p:sp>
        <p:nvSpPr>
          <p:cNvPr id="33" name="TextBox 28">
            <a:extLst>
              <a:ext uri="{FF2B5EF4-FFF2-40B4-BE49-F238E27FC236}">
                <a16:creationId xmlns:a16="http://schemas.microsoft.com/office/drawing/2014/main" id="{5C2A740E-7A02-31A5-EAAF-9CD8C0A41D47}"/>
              </a:ext>
            </a:extLst>
          </p:cNvPr>
          <p:cNvSpPr txBox="1"/>
          <p:nvPr/>
        </p:nvSpPr>
        <p:spPr>
          <a:xfrm>
            <a:off x="368618" y="1329778"/>
            <a:ext cx="7795642" cy="270395"/>
          </a:xfrm>
          <a:prstGeom prst="rect">
            <a:avLst/>
          </a:prstGeom>
        </p:spPr>
        <p:txBody>
          <a:bodyPr lIns="0" tIns="0" rIns="0" bIns="0" rtlCol="0" anchor="t">
            <a:spAutoFit/>
          </a:bodyPr>
          <a:lstStyle/>
          <a:p>
            <a:pPr>
              <a:lnSpc>
                <a:spcPts val="2127"/>
              </a:lnSpc>
            </a:pPr>
            <a:r>
              <a:rPr lang="en-US" sz="1900">
                <a:solidFill>
                  <a:srgbClr val="545454"/>
                </a:solidFill>
                <a:latin typeface="DM Sans"/>
              </a:rPr>
              <a:t>Secondary Driver 2: </a:t>
            </a:r>
            <a:r>
              <a:rPr lang="en-US" sz="1900">
                <a:solidFill>
                  <a:srgbClr val="545454"/>
                </a:solidFill>
                <a:ea typeface="+mn-lt"/>
                <a:cs typeface="+mn-lt"/>
              </a:rPr>
              <a:t>Safe Sleep Environment Education and Implementation</a:t>
            </a:r>
            <a:endParaRPr lang="en-US">
              <a:ea typeface="Calibri"/>
              <a:cs typeface="Calibri"/>
            </a:endParaRPr>
          </a:p>
        </p:txBody>
      </p:sp>
    </p:spTree>
    <p:extLst>
      <p:ext uri="{BB962C8B-B14F-4D97-AF65-F5344CB8AC3E}">
        <p14:creationId xmlns:p14="http://schemas.microsoft.com/office/powerpoint/2010/main" val="3845418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3" grpId="0"/>
      <p:bldP spid="4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24</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46842" y="1604897"/>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8496B0C4-3602-7272-3A32-22184B4B8223}"/>
              </a:ext>
            </a:extLst>
          </p:cNvPr>
          <p:cNvSpPr/>
          <p:nvPr/>
        </p:nvSpPr>
        <p:spPr>
          <a:xfrm>
            <a:off x="4350185" y="1406568"/>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ea typeface="Calibri"/>
                <a:cs typeface="Calibri"/>
              </a:rPr>
              <a:t>2</a:t>
            </a:r>
          </a:p>
        </p:txBody>
      </p:sp>
    </p:spTree>
    <p:extLst>
      <p:ext uri="{BB962C8B-B14F-4D97-AF65-F5344CB8AC3E}">
        <p14:creationId xmlns:p14="http://schemas.microsoft.com/office/powerpoint/2010/main" val="2561278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0" name="Straight Arrow Connector 79">
            <a:extLst>
              <a:ext uri="{FF2B5EF4-FFF2-40B4-BE49-F238E27FC236}">
                <a16:creationId xmlns:a16="http://schemas.microsoft.com/office/drawing/2014/main" id="{CAF7AEDC-38D6-4104-8736-1AFA4E6298B5}"/>
              </a:ext>
            </a:extLst>
          </p:cNvPr>
          <p:cNvCxnSpPr>
            <a:cxnSpLocks/>
          </p:cNvCxnSpPr>
          <p:nvPr/>
        </p:nvCxnSpPr>
        <p:spPr>
          <a:xfrm flipV="1">
            <a:off x="4591684" y="4278421"/>
            <a:ext cx="1117977" cy="39414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B8EE064-ABA2-EBF9-9A28-B95446D8989F}"/>
              </a:ext>
            </a:extLst>
          </p:cNvPr>
          <p:cNvCxnSpPr>
            <a:cxnSpLocks/>
          </p:cNvCxnSpPr>
          <p:nvPr/>
        </p:nvCxnSpPr>
        <p:spPr>
          <a:xfrm>
            <a:off x="4668988" y="4694655"/>
            <a:ext cx="1073804" cy="57767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3" name="Group 3"/>
          <p:cNvGrpSpPr/>
          <p:nvPr/>
        </p:nvGrpSpPr>
        <p:grpSpPr>
          <a:xfrm>
            <a:off x="5704980" y="3954518"/>
            <a:ext cx="5457846" cy="690737"/>
            <a:chOff x="0" y="0"/>
            <a:chExt cx="2156186" cy="272884"/>
          </a:xfrm>
        </p:grpSpPr>
        <p:sp>
          <p:nvSpPr>
            <p:cNvPr id="4" name="Freeform 4"/>
            <p:cNvSpPr/>
            <p:nvPr/>
          </p:nvSpPr>
          <p:spPr>
            <a:xfrm>
              <a:off x="0" y="0"/>
              <a:ext cx="2156186" cy="272884"/>
            </a:xfrm>
            <a:custGeom>
              <a:avLst/>
              <a:gdLst/>
              <a:ahLst/>
              <a:cxnLst/>
              <a:rect l="l" t="t" r="r" b="b"/>
              <a:pathLst>
                <a:path w="2156186" h="272884">
                  <a:moveTo>
                    <a:pt x="28370" y="0"/>
                  </a:moveTo>
                  <a:lnTo>
                    <a:pt x="2127816" y="0"/>
                  </a:lnTo>
                  <a:cubicBezTo>
                    <a:pt x="2143484" y="0"/>
                    <a:pt x="2156186" y="12702"/>
                    <a:pt x="2156186" y="28370"/>
                  </a:cubicBezTo>
                  <a:lnTo>
                    <a:pt x="2156186" y="244514"/>
                  </a:lnTo>
                  <a:cubicBezTo>
                    <a:pt x="2156186" y="260182"/>
                    <a:pt x="2143484" y="272884"/>
                    <a:pt x="2127816" y="272884"/>
                  </a:cubicBezTo>
                  <a:lnTo>
                    <a:pt x="28370" y="272884"/>
                  </a:lnTo>
                  <a:cubicBezTo>
                    <a:pt x="12702" y="272884"/>
                    <a:pt x="0" y="260182"/>
                    <a:pt x="0" y="244514"/>
                  </a:cubicBezTo>
                  <a:lnTo>
                    <a:pt x="0" y="28370"/>
                  </a:lnTo>
                  <a:cubicBezTo>
                    <a:pt x="0" y="12702"/>
                    <a:pt x="12702" y="0"/>
                    <a:pt x="28370" y="0"/>
                  </a:cubicBezTo>
                  <a:close/>
                </a:path>
              </a:pathLst>
            </a:custGeom>
            <a:solidFill>
              <a:srgbClr val="F4B03D"/>
            </a:solidFill>
          </p:spPr>
        </p:sp>
        <p:sp>
          <p:nvSpPr>
            <p:cNvPr id="5" name="TextBox 5"/>
            <p:cNvSpPr txBox="1"/>
            <p:nvPr/>
          </p:nvSpPr>
          <p:spPr>
            <a:xfrm>
              <a:off x="0" y="-38100"/>
              <a:ext cx="2156186" cy="310984"/>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6" name="Group 6"/>
          <p:cNvGrpSpPr/>
          <p:nvPr/>
        </p:nvGrpSpPr>
        <p:grpSpPr>
          <a:xfrm>
            <a:off x="5704980" y="3105991"/>
            <a:ext cx="5457846" cy="690737"/>
            <a:chOff x="0" y="0"/>
            <a:chExt cx="2156186" cy="272884"/>
          </a:xfrm>
        </p:grpSpPr>
        <p:sp>
          <p:nvSpPr>
            <p:cNvPr id="7" name="Freeform 7"/>
            <p:cNvSpPr/>
            <p:nvPr/>
          </p:nvSpPr>
          <p:spPr>
            <a:xfrm>
              <a:off x="0" y="0"/>
              <a:ext cx="2156186" cy="272884"/>
            </a:xfrm>
            <a:custGeom>
              <a:avLst/>
              <a:gdLst/>
              <a:ahLst/>
              <a:cxnLst/>
              <a:rect l="l" t="t" r="r" b="b"/>
              <a:pathLst>
                <a:path w="2156186" h="272884">
                  <a:moveTo>
                    <a:pt x="28370" y="0"/>
                  </a:moveTo>
                  <a:lnTo>
                    <a:pt x="2127816" y="0"/>
                  </a:lnTo>
                  <a:cubicBezTo>
                    <a:pt x="2143484" y="0"/>
                    <a:pt x="2156186" y="12702"/>
                    <a:pt x="2156186" y="28370"/>
                  </a:cubicBezTo>
                  <a:lnTo>
                    <a:pt x="2156186" y="244514"/>
                  </a:lnTo>
                  <a:cubicBezTo>
                    <a:pt x="2156186" y="260182"/>
                    <a:pt x="2143484" y="272884"/>
                    <a:pt x="2127816" y="272884"/>
                  </a:cubicBezTo>
                  <a:lnTo>
                    <a:pt x="28370" y="272884"/>
                  </a:lnTo>
                  <a:cubicBezTo>
                    <a:pt x="12702" y="272884"/>
                    <a:pt x="0" y="260182"/>
                    <a:pt x="0" y="244514"/>
                  </a:cubicBezTo>
                  <a:lnTo>
                    <a:pt x="0" y="28370"/>
                  </a:lnTo>
                  <a:cubicBezTo>
                    <a:pt x="0" y="12702"/>
                    <a:pt x="12702" y="0"/>
                    <a:pt x="28370" y="0"/>
                  </a:cubicBezTo>
                  <a:close/>
                </a:path>
              </a:pathLst>
            </a:custGeom>
            <a:solidFill>
              <a:srgbClr val="BD4291"/>
            </a:solidFill>
          </p:spPr>
        </p:sp>
        <p:sp>
          <p:nvSpPr>
            <p:cNvPr id="8" name="TextBox 8"/>
            <p:cNvSpPr txBox="1"/>
            <p:nvPr/>
          </p:nvSpPr>
          <p:spPr>
            <a:xfrm>
              <a:off x="0" y="-38100"/>
              <a:ext cx="2156186" cy="310984"/>
            </a:xfrm>
            <a:prstGeom prst="rect">
              <a:avLst/>
            </a:prstGeom>
          </p:spPr>
          <p:txBody>
            <a:bodyPr lIns="33867" tIns="33867" rIns="33867" bIns="33867" rtlCol="0" anchor="ctr"/>
            <a:lstStyle/>
            <a:p>
              <a:pPr algn="ctr">
                <a:lnSpc>
                  <a:spcPts val="1882"/>
                </a:lnSpc>
              </a:pPr>
              <a:endParaRPr sz="800"/>
            </a:p>
          </p:txBody>
        </p:sp>
      </p:grpSp>
      <p:grpSp>
        <p:nvGrpSpPr>
          <p:cNvPr id="9" name="Group 9"/>
          <p:cNvGrpSpPr/>
          <p:nvPr/>
        </p:nvGrpSpPr>
        <p:grpSpPr>
          <a:xfrm>
            <a:off x="5704980" y="1384498"/>
            <a:ext cx="5457846" cy="712690"/>
            <a:chOff x="0" y="0"/>
            <a:chExt cx="2156186" cy="281557"/>
          </a:xfrm>
        </p:grpSpPr>
        <p:sp>
          <p:nvSpPr>
            <p:cNvPr id="10" name="Freeform 10"/>
            <p:cNvSpPr/>
            <p:nvPr/>
          </p:nvSpPr>
          <p:spPr>
            <a:xfrm>
              <a:off x="0" y="0"/>
              <a:ext cx="2156186" cy="281557"/>
            </a:xfrm>
            <a:custGeom>
              <a:avLst/>
              <a:gdLst/>
              <a:ahLst/>
              <a:cxnLst/>
              <a:rect l="l" t="t" r="r" b="b"/>
              <a:pathLst>
                <a:path w="2156186" h="281557">
                  <a:moveTo>
                    <a:pt x="28370" y="0"/>
                  </a:moveTo>
                  <a:lnTo>
                    <a:pt x="2127816" y="0"/>
                  </a:lnTo>
                  <a:cubicBezTo>
                    <a:pt x="2143484" y="0"/>
                    <a:pt x="2156186" y="12702"/>
                    <a:pt x="2156186" y="28370"/>
                  </a:cubicBezTo>
                  <a:lnTo>
                    <a:pt x="2156186" y="253187"/>
                  </a:lnTo>
                  <a:cubicBezTo>
                    <a:pt x="2156186" y="268855"/>
                    <a:pt x="2143484" y="281557"/>
                    <a:pt x="2127816" y="281557"/>
                  </a:cubicBezTo>
                  <a:lnTo>
                    <a:pt x="28370" y="281557"/>
                  </a:lnTo>
                  <a:cubicBezTo>
                    <a:pt x="20846" y="281557"/>
                    <a:pt x="13630" y="278568"/>
                    <a:pt x="8309" y="273247"/>
                  </a:cubicBezTo>
                  <a:cubicBezTo>
                    <a:pt x="2989" y="267927"/>
                    <a:pt x="0" y="260711"/>
                    <a:pt x="0" y="253187"/>
                  </a:cubicBezTo>
                  <a:lnTo>
                    <a:pt x="0" y="28370"/>
                  </a:lnTo>
                  <a:cubicBezTo>
                    <a:pt x="0" y="12702"/>
                    <a:pt x="12702" y="0"/>
                    <a:pt x="28370" y="0"/>
                  </a:cubicBezTo>
                  <a:close/>
                </a:path>
              </a:pathLst>
            </a:custGeom>
            <a:solidFill>
              <a:srgbClr val="53BF9D"/>
            </a:solidFill>
          </p:spPr>
        </p:sp>
        <p:sp>
          <p:nvSpPr>
            <p:cNvPr id="11" name="TextBox 11"/>
            <p:cNvSpPr txBox="1"/>
            <p:nvPr/>
          </p:nvSpPr>
          <p:spPr>
            <a:xfrm>
              <a:off x="0" y="-38100"/>
              <a:ext cx="2156186" cy="319657"/>
            </a:xfrm>
            <a:prstGeom prst="rect">
              <a:avLst/>
            </a:prstGeom>
          </p:spPr>
          <p:txBody>
            <a:bodyPr lIns="33867" tIns="33867" rIns="33867" bIns="33867" rtlCol="0" anchor="ctr"/>
            <a:lstStyle/>
            <a:p>
              <a:pPr algn="ctr">
                <a:lnSpc>
                  <a:spcPts val="1882"/>
                </a:lnSpc>
              </a:pPr>
              <a:endParaRPr sz="800"/>
            </a:p>
          </p:txBody>
        </p:sp>
      </p:grpSp>
      <p:grpSp>
        <p:nvGrpSpPr>
          <p:cNvPr id="12" name="Group 12"/>
          <p:cNvGrpSpPr/>
          <p:nvPr/>
        </p:nvGrpSpPr>
        <p:grpSpPr>
          <a:xfrm>
            <a:off x="5704980" y="312642"/>
            <a:ext cx="5457846" cy="802002"/>
            <a:chOff x="0" y="0"/>
            <a:chExt cx="2156186" cy="316840"/>
          </a:xfrm>
        </p:grpSpPr>
        <p:sp>
          <p:nvSpPr>
            <p:cNvPr id="13" name="Freeform 13"/>
            <p:cNvSpPr/>
            <p:nvPr/>
          </p:nvSpPr>
          <p:spPr>
            <a:xfrm>
              <a:off x="0" y="0"/>
              <a:ext cx="2156186" cy="316840"/>
            </a:xfrm>
            <a:custGeom>
              <a:avLst/>
              <a:gdLst/>
              <a:ahLst/>
              <a:cxnLst/>
              <a:rect l="l" t="t" r="r" b="b"/>
              <a:pathLst>
                <a:path w="2156186" h="316840">
                  <a:moveTo>
                    <a:pt x="28370" y="0"/>
                  </a:moveTo>
                  <a:lnTo>
                    <a:pt x="2127816" y="0"/>
                  </a:lnTo>
                  <a:cubicBezTo>
                    <a:pt x="2143484" y="0"/>
                    <a:pt x="2156186" y="12702"/>
                    <a:pt x="2156186" y="28370"/>
                  </a:cubicBezTo>
                  <a:lnTo>
                    <a:pt x="2156186" y="288470"/>
                  </a:lnTo>
                  <a:cubicBezTo>
                    <a:pt x="2156186" y="304139"/>
                    <a:pt x="2143484" y="316840"/>
                    <a:pt x="2127816" y="316840"/>
                  </a:cubicBezTo>
                  <a:lnTo>
                    <a:pt x="28370" y="316840"/>
                  </a:lnTo>
                  <a:cubicBezTo>
                    <a:pt x="12702" y="316840"/>
                    <a:pt x="0" y="304139"/>
                    <a:pt x="0" y="288470"/>
                  </a:cubicBezTo>
                  <a:lnTo>
                    <a:pt x="0" y="28370"/>
                  </a:lnTo>
                  <a:cubicBezTo>
                    <a:pt x="0" y="12702"/>
                    <a:pt x="12702" y="0"/>
                    <a:pt x="28370" y="0"/>
                  </a:cubicBezTo>
                  <a:close/>
                </a:path>
              </a:pathLst>
            </a:custGeom>
            <a:solidFill>
              <a:srgbClr val="F94C66"/>
            </a:solidFill>
          </p:spPr>
        </p:sp>
        <p:sp>
          <p:nvSpPr>
            <p:cNvPr id="14" name="TextBox 14"/>
            <p:cNvSpPr txBox="1"/>
            <p:nvPr/>
          </p:nvSpPr>
          <p:spPr>
            <a:xfrm>
              <a:off x="0" y="-38100"/>
              <a:ext cx="2156186" cy="354940"/>
            </a:xfrm>
            <a:prstGeom prst="rect">
              <a:avLst/>
            </a:prstGeom>
          </p:spPr>
          <p:txBody>
            <a:bodyPr lIns="33867" tIns="33867" rIns="33867" bIns="33867" rtlCol="0" anchor="ctr"/>
            <a:lstStyle/>
            <a:p>
              <a:pPr algn="ctr">
                <a:lnSpc>
                  <a:spcPts val="1882"/>
                </a:lnSpc>
              </a:pPr>
              <a:endParaRPr sz="800"/>
            </a:p>
          </p:txBody>
        </p:sp>
      </p:grpSp>
      <p:sp>
        <p:nvSpPr>
          <p:cNvPr id="15" name="AutoShape 15"/>
          <p:cNvSpPr/>
          <p:nvPr/>
        </p:nvSpPr>
        <p:spPr>
          <a:xfrm flipV="1">
            <a:off x="6822806" y="386555"/>
            <a:ext cx="0" cy="570703"/>
          </a:xfrm>
          <a:prstGeom prst="line">
            <a:avLst/>
          </a:prstGeom>
          <a:ln w="38100" cap="flat">
            <a:solidFill>
              <a:srgbClr val="FFFFFF"/>
            </a:solidFill>
            <a:prstDash val="solid"/>
            <a:headEnd type="none" w="sm" len="sm"/>
            <a:tailEnd type="none" w="sm" len="sm"/>
          </a:ln>
        </p:spPr>
      </p:sp>
      <p:sp>
        <p:nvSpPr>
          <p:cNvPr id="16" name="AutoShape 16"/>
          <p:cNvSpPr/>
          <p:nvPr/>
        </p:nvSpPr>
        <p:spPr>
          <a:xfrm flipV="1">
            <a:off x="6822806" y="2327850"/>
            <a:ext cx="0" cy="570703"/>
          </a:xfrm>
          <a:prstGeom prst="line">
            <a:avLst/>
          </a:prstGeom>
          <a:ln w="38100" cap="flat">
            <a:solidFill>
              <a:srgbClr val="FFFFFF"/>
            </a:solidFill>
            <a:prstDash val="solid"/>
            <a:headEnd type="none" w="sm" len="sm"/>
            <a:tailEnd type="none" w="sm" len="sm"/>
          </a:ln>
        </p:spPr>
      </p:sp>
      <p:sp>
        <p:nvSpPr>
          <p:cNvPr id="17" name="AutoShape 17"/>
          <p:cNvSpPr/>
          <p:nvPr/>
        </p:nvSpPr>
        <p:spPr>
          <a:xfrm flipV="1">
            <a:off x="6873606" y="3266649"/>
            <a:ext cx="0" cy="570703"/>
          </a:xfrm>
          <a:prstGeom prst="line">
            <a:avLst/>
          </a:prstGeom>
          <a:ln w="38100" cap="flat">
            <a:solidFill>
              <a:srgbClr val="FFFFFF"/>
            </a:solidFill>
            <a:prstDash val="solid"/>
            <a:headEnd type="none" w="sm" len="sm"/>
            <a:tailEnd type="none" w="sm" len="sm"/>
          </a:ln>
        </p:spPr>
      </p:sp>
      <p:sp>
        <p:nvSpPr>
          <p:cNvPr id="18" name="AutoShape 18"/>
          <p:cNvSpPr/>
          <p:nvPr/>
        </p:nvSpPr>
        <p:spPr>
          <a:xfrm flipV="1">
            <a:off x="6860906" y="4019521"/>
            <a:ext cx="0" cy="570703"/>
          </a:xfrm>
          <a:prstGeom prst="line">
            <a:avLst/>
          </a:prstGeom>
          <a:ln w="38100" cap="flat">
            <a:solidFill>
              <a:srgbClr val="FFFFFF"/>
            </a:solidFill>
            <a:prstDash val="solid"/>
            <a:headEnd type="none" w="sm" len="sm"/>
            <a:tailEnd type="none" w="sm" len="sm"/>
          </a:ln>
        </p:spPr>
      </p:sp>
      <p:sp>
        <p:nvSpPr>
          <p:cNvPr id="19" name="AutoShape 19"/>
          <p:cNvSpPr/>
          <p:nvPr/>
        </p:nvSpPr>
        <p:spPr>
          <a:xfrm>
            <a:off x="5781679" y="1251147"/>
            <a:ext cx="1488295" cy="0"/>
          </a:xfrm>
          <a:prstGeom prst="line">
            <a:avLst/>
          </a:prstGeom>
          <a:ln w="38100" cap="flat">
            <a:solidFill>
              <a:srgbClr val="000000"/>
            </a:solidFill>
            <a:prstDash val="solid"/>
            <a:headEnd type="none" w="sm" len="sm"/>
            <a:tailEnd type="none" w="sm" len="sm"/>
          </a:ln>
        </p:spPr>
      </p:sp>
      <p:sp>
        <p:nvSpPr>
          <p:cNvPr id="20" name="Freeform 20"/>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21" name="Freeform 21"/>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2" name="Group 22"/>
          <p:cNvGrpSpPr/>
          <p:nvPr/>
        </p:nvGrpSpPr>
        <p:grpSpPr>
          <a:xfrm>
            <a:off x="11377921" y="6168748"/>
            <a:ext cx="1368800" cy="1368800"/>
            <a:chOff x="0" y="0"/>
            <a:chExt cx="812800" cy="812800"/>
          </a:xfrm>
        </p:grpSpPr>
        <p:sp>
          <p:nvSpPr>
            <p:cNvPr id="23" name="Freeform 2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4" name="TextBox 2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5" name="Group 25"/>
          <p:cNvGrpSpPr/>
          <p:nvPr/>
        </p:nvGrpSpPr>
        <p:grpSpPr>
          <a:xfrm>
            <a:off x="-415216" y="-654827"/>
            <a:ext cx="1368800" cy="1368800"/>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7" name="TextBox 2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8" name="Freeform 28"/>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29" name="Freeform 29"/>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0" name="Freeform 30"/>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1" name="Freeform 31"/>
          <p:cNvSpPr/>
          <p:nvPr/>
        </p:nvSpPr>
        <p:spPr>
          <a:xfrm>
            <a:off x="10379742" y="5896323"/>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grpSp>
        <p:nvGrpSpPr>
          <p:cNvPr id="32" name="Group 32"/>
          <p:cNvGrpSpPr/>
          <p:nvPr/>
        </p:nvGrpSpPr>
        <p:grpSpPr>
          <a:xfrm>
            <a:off x="685801" y="311578"/>
            <a:ext cx="3816499" cy="803066"/>
            <a:chOff x="0" y="0"/>
            <a:chExt cx="1300650" cy="273682"/>
          </a:xfrm>
        </p:grpSpPr>
        <p:sp>
          <p:nvSpPr>
            <p:cNvPr id="33" name="Freeform 33"/>
            <p:cNvSpPr/>
            <p:nvPr/>
          </p:nvSpPr>
          <p:spPr>
            <a:xfrm>
              <a:off x="0" y="0"/>
              <a:ext cx="1300650" cy="273682"/>
            </a:xfrm>
            <a:custGeom>
              <a:avLst/>
              <a:gdLst/>
              <a:ahLst/>
              <a:cxnLst/>
              <a:rect l="l" t="t" r="r" b="b"/>
              <a:pathLst>
                <a:path w="1300650" h="273682">
                  <a:moveTo>
                    <a:pt x="27047" y="0"/>
                  </a:moveTo>
                  <a:lnTo>
                    <a:pt x="1273603" y="0"/>
                  </a:lnTo>
                  <a:cubicBezTo>
                    <a:pt x="1288541" y="0"/>
                    <a:pt x="1300650" y="12109"/>
                    <a:pt x="1300650" y="27047"/>
                  </a:cubicBezTo>
                  <a:lnTo>
                    <a:pt x="1300650" y="246635"/>
                  </a:lnTo>
                  <a:cubicBezTo>
                    <a:pt x="1300650" y="253808"/>
                    <a:pt x="1297800" y="260688"/>
                    <a:pt x="1292728" y="265760"/>
                  </a:cubicBezTo>
                  <a:cubicBezTo>
                    <a:pt x="1287656" y="270833"/>
                    <a:pt x="1280776" y="273682"/>
                    <a:pt x="1273603" y="273682"/>
                  </a:cubicBezTo>
                  <a:lnTo>
                    <a:pt x="27047" y="273682"/>
                  </a:lnTo>
                  <a:cubicBezTo>
                    <a:pt x="19874" y="273682"/>
                    <a:pt x="12994" y="270833"/>
                    <a:pt x="7922" y="265760"/>
                  </a:cubicBezTo>
                  <a:cubicBezTo>
                    <a:pt x="2850" y="260688"/>
                    <a:pt x="0" y="253808"/>
                    <a:pt x="0" y="246635"/>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34" name="TextBox 34"/>
            <p:cNvSpPr txBox="1"/>
            <p:nvPr/>
          </p:nvSpPr>
          <p:spPr>
            <a:xfrm>
              <a:off x="0" y="-38100"/>
              <a:ext cx="1300650" cy="311782"/>
            </a:xfrm>
            <a:prstGeom prst="rect">
              <a:avLst/>
            </a:prstGeom>
          </p:spPr>
          <p:txBody>
            <a:bodyPr lIns="33867" tIns="33867" rIns="33867" bIns="33867" rtlCol="0" anchor="ctr"/>
            <a:lstStyle/>
            <a:p>
              <a:pPr algn="ctr">
                <a:lnSpc>
                  <a:spcPts val="1882"/>
                </a:lnSpc>
              </a:pPr>
              <a:endParaRPr sz="800"/>
            </a:p>
          </p:txBody>
        </p:sp>
      </p:grpSp>
      <p:grpSp>
        <p:nvGrpSpPr>
          <p:cNvPr id="35" name="Group 35"/>
          <p:cNvGrpSpPr/>
          <p:nvPr/>
        </p:nvGrpSpPr>
        <p:grpSpPr>
          <a:xfrm>
            <a:off x="715243" y="1789179"/>
            <a:ext cx="3787056" cy="782540"/>
            <a:chOff x="0" y="0"/>
            <a:chExt cx="1290616" cy="266687"/>
          </a:xfrm>
        </p:grpSpPr>
        <p:sp>
          <p:nvSpPr>
            <p:cNvPr id="36" name="Freeform 36"/>
            <p:cNvSpPr/>
            <p:nvPr/>
          </p:nvSpPr>
          <p:spPr>
            <a:xfrm>
              <a:off x="0" y="0"/>
              <a:ext cx="1290616" cy="266687"/>
            </a:xfrm>
            <a:custGeom>
              <a:avLst/>
              <a:gdLst/>
              <a:ahLst/>
              <a:cxnLst/>
              <a:rect l="l" t="t" r="r" b="b"/>
              <a:pathLst>
                <a:path w="1290616" h="266687">
                  <a:moveTo>
                    <a:pt x="27257" y="0"/>
                  </a:moveTo>
                  <a:lnTo>
                    <a:pt x="1263358" y="0"/>
                  </a:lnTo>
                  <a:cubicBezTo>
                    <a:pt x="1270587" y="0"/>
                    <a:pt x="1277520" y="2872"/>
                    <a:pt x="1282632" y="7984"/>
                  </a:cubicBezTo>
                  <a:cubicBezTo>
                    <a:pt x="1287744" y="13095"/>
                    <a:pt x="1290616" y="20028"/>
                    <a:pt x="1290616" y="27257"/>
                  </a:cubicBezTo>
                  <a:lnTo>
                    <a:pt x="1290616" y="239430"/>
                  </a:lnTo>
                  <a:cubicBezTo>
                    <a:pt x="1290616" y="254483"/>
                    <a:pt x="1278412" y="266687"/>
                    <a:pt x="1263358" y="266687"/>
                  </a:cubicBezTo>
                  <a:lnTo>
                    <a:pt x="27257" y="266687"/>
                  </a:lnTo>
                  <a:cubicBezTo>
                    <a:pt x="12204" y="266687"/>
                    <a:pt x="0" y="254483"/>
                    <a:pt x="0" y="239430"/>
                  </a:cubicBezTo>
                  <a:lnTo>
                    <a:pt x="0" y="27257"/>
                  </a:lnTo>
                  <a:cubicBezTo>
                    <a:pt x="0" y="12204"/>
                    <a:pt x="12204" y="0"/>
                    <a:pt x="27257" y="0"/>
                  </a:cubicBezTo>
                  <a:close/>
                </a:path>
              </a:pathLst>
            </a:custGeom>
            <a:solidFill>
              <a:srgbClr val="FFFFFF"/>
            </a:solidFill>
            <a:ln w="57150" cap="sq">
              <a:solidFill>
                <a:srgbClr val="BD4291"/>
              </a:solidFill>
              <a:prstDash val="solid"/>
              <a:miter/>
            </a:ln>
          </p:spPr>
        </p:sp>
        <p:sp>
          <p:nvSpPr>
            <p:cNvPr id="37" name="TextBox 37"/>
            <p:cNvSpPr txBox="1"/>
            <p:nvPr/>
          </p:nvSpPr>
          <p:spPr>
            <a:xfrm>
              <a:off x="0" y="-38100"/>
              <a:ext cx="1290616" cy="304787"/>
            </a:xfrm>
            <a:prstGeom prst="rect">
              <a:avLst/>
            </a:prstGeom>
          </p:spPr>
          <p:txBody>
            <a:bodyPr lIns="33867" tIns="33867" rIns="33867" bIns="33867" rtlCol="0" anchor="ctr"/>
            <a:lstStyle/>
            <a:p>
              <a:pPr algn="ctr">
                <a:lnSpc>
                  <a:spcPts val="1882"/>
                </a:lnSpc>
              </a:pPr>
              <a:endParaRPr sz="800"/>
            </a:p>
          </p:txBody>
        </p:sp>
      </p:grpSp>
      <p:grpSp>
        <p:nvGrpSpPr>
          <p:cNvPr id="38" name="Group 38"/>
          <p:cNvGrpSpPr/>
          <p:nvPr/>
        </p:nvGrpSpPr>
        <p:grpSpPr>
          <a:xfrm>
            <a:off x="5704980" y="2128344"/>
            <a:ext cx="5457846" cy="750493"/>
            <a:chOff x="0" y="0"/>
            <a:chExt cx="2156186" cy="296491"/>
          </a:xfrm>
        </p:grpSpPr>
        <p:sp>
          <p:nvSpPr>
            <p:cNvPr id="39" name="Freeform 39"/>
            <p:cNvSpPr/>
            <p:nvPr/>
          </p:nvSpPr>
          <p:spPr>
            <a:xfrm>
              <a:off x="0" y="0"/>
              <a:ext cx="2156186" cy="296491"/>
            </a:xfrm>
            <a:custGeom>
              <a:avLst/>
              <a:gdLst/>
              <a:ahLst/>
              <a:cxnLst/>
              <a:rect l="l" t="t" r="r" b="b"/>
              <a:pathLst>
                <a:path w="2156186" h="296491">
                  <a:moveTo>
                    <a:pt x="28370" y="0"/>
                  </a:moveTo>
                  <a:lnTo>
                    <a:pt x="2127816" y="0"/>
                  </a:lnTo>
                  <a:cubicBezTo>
                    <a:pt x="2143484" y="0"/>
                    <a:pt x="2156186" y="12702"/>
                    <a:pt x="2156186" y="28370"/>
                  </a:cubicBezTo>
                  <a:lnTo>
                    <a:pt x="2156186" y="268121"/>
                  </a:lnTo>
                  <a:cubicBezTo>
                    <a:pt x="2156186" y="283790"/>
                    <a:pt x="2143484" y="296491"/>
                    <a:pt x="2127816" y="296491"/>
                  </a:cubicBezTo>
                  <a:lnTo>
                    <a:pt x="28370" y="296491"/>
                  </a:lnTo>
                  <a:cubicBezTo>
                    <a:pt x="12702" y="296491"/>
                    <a:pt x="0" y="283790"/>
                    <a:pt x="0" y="268121"/>
                  </a:cubicBezTo>
                  <a:lnTo>
                    <a:pt x="0" y="28370"/>
                  </a:lnTo>
                  <a:cubicBezTo>
                    <a:pt x="0" y="12702"/>
                    <a:pt x="12702" y="0"/>
                    <a:pt x="28370" y="0"/>
                  </a:cubicBezTo>
                  <a:close/>
                </a:path>
              </a:pathLst>
            </a:custGeom>
            <a:solidFill>
              <a:srgbClr val="4373A4"/>
            </a:solidFill>
          </p:spPr>
        </p:sp>
        <p:sp>
          <p:nvSpPr>
            <p:cNvPr id="40" name="TextBox 40"/>
            <p:cNvSpPr txBox="1"/>
            <p:nvPr/>
          </p:nvSpPr>
          <p:spPr>
            <a:xfrm>
              <a:off x="0" y="-38100"/>
              <a:ext cx="2156186" cy="334591"/>
            </a:xfrm>
            <a:prstGeom prst="rect">
              <a:avLst/>
            </a:prstGeom>
          </p:spPr>
          <p:txBody>
            <a:bodyPr lIns="33867" tIns="33867" rIns="33867" bIns="33867" rtlCol="0" anchor="ctr"/>
            <a:lstStyle/>
            <a:p>
              <a:pPr algn="ctr">
                <a:lnSpc>
                  <a:spcPts val="1882"/>
                </a:lnSpc>
              </a:pPr>
              <a:endParaRPr sz="800"/>
            </a:p>
          </p:txBody>
        </p:sp>
      </p:grpSp>
      <p:sp>
        <p:nvSpPr>
          <p:cNvPr id="41" name="Freeform 41"/>
          <p:cNvSpPr/>
          <p:nvPr/>
        </p:nvSpPr>
        <p:spPr>
          <a:xfrm>
            <a:off x="3385149" y="2984793"/>
            <a:ext cx="1365135" cy="969246"/>
          </a:xfrm>
          <a:custGeom>
            <a:avLst/>
            <a:gdLst/>
            <a:ahLst/>
            <a:cxnLst/>
            <a:rect l="l" t="t" r="r" b="b"/>
            <a:pathLst>
              <a:path w="2047703" h="1453869">
                <a:moveTo>
                  <a:pt x="0" y="0"/>
                </a:moveTo>
                <a:lnTo>
                  <a:pt x="2047703" y="0"/>
                </a:lnTo>
                <a:lnTo>
                  <a:pt x="2047703" y="1453869"/>
                </a:lnTo>
                <a:lnTo>
                  <a:pt x="0" y="145386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2" name="AutoShape 42"/>
          <p:cNvSpPr/>
          <p:nvPr/>
        </p:nvSpPr>
        <p:spPr>
          <a:xfrm flipV="1">
            <a:off x="6848206" y="2255939"/>
            <a:ext cx="0" cy="570703"/>
          </a:xfrm>
          <a:prstGeom prst="line">
            <a:avLst/>
          </a:prstGeom>
          <a:ln w="38100" cap="flat">
            <a:solidFill>
              <a:srgbClr val="FFFFFF"/>
            </a:solidFill>
            <a:prstDash val="solid"/>
            <a:headEnd type="none" w="sm" len="sm"/>
            <a:tailEnd type="none" w="sm" len="sm"/>
          </a:ln>
        </p:spPr>
      </p:sp>
      <p:sp>
        <p:nvSpPr>
          <p:cNvPr id="43" name="AutoShape 43"/>
          <p:cNvSpPr/>
          <p:nvPr/>
        </p:nvSpPr>
        <p:spPr>
          <a:xfrm>
            <a:off x="5781679" y="3035181"/>
            <a:ext cx="1488295" cy="0"/>
          </a:xfrm>
          <a:prstGeom prst="line">
            <a:avLst/>
          </a:prstGeom>
          <a:ln w="38100" cap="flat">
            <a:solidFill>
              <a:srgbClr val="000000"/>
            </a:solidFill>
            <a:prstDash val="solid"/>
            <a:headEnd type="none" w="sm" len="sm"/>
            <a:tailEnd type="none" w="sm" len="sm"/>
          </a:ln>
        </p:spPr>
      </p:sp>
      <p:sp>
        <p:nvSpPr>
          <p:cNvPr id="44" name="AutoShape 44"/>
          <p:cNvSpPr/>
          <p:nvPr/>
        </p:nvSpPr>
        <p:spPr>
          <a:xfrm flipV="1">
            <a:off x="6835506" y="1476486"/>
            <a:ext cx="0" cy="570703"/>
          </a:xfrm>
          <a:prstGeom prst="line">
            <a:avLst/>
          </a:prstGeom>
          <a:ln w="38100" cap="flat">
            <a:solidFill>
              <a:srgbClr val="FFFFFF"/>
            </a:solidFill>
            <a:prstDash val="solid"/>
            <a:headEnd type="none" w="sm" len="sm"/>
            <a:tailEnd type="none" w="sm" len="sm"/>
          </a:ln>
        </p:spPr>
      </p:sp>
      <p:grpSp>
        <p:nvGrpSpPr>
          <p:cNvPr id="45" name="Group 45"/>
          <p:cNvGrpSpPr/>
          <p:nvPr/>
        </p:nvGrpSpPr>
        <p:grpSpPr>
          <a:xfrm>
            <a:off x="5736730" y="4759555"/>
            <a:ext cx="5457846" cy="946267"/>
            <a:chOff x="0" y="0"/>
            <a:chExt cx="2156186" cy="373834"/>
          </a:xfrm>
        </p:grpSpPr>
        <p:sp>
          <p:nvSpPr>
            <p:cNvPr id="46" name="Freeform 46"/>
            <p:cNvSpPr/>
            <p:nvPr/>
          </p:nvSpPr>
          <p:spPr>
            <a:xfrm>
              <a:off x="0" y="0"/>
              <a:ext cx="2156186" cy="373834"/>
            </a:xfrm>
            <a:custGeom>
              <a:avLst/>
              <a:gdLst/>
              <a:ahLst/>
              <a:cxnLst/>
              <a:rect l="l" t="t" r="r" b="b"/>
              <a:pathLst>
                <a:path w="2156186" h="373834">
                  <a:moveTo>
                    <a:pt x="28370" y="0"/>
                  </a:moveTo>
                  <a:lnTo>
                    <a:pt x="2127816" y="0"/>
                  </a:lnTo>
                  <a:cubicBezTo>
                    <a:pt x="2143484" y="0"/>
                    <a:pt x="2156186" y="12702"/>
                    <a:pt x="2156186" y="28370"/>
                  </a:cubicBezTo>
                  <a:lnTo>
                    <a:pt x="2156186" y="345464"/>
                  </a:lnTo>
                  <a:cubicBezTo>
                    <a:pt x="2156186" y="361132"/>
                    <a:pt x="2143484" y="373834"/>
                    <a:pt x="2127816" y="373834"/>
                  </a:cubicBezTo>
                  <a:lnTo>
                    <a:pt x="28370" y="373834"/>
                  </a:lnTo>
                  <a:cubicBezTo>
                    <a:pt x="12702" y="373834"/>
                    <a:pt x="0" y="361132"/>
                    <a:pt x="0" y="345464"/>
                  </a:cubicBezTo>
                  <a:lnTo>
                    <a:pt x="0" y="28370"/>
                  </a:lnTo>
                  <a:cubicBezTo>
                    <a:pt x="0" y="12702"/>
                    <a:pt x="12702" y="0"/>
                    <a:pt x="28370" y="0"/>
                  </a:cubicBezTo>
                  <a:close/>
                </a:path>
              </a:pathLst>
            </a:custGeom>
            <a:solidFill>
              <a:srgbClr val="0CC0DF"/>
            </a:solidFill>
          </p:spPr>
        </p:sp>
        <p:sp>
          <p:nvSpPr>
            <p:cNvPr id="47" name="TextBox 47"/>
            <p:cNvSpPr txBox="1"/>
            <p:nvPr/>
          </p:nvSpPr>
          <p:spPr>
            <a:xfrm>
              <a:off x="0" y="-38100"/>
              <a:ext cx="2156186" cy="411934"/>
            </a:xfrm>
            <a:prstGeom prst="rect">
              <a:avLst/>
            </a:prstGeom>
          </p:spPr>
          <p:txBody>
            <a:bodyPr lIns="33867" tIns="33867" rIns="33867" bIns="33867" rtlCol="0" anchor="ctr"/>
            <a:lstStyle/>
            <a:p>
              <a:pPr algn="ctr">
                <a:lnSpc>
                  <a:spcPts val="1882"/>
                </a:lnSpc>
              </a:pPr>
              <a:endParaRPr sz="800"/>
            </a:p>
          </p:txBody>
        </p:sp>
      </p:grpSp>
      <p:grpSp>
        <p:nvGrpSpPr>
          <p:cNvPr id="48" name="Group 48"/>
          <p:cNvGrpSpPr/>
          <p:nvPr/>
        </p:nvGrpSpPr>
        <p:grpSpPr>
          <a:xfrm>
            <a:off x="851889" y="4253985"/>
            <a:ext cx="3787056" cy="782540"/>
            <a:chOff x="0" y="0"/>
            <a:chExt cx="1290616" cy="266687"/>
          </a:xfrm>
        </p:grpSpPr>
        <p:sp>
          <p:nvSpPr>
            <p:cNvPr id="49" name="Freeform 49"/>
            <p:cNvSpPr/>
            <p:nvPr/>
          </p:nvSpPr>
          <p:spPr>
            <a:xfrm>
              <a:off x="0" y="0"/>
              <a:ext cx="1290616" cy="266687"/>
            </a:xfrm>
            <a:custGeom>
              <a:avLst/>
              <a:gdLst/>
              <a:ahLst/>
              <a:cxnLst/>
              <a:rect l="l" t="t" r="r" b="b"/>
              <a:pathLst>
                <a:path w="1290616" h="266687">
                  <a:moveTo>
                    <a:pt x="27257" y="0"/>
                  </a:moveTo>
                  <a:lnTo>
                    <a:pt x="1263358" y="0"/>
                  </a:lnTo>
                  <a:cubicBezTo>
                    <a:pt x="1270587" y="0"/>
                    <a:pt x="1277520" y="2872"/>
                    <a:pt x="1282632" y="7984"/>
                  </a:cubicBezTo>
                  <a:cubicBezTo>
                    <a:pt x="1287744" y="13095"/>
                    <a:pt x="1290616" y="20028"/>
                    <a:pt x="1290616" y="27257"/>
                  </a:cubicBezTo>
                  <a:lnTo>
                    <a:pt x="1290616" y="239430"/>
                  </a:lnTo>
                  <a:cubicBezTo>
                    <a:pt x="1290616" y="254483"/>
                    <a:pt x="1278412" y="266687"/>
                    <a:pt x="1263358" y="266687"/>
                  </a:cubicBezTo>
                  <a:lnTo>
                    <a:pt x="27257" y="266687"/>
                  </a:lnTo>
                  <a:cubicBezTo>
                    <a:pt x="12204" y="266687"/>
                    <a:pt x="0" y="254483"/>
                    <a:pt x="0" y="239430"/>
                  </a:cubicBezTo>
                  <a:lnTo>
                    <a:pt x="0" y="27257"/>
                  </a:lnTo>
                  <a:cubicBezTo>
                    <a:pt x="0" y="12204"/>
                    <a:pt x="12204" y="0"/>
                    <a:pt x="27257" y="0"/>
                  </a:cubicBezTo>
                  <a:close/>
                </a:path>
              </a:pathLst>
            </a:custGeom>
            <a:solidFill>
              <a:srgbClr val="FFFFFF"/>
            </a:solidFill>
            <a:ln w="57150" cap="sq">
              <a:solidFill>
                <a:srgbClr val="4373A4"/>
              </a:solidFill>
              <a:prstDash val="solid"/>
              <a:miter/>
            </a:ln>
          </p:spPr>
        </p:sp>
        <p:sp>
          <p:nvSpPr>
            <p:cNvPr id="50" name="TextBox 50"/>
            <p:cNvSpPr txBox="1"/>
            <p:nvPr/>
          </p:nvSpPr>
          <p:spPr>
            <a:xfrm>
              <a:off x="0" y="-38100"/>
              <a:ext cx="1290616" cy="304787"/>
            </a:xfrm>
            <a:prstGeom prst="rect">
              <a:avLst/>
            </a:prstGeom>
          </p:spPr>
          <p:txBody>
            <a:bodyPr lIns="33867" tIns="33867" rIns="33867" bIns="33867" rtlCol="0" anchor="ctr"/>
            <a:lstStyle/>
            <a:p>
              <a:pPr algn="ctr">
                <a:lnSpc>
                  <a:spcPts val="1882"/>
                </a:lnSpc>
              </a:pPr>
              <a:endParaRPr sz="800"/>
            </a:p>
          </p:txBody>
        </p:sp>
      </p:grpSp>
      <p:sp>
        <p:nvSpPr>
          <p:cNvPr id="51" name="AutoShape 51"/>
          <p:cNvSpPr/>
          <p:nvPr/>
        </p:nvSpPr>
        <p:spPr>
          <a:xfrm flipV="1">
            <a:off x="6885809" y="4961955"/>
            <a:ext cx="0" cy="570703"/>
          </a:xfrm>
          <a:prstGeom prst="line">
            <a:avLst/>
          </a:prstGeom>
          <a:ln w="38100" cap="flat">
            <a:solidFill>
              <a:srgbClr val="FFFFFF"/>
            </a:solidFill>
            <a:prstDash val="solid"/>
            <a:headEnd type="none" w="sm" len="sm"/>
            <a:tailEnd type="none" w="sm" len="sm"/>
          </a:ln>
        </p:spPr>
      </p:sp>
      <p:sp>
        <p:nvSpPr>
          <p:cNvPr id="52" name="Freeform 52"/>
          <p:cNvSpPr/>
          <p:nvPr/>
        </p:nvSpPr>
        <p:spPr>
          <a:xfrm>
            <a:off x="5938141" y="3342308"/>
            <a:ext cx="820847" cy="421710"/>
          </a:xfrm>
          <a:custGeom>
            <a:avLst/>
            <a:gdLst/>
            <a:ahLst/>
            <a:cxnLst/>
            <a:rect l="l" t="t" r="r" b="b"/>
            <a:pathLst>
              <a:path w="1231270" h="632565">
                <a:moveTo>
                  <a:pt x="0" y="0"/>
                </a:moveTo>
                <a:lnTo>
                  <a:pt x="1231270" y="0"/>
                </a:lnTo>
                <a:lnTo>
                  <a:pt x="1231270" y="632565"/>
                </a:lnTo>
                <a:lnTo>
                  <a:pt x="0" y="632565"/>
                </a:lnTo>
                <a:lnTo>
                  <a:pt x="0" y="0"/>
                </a:lnTo>
                <a:close/>
              </a:path>
            </a:pathLst>
          </a:custGeom>
          <a:blipFill>
            <a:blip r:embed="rId13"/>
            <a:stretch>
              <a:fillRect/>
            </a:stretch>
          </a:blipFill>
        </p:spPr>
      </p:sp>
      <p:sp>
        <p:nvSpPr>
          <p:cNvPr id="53" name="Freeform 53"/>
          <p:cNvSpPr/>
          <p:nvPr/>
        </p:nvSpPr>
        <p:spPr>
          <a:xfrm>
            <a:off x="5926044" y="2124552"/>
            <a:ext cx="763412" cy="698522"/>
          </a:xfrm>
          <a:custGeom>
            <a:avLst/>
            <a:gdLst/>
            <a:ahLst/>
            <a:cxnLst/>
            <a:rect l="l" t="t" r="r" b="b"/>
            <a:pathLst>
              <a:path w="1145118" h="1047783">
                <a:moveTo>
                  <a:pt x="0" y="0"/>
                </a:moveTo>
                <a:lnTo>
                  <a:pt x="1145118" y="0"/>
                </a:lnTo>
                <a:lnTo>
                  <a:pt x="1145118" y="1047783"/>
                </a:lnTo>
                <a:lnTo>
                  <a:pt x="0" y="1047783"/>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54" name="Freeform 54"/>
          <p:cNvSpPr/>
          <p:nvPr/>
        </p:nvSpPr>
        <p:spPr>
          <a:xfrm>
            <a:off x="6437166" y="2180450"/>
            <a:ext cx="252290" cy="252290"/>
          </a:xfrm>
          <a:custGeom>
            <a:avLst/>
            <a:gdLst/>
            <a:ahLst/>
            <a:cxnLst/>
            <a:rect l="l" t="t" r="r" b="b"/>
            <a:pathLst>
              <a:path w="378435" h="378435">
                <a:moveTo>
                  <a:pt x="0" y="0"/>
                </a:moveTo>
                <a:lnTo>
                  <a:pt x="378435" y="0"/>
                </a:lnTo>
                <a:lnTo>
                  <a:pt x="378435" y="378435"/>
                </a:lnTo>
                <a:lnTo>
                  <a:pt x="0" y="378435"/>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55" name="Freeform 55"/>
          <p:cNvSpPr/>
          <p:nvPr/>
        </p:nvSpPr>
        <p:spPr>
          <a:xfrm>
            <a:off x="5997258" y="390833"/>
            <a:ext cx="620985" cy="589935"/>
          </a:xfrm>
          <a:custGeom>
            <a:avLst/>
            <a:gdLst/>
            <a:ahLst/>
            <a:cxnLst/>
            <a:rect l="l" t="t" r="r" b="b"/>
            <a:pathLst>
              <a:path w="931477" h="884903">
                <a:moveTo>
                  <a:pt x="0" y="0"/>
                </a:moveTo>
                <a:lnTo>
                  <a:pt x="931477" y="0"/>
                </a:lnTo>
                <a:lnTo>
                  <a:pt x="931477" y="884904"/>
                </a:lnTo>
                <a:lnTo>
                  <a:pt x="0" y="88490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sp>
      <p:sp>
        <p:nvSpPr>
          <p:cNvPr id="56" name="Freeform 56"/>
          <p:cNvSpPr/>
          <p:nvPr/>
        </p:nvSpPr>
        <p:spPr>
          <a:xfrm>
            <a:off x="6087852" y="3993165"/>
            <a:ext cx="521426" cy="613443"/>
          </a:xfrm>
          <a:custGeom>
            <a:avLst/>
            <a:gdLst/>
            <a:ahLst/>
            <a:cxnLst/>
            <a:rect l="l" t="t" r="r" b="b"/>
            <a:pathLst>
              <a:path w="782139" h="920164">
                <a:moveTo>
                  <a:pt x="0" y="0"/>
                </a:moveTo>
                <a:lnTo>
                  <a:pt x="782139" y="0"/>
                </a:lnTo>
                <a:lnTo>
                  <a:pt x="782139" y="920164"/>
                </a:lnTo>
                <a:lnTo>
                  <a:pt x="0" y="920164"/>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sp>
      <p:sp>
        <p:nvSpPr>
          <p:cNvPr id="57" name="Freeform 57"/>
          <p:cNvSpPr/>
          <p:nvPr/>
        </p:nvSpPr>
        <p:spPr>
          <a:xfrm>
            <a:off x="6033709" y="4873855"/>
            <a:ext cx="678252" cy="674861"/>
          </a:xfrm>
          <a:custGeom>
            <a:avLst/>
            <a:gdLst/>
            <a:ahLst/>
            <a:cxnLst/>
            <a:rect l="l" t="t" r="r" b="b"/>
            <a:pathLst>
              <a:path w="1017378" h="1012291">
                <a:moveTo>
                  <a:pt x="0" y="0"/>
                </a:moveTo>
                <a:lnTo>
                  <a:pt x="1017378" y="0"/>
                </a:lnTo>
                <a:lnTo>
                  <a:pt x="1017378" y="1012292"/>
                </a:lnTo>
                <a:lnTo>
                  <a:pt x="0" y="1012292"/>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sp>
      <p:sp>
        <p:nvSpPr>
          <p:cNvPr id="58" name="Freeform 58"/>
          <p:cNvSpPr/>
          <p:nvPr/>
        </p:nvSpPr>
        <p:spPr>
          <a:xfrm>
            <a:off x="5910873" y="1436612"/>
            <a:ext cx="490824" cy="529191"/>
          </a:xfrm>
          <a:custGeom>
            <a:avLst/>
            <a:gdLst/>
            <a:ahLst/>
            <a:cxnLst/>
            <a:rect l="l" t="t" r="r" b="b"/>
            <a:pathLst>
              <a:path w="736236" h="793786">
                <a:moveTo>
                  <a:pt x="0" y="0"/>
                </a:moveTo>
                <a:lnTo>
                  <a:pt x="736237" y="0"/>
                </a:lnTo>
                <a:lnTo>
                  <a:pt x="736237" y="793785"/>
                </a:lnTo>
                <a:lnTo>
                  <a:pt x="0" y="793785"/>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sp>
      <p:sp>
        <p:nvSpPr>
          <p:cNvPr id="59" name="TextBox 59"/>
          <p:cNvSpPr txBox="1"/>
          <p:nvPr/>
        </p:nvSpPr>
        <p:spPr>
          <a:xfrm>
            <a:off x="6930259" y="1401087"/>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equitable and inclusive unit policies consistent with the 2022 American Academy of Pediatrics safe sleep recommendations </a:t>
            </a:r>
            <a:endParaRPr lang="en-US" sz="1344" spc="43">
              <a:solidFill>
                <a:srgbClr val="FFFFFF"/>
              </a:solidFill>
              <a:latin typeface="Barlow Semi-Bold"/>
            </a:endParaRPr>
          </a:p>
        </p:txBody>
      </p:sp>
      <p:sp>
        <p:nvSpPr>
          <p:cNvPr id="60" name="Freeform 60"/>
          <p:cNvSpPr/>
          <p:nvPr/>
        </p:nvSpPr>
        <p:spPr>
          <a:xfrm>
            <a:off x="6156286" y="1639136"/>
            <a:ext cx="333017" cy="333017"/>
          </a:xfrm>
          <a:custGeom>
            <a:avLst/>
            <a:gdLst/>
            <a:ahLst/>
            <a:cxnLst/>
            <a:rect l="l" t="t" r="r" b="b"/>
            <a:pathLst>
              <a:path w="499525" h="499525">
                <a:moveTo>
                  <a:pt x="0" y="0"/>
                </a:moveTo>
                <a:lnTo>
                  <a:pt x="499525" y="0"/>
                </a:lnTo>
                <a:lnTo>
                  <a:pt x="499525" y="499524"/>
                </a:lnTo>
                <a:lnTo>
                  <a:pt x="0" y="499524"/>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sp>
      <p:sp>
        <p:nvSpPr>
          <p:cNvPr id="61" name="Freeform 61"/>
          <p:cNvSpPr/>
          <p:nvPr/>
        </p:nvSpPr>
        <p:spPr>
          <a:xfrm>
            <a:off x="6156285" y="1607228"/>
            <a:ext cx="555676" cy="381333"/>
          </a:xfrm>
          <a:custGeom>
            <a:avLst/>
            <a:gdLst/>
            <a:ahLst/>
            <a:cxnLst/>
            <a:rect l="l" t="t" r="r" b="b"/>
            <a:pathLst>
              <a:path w="833514" h="571999">
                <a:moveTo>
                  <a:pt x="0" y="0"/>
                </a:moveTo>
                <a:lnTo>
                  <a:pt x="833514" y="0"/>
                </a:lnTo>
                <a:lnTo>
                  <a:pt x="833514" y="571998"/>
                </a:lnTo>
                <a:lnTo>
                  <a:pt x="0" y="571998"/>
                </a:lnTo>
                <a:lnTo>
                  <a:pt x="0" y="0"/>
                </a:lnTo>
                <a:close/>
              </a:path>
            </a:pathLst>
          </a:custGeom>
          <a:blipFill>
            <a:blip r:embed="rId28">
              <a:extLst>
                <a:ext uri="{96DAC541-7B7A-43D3-8B79-37D633B846F1}">
                  <asvg:svgBlip xmlns:asvg="http://schemas.microsoft.com/office/drawing/2016/SVG/main" r:embed="rId29"/>
                </a:ext>
              </a:extLst>
            </a:blip>
            <a:stretch>
              <a:fillRect/>
            </a:stretch>
          </a:blipFill>
        </p:spPr>
      </p:sp>
      <p:sp>
        <p:nvSpPr>
          <p:cNvPr id="62" name="TextBox 62"/>
          <p:cNvSpPr txBox="1"/>
          <p:nvPr/>
        </p:nvSpPr>
        <p:spPr>
          <a:xfrm>
            <a:off x="715244" y="2963204"/>
            <a:ext cx="2571194" cy="1081130"/>
          </a:xfrm>
          <a:prstGeom prst="rect">
            <a:avLst/>
          </a:prstGeom>
        </p:spPr>
        <p:txBody>
          <a:bodyPr wrap="square" lIns="0" tIns="0" rIns="0" bIns="0" rtlCol="0" anchor="t">
            <a:spAutoFit/>
          </a:bodyPr>
          <a:lstStyle/>
          <a:p>
            <a:pPr>
              <a:lnSpc>
                <a:spcPts val="2868"/>
              </a:lnSpc>
            </a:pPr>
            <a:r>
              <a:rPr lang="en-US" sz="2000" b="1" spc="86">
                <a:solidFill>
                  <a:srgbClr val="000000"/>
                </a:solidFill>
                <a:latin typeface="Barlow Bold"/>
              </a:rPr>
              <a:t>DRIVER 2: </a:t>
            </a:r>
          </a:p>
          <a:p>
            <a:pPr>
              <a:lnSpc>
                <a:spcPts val="2868"/>
              </a:lnSpc>
            </a:pPr>
            <a:r>
              <a:rPr lang="en-US" sz="2000" b="1" spc="86">
                <a:solidFill>
                  <a:srgbClr val="000000"/>
                </a:solidFill>
                <a:latin typeface="Barlow Bold"/>
              </a:rPr>
              <a:t>INCLUSIVE CLINICAL ENVIRONMENT ​</a:t>
            </a:r>
          </a:p>
        </p:txBody>
      </p:sp>
      <p:sp>
        <p:nvSpPr>
          <p:cNvPr id="63" name="TextBox 63"/>
          <p:cNvSpPr txBox="1"/>
          <p:nvPr/>
        </p:nvSpPr>
        <p:spPr>
          <a:xfrm>
            <a:off x="6926305" y="428630"/>
            <a:ext cx="4084512"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Obtain organizational leadership commitment to equitable and respectful healthcare delivery  </a:t>
            </a:r>
            <a:endParaRPr lang="en-US" sz="1344" spc="43">
              <a:solidFill>
                <a:srgbClr val="FFFFFF"/>
              </a:solidFill>
              <a:latin typeface="Barlow Semi-Bold"/>
            </a:endParaRPr>
          </a:p>
        </p:txBody>
      </p:sp>
      <p:sp>
        <p:nvSpPr>
          <p:cNvPr id="64" name="TextBox 64"/>
          <p:cNvSpPr txBox="1"/>
          <p:nvPr/>
        </p:nvSpPr>
        <p:spPr>
          <a:xfrm>
            <a:off x="6978802" y="3302867"/>
            <a:ext cx="3770521"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Use qualified interpreters and provide information in multiple languages </a:t>
            </a:r>
            <a:endParaRPr lang="en-US" sz="1344" spc="43">
              <a:solidFill>
                <a:srgbClr val="FFFFFF"/>
              </a:solidFill>
              <a:latin typeface="Barlow Semi-Bold"/>
            </a:endParaRPr>
          </a:p>
        </p:txBody>
      </p:sp>
      <p:sp>
        <p:nvSpPr>
          <p:cNvPr id="65" name="TextBox 65"/>
          <p:cNvSpPr txBox="1"/>
          <p:nvPr/>
        </p:nvSpPr>
        <p:spPr>
          <a:xfrm>
            <a:off x="851889" y="415930"/>
            <a:ext cx="345487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Organizational Leadership Commitment  </a:t>
            </a:r>
          </a:p>
        </p:txBody>
      </p:sp>
      <p:sp>
        <p:nvSpPr>
          <p:cNvPr id="66" name="TextBox 66"/>
          <p:cNvSpPr txBox="1"/>
          <p:nvPr/>
        </p:nvSpPr>
        <p:spPr>
          <a:xfrm>
            <a:off x="715243" y="1831164"/>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Equitable and Inclusive Unit Policies </a:t>
            </a:r>
          </a:p>
        </p:txBody>
      </p:sp>
      <p:sp>
        <p:nvSpPr>
          <p:cNvPr id="67" name="TextBox 67"/>
          <p:cNvSpPr txBox="1"/>
          <p:nvPr/>
        </p:nvSpPr>
        <p:spPr>
          <a:xfrm>
            <a:off x="6978801" y="2230538"/>
            <a:ext cx="3979519"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xamine all unit policies with an equity lens and make necessary changes </a:t>
            </a:r>
            <a:endParaRPr lang="en-US" sz="1344" spc="43">
              <a:solidFill>
                <a:srgbClr val="FFFFFF"/>
              </a:solidFill>
              <a:latin typeface="Barlow Semi-Bold"/>
            </a:endParaRPr>
          </a:p>
        </p:txBody>
      </p:sp>
      <p:sp>
        <p:nvSpPr>
          <p:cNvPr id="68" name="TextBox 68"/>
          <p:cNvSpPr txBox="1"/>
          <p:nvPr/>
        </p:nvSpPr>
        <p:spPr>
          <a:xfrm>
            <a:off x="851889" y="4350159"/>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Parent and Caregiver Experience Prioritization </a:t>
            </a:r>
          </a:p>
        </p:txBody>
      </p:sp>
      <p:sp>
        <p:nvSpPr>
          <p:cNvPr id="69" name="TextBox 69"/>
          <p:cNvSpPr txBox="1"/>
          <p:nvPr/>
        </p:nvSpPr>
        <p:spPr>
          <a:xfrm>
            <a:off x="6969437" y="4013478"/>
            <a:ext cx="4043690" cy="470385"/>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courage your unit to highlight data, stories, and strategies pertaining to racial equity </a:t>
            </a:r>
            <a:endParaRPr lang="en-US" sz="1344" spc="43">
              <a:solidFill>
                <a:srgbClr val="FFFFFF"/>
              </a:solidFill>
              <a:latin typeface="Barlow Semi-Bold"/>
            </a:endParaRPr>
          </a:p>
        </p:txBody>
      </p:sp>
      <p:sp>
        <p:nvSpPr>
          <p:cNvPr id="70" name="TextBox 70"/>
          <p:cNvSpPr txBox="1"/>
          <p:nvPr/>
        </p:nvSpPr>
        <p:spPr>
          <a:xfrm>
            <a:off x="6978802" y="4886555"/>
            <a:ext cx="4264317"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Obtain hospital experience feedback from parent and caregivers; develop a process to review and share feedback with providers, nurses, other staff </a:t>
            </a:r>
            <a:endParaRPr lang="en-US" sz="1344" spc="43">
              <a:solidFill>
                <a:srgbClr val="FFFFFF"/>
              </a:solidFill>
              <a:latin typeface="Barlow Semi-Bold"/>
            </a:endParaRPr>
          </a:p>
        </p:txBody>
      </p:sp>
      <p:cxnSp>
        <p:nvCxnSpPr>
          <p:cNvPr id="72" name="Straight Arrow Connector 71">
            <a:extLst>
              <a:ext uri="{FF2B5EF4-FFF2-40B4-BE49-F238E27FC236}">
                <a16:creationId xmlns:a16="http://schemas.microsoft.com/office/drawing/2014/main" id="{9DABEE7E-8BD3-4674-2C98-8E4DD5FD2BA4}"/>
              </a:ext>
            </a:extLst>
          </p:cNvPr>
          <p:cNvCxnSpPr>
            <a:cxnSpLocks/>
          </p:cNvCxnSpPr>
          <p:nvPr/>
        </p:nvCxnSpPr>
        <p:spPr>
          <a:xfrm flipV="1">
            <a:off x="4503336" y="733464"/>
            <a:ext cx="1206324" cy="4075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BEC4BABB-43C9-9000-ED55-9524836704C3}"/>
              </a:ext>
            </a:extLst>
          </p:cNvPr>
          <p:cNvCxnSpPr>
            <a:cxnSpLocks/>
          </p:cNvCxnSpPr>
          <p:nvPr/>
        </p:nvCxnSpPr>
        <p:spPr>
          <a:xfrm flipV="1">
            <a:off x="4514380" y="1694247"/>
            <a:ext cx="1173194" cy="5377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144ECC94-4093-ABB7-73BA-06FC54548E83}"/>
              </a:ext>
            </a:extLst>
          </p:cNvPr>
          <p:cNvCxnSpPr>
            <a:cxnSpLocks/>
          </p:cNvCxnSpPr>
          <p:nvPr/>
        </p:nvCxnSpPr>
        <p:spPr>
          <a:xfrm>
            <a:off x="4525423" y="2231960"/>
            <a:ext cx="1250498" cy="29054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8982FD92-CD8A-7CA9-6F98-CE88B54846B1}"/>
              </a:ext>
            </a:extLst>
          </p:cNvPr>
          <p:cNvCxnSpPr>
            <a:cxnSpLocks/>
          </p:cNvCxnSpPr>
          <p:nvPr/>
        </p:nvCxnSpPr>
        <p:spPr>
          <a:xfrm flipV="1">
            <a:off x="4613771" y="3538507"/>
            <a:ext cx="1140064" cy="1111974"/>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A989E17-799A-6415-ED4B-A44CCA00B657}"/>
              </a:ext>
            </a:extLst>
          </p:cNvPr>
          <p:cNvSpPr txBox="1"/>
          <p:nvPr/>
        </p:nvSpPr>
        <p:spPr>
          <a:xfrm>
            <a:off x="7354494" y="2833522"/>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75" name="TextBox 74">
            <a:extLst>
              <a:ext uri="{FF2B5EF4-FFF2-40B4-BE49-F238E27FC236}">
                <a16:creationId xmlns:a16="http://schemas.microsoft.com/office/drawing/2014/main" id="{20D2DCD7-9B15-FB75-E33B-CECC88A394B8}"/>
              </a:ext>
            </a:extLst>
          </p:cNvPr>
          <p:cNvSpPr txBox="1"/>
          <p:nvPr/>
        </p:nvSpPr>
        <p:spPr>
          <a:xfrm>
            <a:off x="7785816" y="-70705"/>
            <a:ext cx="2667520" cy="461665"/>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34299408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06460" y="523464"/>
            <a:ext cx="3412765" cy="580170"/>
          </a:xfrm>
          <a:custGeom>
            <a:avLst/>
            <a:gdLst/>
            <a:ahLst/>
            <a:cxnLst/>
            <a:rect l="l" t="t" r="r" b="b"/>
            <a:pathLst>
              <a:path w="5119148" h="870255">
                <a:moveTo>
                  <a:pt x="0" y="0"/>
                </a:moveTo>
                <a:lnTo>
                  <a:pt x="5119148" y="0"/>
                </a:lnTo>
                <a:lnTo>
                  <a:pt x="5119148" y="870255"/>
                </a:lnTo>
                <a:lnTo>
                  <a:pt x="0" y="8702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 name="Freeform 3"/>
          <p:cNvSpPr/>
          <p:nvPr/>
        </p:nvSpPr>
        <p:spPr>
          <a:xfrm>
            <a:off x="2324366" y="395715"/>
            <a:ext cx="1292035" cy="917345"/>
          </a:xfrm>
          <a:custGeom>
            <a:avLst/>
            <a:gdLst/>
            <a:ahLst/>
            <a:cxnLst/>
            <a:rect l="l" t="t" r="r" b="b"/>
            <a:pathLst>
              <a:path w="1938052" h="1376017">
                <a:moveTo>
                  <a:pt x="0" y="0"/>
                </a:moveTo>
                <a:lnTo>
                  <a:pt x="1938053" y="0"/>
                </a:lnTo>
                <a:lnTo>
                  <a:pt x="1938053" y="1376018"/>
                </a:lnTo>
                <a:lnTo>
                  <a:pt x="0" y="137601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5" name="Group 5"/>
          <p:cNvGrpSpPr/>
          <p:nvPr/>
        </p:nvGrpSpPr>
        <p:grpSpPr>
          <a:xfrm>
            <a:off x="685800" y="1674156"/>
            <a:ext cx="4731414" cy="1077784"/>
            <a:chOff x="0" y="0"/>
            <a:chExt cx="14474985" cy="3230880"/>
          </a:xfrm>
        </p:grpSpPr>
        <p:sp>
          <p:nvSpPr>
            <p:cNvPr id="6" name="Freeform 6"/>
            <p:cNvSpPr/>
            <p:nvPr/>
          </p:nvSpPr>
          <p:spPr>
            <a:xfrm>
              <a:off x="5080" y="12700"/>
              <a:ext cx="14459746" cy="3205480"/>
            </a:xfrm>
            <a:custGeom>
              <a:avLst/>
              <a:gdLst/>
              <a:ahLst/>
              <a:cxnLst/>
              <a:rect l="l" t="t" r="r" b="b"/>
              <a:pathLst>
                <a:path w="14459746" h="3205480">
                  <a:moveTo>
                    <a:pt x="13669806" y="3205480"/>
                  </a:moveTo>
                  <a:lnTo>
                    <a:pt x="0" y="3205480"/>
                  </a:lnTo>
                  <a:lnTo>
                    <a:pt x="791210" y="1602740"/>
                  </a:lnTo>
                  <a:lnTo>
                    <a:pt x="0" y="0"/>
                  </a:lnTo>
                  <a:lnTo>
                    <a:pt x="13669806" y="0"/>
                  </a:lnTo>
                  <a:lnTo>
                    <a:pt x="14459746" y="1602740"/>
                  </a:lnTo>
                  <a:lnTo>
                    <a:pt x="13669806" y="3205480"/>
                  </a:lnTo>
                  <a:close/>
                </a:path>
              </a:pathLst>
            </a:custGeom>
            <a:solidFill>
              <a:srgbClr val="C45ED1"/>
            </a:solidFill>
          </p:spPr>
        </p:sp>
      </p:grpSp>
      <p:grpSp>
        <p:nvGrpSpPr>
          <p:cNvPr id="7" name="Group 7"/>
          <p:cNvGrpSpPr/>
          <p:nvPr/>
        </p:nvGrpSpPr>
        <p:grpSpPr>
          <a:xfrm>
            <a:off x="796971" y="3994449"/>
            <a:ext cx="4731414" cy="1077784"/>
            <a:chOff x="0" y="0"/>
            <a:chExt cx="14474985" cy="3230880"/>
          </a:xfrm>
        </p:grpSpPr>
        <p:sp>
          <p:nvSpPr>
            <p:cNvPr id="8" name="Freeform 8"/>
            <p:cNvSpPr/>
            <p:nvPr/>
          </p:nvSpPr>
          <p:spPr>
            <a:xfrm>
              <a:off x="5080" y="12700"/>
              <a:ext cx="14459746" cy="3205480"/>
            </a:xfrm>
            <a:custGeom>
              <a:avLst/>
              <a:gdLst/>
              <a:ahLst/>
              <a:cxnLst/>
              <a:rect l="l" t="t" r="r" b="b"/>
              <a:pathLst>
                <a:path w="14459746" h="3205480">
                  <a:moveTo>
                    <a:pt x="13669806" y="3205480"/>
                  </a:moveTo>
                  <a:lnTo>
                    <a:pt x="0" y="3205480"/>
                  </a:lnTo>
                  <a:lnTo>
                    <a:pt x="791210" y="1602740"/>
                  </a:lnTo>
                  <a:lnTo>
                    <a:pt x="0" y="0"/>
                  </a:lnTo>
                  <a:lnTo>
                    <a:pt x="13669806" y="0"/>
                  </a:lnTo>
                  <a:lnTo>
                    <a:pt x="14459746" y="1602740"/>
                  </a:lnTo>
                  <a:lnTo>
                    <a:pt x="13669806" y="3205480"/>
                  </a:lnTo>
                  <a:close/>
                </a:path>
              </a:pathLst>
            </a:custGeom>
            <a:solidFill>
              <a:srgbClr val="FC7ECF"/>
            </a:solidFill>
          </p:spPr>
        </p:sp>
      </p:grpSp>
      <p:grpSp>
        <p:nvGrpSpPr>
          <p:cNvPr id="9" name="Group 9"/>
          <p:cNvGrpSpPr/>
          <p:nvPr/>
        </p:nvGrpSpPr>
        <p:grpSpPr>
          <a:xfrm>
            <a:off x="6222296" y="2597553"/>
            <a:ext cx="4731414" cy="1077784"/>
            <a:chOff x="0" y="0"/>
            <a:chExt cx="14474985" cy="3230880"/>
          </a:xfrm>
        </p:grpSpPr>
        <p:sp>
          <p:nvSpPr>
            <p:cNvPr id="10" name="Freeform 10"/>
            <p:cNvSpPr/>
            <p:nvPr/>
          </p:nvSpPr>
          <p:spPr>
            <a:xfrm>
              <a:off x="5080" y="12700"/>
              <a:ext cx="14459746" cy="3205480"/>
            </a:xfrm>
            <a:custGeom>
              <a:avLst/>
              <a:gdLst/>
              <a:ahLst/>
              <a:cxnLst/>
              <a:rect l="l" t="t" r="r" b="b"/>
              <a:pathLst>
                <a:path w="14459746" h="3205480">
                  <a:moveTo>
                    <a:pt x="13669806" y="3205480"/>
                  </a:moveTo>
                  <a:lnTo>
                    <a:pt x="0" y="3205480"/>
                  </a:lnTo>
                  <a:lnTo>
                    <a:pt x="791210" y="1602740"/>
                  </a:lnTo>
                  <a:lnTo>
                    <a:pt x="0" y="0"/>
                  </a:lnTo>
                  <a:lnTo>
                    <a:pt x="13669806" y="0"/>
                  </a:lnTo>
                  <a:lnTo>
                    <a:pt x="14459746" y="1602740"/>
                  </a:lnTo>
                  <a:lnTo>
                    <a:pt x="13669806" y="3205480"/>
                  </a:lnTo>
                  <a:close/>
                </a:path>
              </a:pathLst>
            </a:custGeom>
            <a:solidFill>
              <a:srgbClr val="F5668F"/>
            </a:solidFill>
          </p:spPr>
        </p:sp>
      </p:grpSp>
      <p:sp>
        <p:nvSpPr>
          <p:cNvPr id="11" name="Freeform 11"/>
          <p:cNvSpPr/>
          <p:nvPr/>
        </p:nvSpPr>
        <p:spPr>
          <a:xfrm>
            <a:off x="1587560" y="3217716"/>
            <a:ext cx="2527215" cy="734315"/>
          </a:xfrm>
          <a:custGeom>
            <a:avLst/>
            <a:gdLst/>
            <a:ahLst/>
            <a:cxnLst/>
            <a:rect l="l" t="t" r="r" b="b"/>
            <a:pathLst>
              <a:path w="3790822" h="1101472">
                <a:moveTo>
                  <a:pt x="0" y="0"/>
                </a:moveTo>
                <a:lnTo>
                  <a:pt x="3790822" y="0"/>
                </a:lnTo>
                <a:lnTo>
                  <a:pt x="3790822" y="1101472"/>
                </a:lnTo>
                <a:lnTo>
                  <a:pt x="0" y="1101472"/>
                </a:lnTo>
                <a:lnTo>
                  <a:pt x="0" y="0"/>
                </a:lnTo>
                <a:close/>
              </a:path>
            </a:pathLst>
          </a:custGeom>
          <a:blipFill>
            <a:blip r:embed="rId7"/>
            <a:stretch>
              <a:fillRect t="-35117" r="-125453" b="-33211"/>
            </a:stretch>
          </a:blipFill>
        </p:spPr>
      </p:sp>
      <p:sp>
        <p:nvSpPr>
          <p:cNvPr id="12" name="Freeform 12"/>
          <p:cNvSpPr/>
          <p:nvPr/>
        </p:nvSpPr>
        <p:spPr>
          <a:xfrm>
            <a:off x="1291949" y="5882452"/>
            <a:ext cx="3247299" cy="841346"/>
          </a:xfrm>
          <a:custGeom>
            <a:avLst/>
            <a:gdLst/>
            <a:ahLst/>
            <a:cxnLst/>
            <a:rect l="l" t="t" r="r" b="b"/>
            <a:pathLst>
              <a:path w="4870949" h="1262019">
                <a:moveTo>
                  <a:pt x="0" y="0"/>
                </a:moveTo>
                <a:lnTo>
                  <a:pt x="4870949" y="0"/>
                </a:lnTo>
                <a:lnTo>
                  <a:pt x="4870949" y="1262018"/>
                </a:lnTo>
                <a:lnTo>
                  <a:pt x="0" y="1262018"/>
                </a:lnTo>
                <a:lnTo>
                  <a:pt x="0" y="0"/>
                </a:lnTo>
                <a:close/>
              </a:path>
            </a:pathLst>
          </a:custGeom>
          <a:blipFill>
            <a:blip r:embed="rId8"/>
            <a:stretch>
              <a:fillRect/>
            </a:stretch>
          </a:blipFill>
        </p:spPr>
      </p:sp>
      <p:sp>
        <p:nvSpPr>
          <p:cNvPr id="13" name="Freeform 13"/>
          <p:cNvSpPr/>
          <p:nvPr/>
        </p:nvSpPr>
        <p:spPr>
          <a:xfrm>
            <a:off x="10654641" y="4615223"/>
            <a:ext cx="1342379" cy="1988709"/>
          </a:xfrm>
          <a:custGeom>
            <a:avLst/>
            <a:gdLst/>
            <a:ahLst/>
            <a:cxnLst/>
            <a:rect l="l" t="t" r="r" b="b"/>
            <a:pathLst>
              <a:path w="2013568" h="2983064">
                <a:moveTo>
                  <a:pt x="0" y="0"/>
                </a:moveTo>
                <a:lnTo>
                  <a:pt x="2013568" y="0"/>
                </a:lnTo>
                <a:lnTo>
                  <a:pt x="2013568" y="2983064"/>
                </a:lnTo>
                <a:lnTo>
                  <a:pt x="0" y="298306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14" name="TextBox 14"/>
          <p:cNvSpPr txBox="1"/>
          <p:nvPr/>
        </p:nvSpPr>
        <p:spPr>
          <a:xfrm>
            <a:off x="435507" y="655857"/>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5" name="TextBox 15"/>
          <p:cNvSpPr txBox="1"/>
          <p:nvPr/>
        </p:nvSpPr>
        <p:spPr>
          <a:xfrm>
            <a:off x="3633602" y="571177"/>
            <a:ext cx="3451539" cy="720005"/>
          </a:xfrm>
          <a:prstGeom prst="rect">
            <a:avLst/>
          </a:prstGeom>
        </p:spPr>
        <p:txBody>
          <a:bodyPr wrap="square" lIns="0" tIns="0" rIns="0" bIns="0" rtlCol="0" anchor="t">
            <a:spAutoFit/>
          </a:bodyPr>
          <a:lstStyle/>
          <a:p>
            <a:pPr algn="ctr">
              <a:lnSpc>
                <a:spcPts val="2787"/>
              </a:lnSpc>
            </a:pPr>
            <a:r>
              <a:rPr lang="en-US" sz="2500" b="1">
                <a:solidFill>
                  <a:srgbClr val="545454"/>
                </a:solidFill>
                <a:latin typeface="DM Sans"/>
              </a:rPr>
              <a:t>Inclusive Clinical Environment</a:t>
            </a:r>
          </a:p>
        </p:txBody>
      </p:sp>
      <p:sp>
        <p:nvSpPr>
          <p:cNvPr id="17" name="TextBox 17"/>
          <p:cNvSpPr txBox="1"/>
          <p:nvPr/>
        </p:nvSpPr>
        <p:spPr>
          <a:xfrm>
            <a:off x="1095372" y="1799820"/>
            <a:ext cx="4134613" cy="963918"/>
          </a:xfrm>
          <a:prstGeom prst="rect">
            <a:avLst/>
          </a:prstGeom>
        </p:spPr>
        <p:txBody>
          <a:bodyPr lIns="0" tIns="0" rIns="0" bIns="0" rtlCol="0" anchor="t">
            <a:spAutoFit/>
          </a:bodyPr>
          <a:lstStyle/>
          <a:p>
            <a:pPr>
              <a:lnSpc>
                <a:spcPts val="2567"/>
              </a:lnSpc>
            </a:pPr>
            <a:r>
              <a:rPr lang="en-US" sz="1833">
                <a:solidFill>
                  <a:srgbClr val="FDFDFD"/>
                </a:solidFill>
                <a:latin typeface="Barlow Semi-Bold"/>
              </a:rPr>
              <a:t>Secondary Driver 1:</a:t>
            </a:r>
          </a:p>
          <a:p>
            <a:pPr>
              <a:lnSpc>
                <a:spcPts val="2567"/>
              </a:lnSpc>
            </a:pPr>
            <a:r>
              <a:rPr lang="en-US" sz="1833">
                <a:solidFill>
                  <a:srgbClr val="FDFDFD"/>
                </a:solidFill>
                <a:latin typeface="Barlow"/>
              </a:rPr>
              <a:t>Organizational Leadership Commitment</a:t>
            </a:r>
          </a:p>
          <a:p>
            <a:pPr>
              <a:lnSpc>
                <a:spcPts val="2567"/>
              </a:lnSpc>
            </a:pPr>
            <a:endParaRPr lang="en-US" sz="1833">
              <a:solidFill>
                <a:srgbClr val="FDFDFD"/>
              </a:solidFill>
              <a:latin typeface="Barlow"/>
            </a:endParaRPr>
          </a:p>
        </p:txBody>
      </p:sp>
      <p:sp>
        <p:nvSpPr>
          <p:cNvPr id="18" name="TextBox 18"/>
          <p:cNvSpPr txBox="1"/>
          <p:nvPr/>
        </p:nvSpPr>
        <p:spPr>
          <a:xfrm>
            <a:off x="1291948" y="4120112"/>
            <a:ext cx="4236437" cy="963918"/>
          </a:xfrm>
          <a:prstGeom prst="rect">
            <a:avLst/>
          </a:prstGeom>
        </p:spPr>
        <p:txBody>
          <a:bodyPr lIns="0" tIns="0" rIns="0" bIns="0" rtlCol="0" anchor="t">
            <a:spAutoFit/>
          </a:bodyPr>
          <a:lstStyle/>
          <a:p>
            <a:pPr>
              <a:lnSpc>
                <a:spcPts val="2567"/>
              </a:lnSpc>
            </a:pPr>
            <a:r>
              <a:rPr lang="en-US" sz="1833">
                <a:solidFill>
                  <a:srgbClr val="FDFDFD"/>
                </a:solidFill>
                <a:latin typeface="Barlow Semi-Bold"/>
              </a:rPr>
              <a:t>Secondary Driver 2: </a:t>
            </a:r>
          </a:p>
          <a:p>
            <a:pPr>
              <a:lnSpc>
                <a:spcPts val="2567"/>
              </a:lnSpc>
            </a:pPr>
            <a:r>
              <a:rPr lang="en-US" sz="1833">
                <a:solidFill>
                  <a:srgbClr val="FDFDFD"/>
                </a:solidFill>
                <a:latin typeface="Barlow"/>
              </a:rPr>
              <a:t>Equitable and Inclusive Unit Policies </a:t>
            </a:r>
          </a:p>
          <a:p>
            <a:pPr>
              <a:lnSpc>
                <a:spcPts val="2567"/>
              </a:lnSpc>
            </a:pPr>
            <a:endParaRPr lang="en-US" sz="1833">
              <a:solidFill>
                <a:srgbClr val="FDFDFD"/>
              </a:solidFill>
              <a:latin typeface="Barlow"/>
            </a:endParaRPr>
          </a:p>
        </p:txBody>
      </p:sp>
      <p:sp>
        <p:nvSpPr>
          <p:cNvPr id="19" name="TextBox 19"/>
          <p:cNvSpPr txBox="1"/>
          <p:nvPr/>
        </p:nvSpPr>
        <p:spPr>
          <a:xfrm>
            <a:off x="762001" y="5206407"/>
            <a:ext cx="4571317" cy="963918"/>
          </a:xfrm>
          <a:prstGeom prst="rect">
            <a:avLst/>
          </a:prstGeom>
        </p:spPr>
        <p:txBody>
          <a:bodyPr lIns="0" tIns="0" rIns="0" bIns="0" rtlCol="0" anchor="t">
            <a:spAutoFit/>
          </a:bodyPr>
          <a:lstStyle/>
          <a:p>
            <a:pPr marL="395902" lvl="1" indent="-197951">
              <a:lnSpc>
                <a:spcPts val="2567"/>
              </a:lnSpc>
              <a:buFont typeface="Arial"/>
              <a:buChar char="•"/>
            </a:pPr>
            <a:r>
              <a:rPr lang="en-US" sz="1833">
                <a:solidFill>
                  <a:srgbClr val="000000"/>
                </a:solidFill>
                <a:latin typeface="Barlow"/>
              </a:rPr>
              <a:t>Cribs4Kids Policy guide, Infant Safe Sleep Policy Evaluation Guide </a:t>
            </a:r>
          </a:p>
          <a:p>
            <a:pPr>
              <a:lnSpc>
                <a:spcPts val="2567"/>
              </a:lnSpc>
            </a:pPr>
            <a:endParaRPr lang="en-US" sz="1833">
              <a:solidFill>
                <a:srgbClr val="000000"/>
              </a:solidFill>
              <a:latin typeface="Barlow"/>
            </a:endParaRPr>
          </a:p>
        </p:txBody>
      </p:sp>
      <p:sp>
        <p:nvSpPr>
          <p:cNvPr id="20" name="TextBox 20"/>
          <p:cNvSpPr txBox="1"/>
          <p:nvPr/>
        </p:nvSpPr>
        <p:spPr>
          <a:xfrm>
            <a:off x="289575" y="2766784"/>
            <a:ext cx="4570865" cy="308995"/>
          </a:xfrm>
          <a:prstGeom prst="rect">
            <a:avLst/>
          </a:prstGeom>
        </p:spPr>
        <p:txBody>
          <a:bodyPr wrap="square" lIns="0" tIns="0" rIns="0" bIns="0" rtlCol="0" anchor="t">
            <a:spAutoFit/>
          </a:bodyPr>
          <a:lstStyle/>
          <a:p>
            <a:pPr marL="285750" indent="-285750" algn="ctr">
              <a:lnSpc>
                <a:spcPts val="2567"/>
              </a:lnSpc>
              <a:spcBef>
                <a:spcPct val="0"/>
              </a:spcBef>
              <a:buFont typeface="Arial"/>
              <a:buChar char="•"/>
            </a:pPr>
            <a:r>
              <a:rPr lang="en-US" sz="1833">
                <a:solidFill>
                  <a:srgbClr val="000000"/>
                </a:solidFill>
                <a:latin typeface="Barlow"/>
              </a:rPr>
              <a:t>ESSI IDPH  Letter of Support</a:t>
            </a:r>
            <a:endParaRPr lang="en-US"/>
          </a:p>
        </p:txBody>
      </p:sp>
      <p:sp>
        <p:nvSpPr>
          <p:cNvPr id="21" name="TextBox 21"/>
          <p:cNvSpPr txBox="1"/>
          <p:nvPr/>
        </p:nvSpPr>
        <p:spPr>
          <a:xfrm>
            <a:off x="6901044" y="2634494"/>
            <a:ext cx="4052665" cy="1252138"/>
          </a:xfrm>
          <a:prstGeom prst="rect">
            <a:avLst/>
          </a:prstGeom>
        </p:spPr>
        <p:txBody>
          <a:bodyPr lIns="0" tIns="0" rIns="0" bIns="0" rtlCol="0" anchor="t">
            <a:spAutoFit/>
          </a:bodyPr>
          <a:lstStyle/>
          <a:p>
            <a:pPr>
              <a:lnSpc>
                <a:spcPts val="2460"/>
              </a:lnSpc>
            </a:pPr>
            <a:r>
              <a:rPr lang="en-US" sz="1757">
                <a:solidFill>
                  <a:srgbClr val="FDFDFD"/>
                </a:solidFill>
                <a:latin typeface="Barlow Semi-Bold"/>
              </a:rPr>
              <a:t>Secondary Driver 3: </a:t>
            </a:r>
          </a:p>
          <a:p>
            <a:pPr>
              <a:lnSpc>
                <a:spcPts val="2460"/>
              </a:lnSpc>
            </a:pPr>
            <a:r>
              <a:rPr lang="en-US" sz="1757">
                <a:solidFill>
                  <a:srgbClr val="FDFDFD"/>
                </a:solidFill>
                <a:latin typeface="Barlow"/>
              </a:rPr>
              <a:t>Parent and Caregiver Experience Prioritization</a:t>
            </a:r>
            <a:r>
              <a:rPr lang="en-US" sz="1757">
                <a:solidFill>
                  <a:srgbClr val="FDFDFD"/>
                </a:solidFill>
                <a:latin typeface="Barlow Semi-Bold"/>
              </a:rPr>
              <a:t> </a:t>
            </a:r>
          </a:p>
          <a:p>
            <a:pPr>
              <a:lnSpc>
                <a:spcPts val="2353"/>
              </a:lnSpc>
            </a:pPr>
            <a:endParaRPr lang="en-US" sz="1757">
              <a:solidFill>
                <a:srgbClr val="FDFDFD"/>
              </a:solidFill>
              <a:latin typeface="Barlow Semi-Bold"/>
            </a:endParaRPr>
          </a:p>
        </p:txBody>
      </p:sp>
      <p:sp>
        <p:nvSpPr>
          <p:cNvPr id="22" name="TextBox 22"/>
          <p:cNvSpPr txBox="1"/>
          <p:nvPr/>
        </p:nvSpPr>
        <p:spPr>
          <a:xfrm>
            <a:off x="6096000" y="3913931"/>
            <a:ext cx="4984005" cy="1297343"/>
          </a:xfrm>
          <a:prstGeom prst="rect">
            <a:avLst/>
          </a:prstGeom>
        </p:spPr>
        <p:txBody>
          <a:bodyPr lIns="0" tIns="0" rIns="0" bIns="0" rtlCol="0" anchor="t">
            <a:spAutoFit/>
          </a:bodyPr>
          <a:lstStyle/>
          <a:p>
            <a:pPr marL="395605" lvl="1" indent="-197485">
              <a:lnSpc>
                <a:spcPts val="2567"/>
              </a:lnSpc>
              <a:buFont typeface="Arial"/>
              <a:buChar char="•"/>
            </a:pPr>
            <a:r>
              <a:rPr lang="en-US">
                <a:solidFill>
                  <a:srgbClr val="000000"/>
                </a:solidFill>
                <a:latin typeface="Barlow"/>
              </a:rPr>
              <a:t>Illinois Language Assistance Services Act</a:t>
            </a:r>
            <a:endParaRPr lang="en-US"/>
          </a:p>
          <a:p>
            <a:pPr marL="395605" lvl="1" indent="-197485">
              <a:lnSpc>
                <a:spcPts val="2567"/>
              </a:lnSpc>
              <a:buFont typeface="Arial"/>
              <a:buChar char="•"/>
            </a:pPr>
            <a:r>
              <a:rPr lang="en-US">
                <a:solidFill>
                  <a:srgbClr val="000000"/>
                </a:solidFill>
                <a:latin typeface="Barlow"/>
              </a:rPr>
              <a:t>Hospital examples of how to encourage your unit to highlight data, stories, and strategies pertaining to racial equity </a:t>
            </a:r>
          </a:p>
        </p:txBody>
      </p:sp>
      <p:sp>
        <p:nvSpPr>
          <p:cNvPr id="24" name="Freeform 4">
            <a:extLst>
              <a:ext uri="{FF2B5EF4-FFF2-40B4-BE49-F238E27FC236}">
                <a16:creationId xmlns:a16="http://schemas.microsoft.com/office/drawing/2014/main" id="{82DED22A-2957-2107-97D2-7694FF88F0A5}"/>
              </a:ext>
            </a:extLst>
          </p:cNvPr>
          <p:cNvSpPr/>
          <p:nvPr/>
        </p:nvSpPr>
        <p:spPr>
          <a:xfrm>
            <a:off x="7175964" y="349143"/>
            <a:ext cx="1684278" cy="140033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26" name="TextBox 19">
            <a:extLst>
              <a:ext uri="{FF2B5EF4-FFF2-40B4-BE49-F238E27FC236}">
                <a16:creationId xmlns:a16="http://schemas.microsoft.com/office/drawing/2014/main" id="{7ADA2A22-B85F-E8A9-52B3-7FA1A111EB25}"/>
              </a:ext>
            </a:extLst>
          </p:cNvPr>
          <p:cNvSpPr txBox="1"/>
          <p:nvPr/>
        </p:nvSpPr>
        <p:spPr>
          <a:xfrm>
            <a:off x="8817244" y="1251485"/>
            <a:ext cx="2503440" cy="359073"/>
          </a:xfrm>
          <a:prstGeom prst="rect">
            <a:avLst/>
          </a:prstGeom>
        </p:spPr>
        <p:txBody>
          <a:bodyPr wrap="square" lIns="0" tIns="0" rIns="0" bIns="0" rtlCol="0" anchor="t">
            <a:spAutoFit/>
          </a:bodyPr>
          <a:lstStyle/>
          <a:p>
            <a:pPr algn="ctr">
              <a:lnSpc>
                <a:spcPts val="2755"/>
              </a:lnSpc>
            </a:pPr>
            <a:r>
              <a:rPr lang="en-US" sz="2800" b="1" spc="85">
                <a:solidFill>
                  <a:srgbClr val="1C498B"/>
                </a:solidFill>
                <a:latin typeface="Barlow Bold"/>
              </a:rPr>
              <a:t>ESSI Toolkit</a:t>
            </a:r>
          </a:p>
        </p:txBody>
      </p:sp>
      <p:sp>
        <p:nvSpPr>
          <p:cNvPr id="28" name="Freeform 21">
            <a:extLst>
              <a:ext uri="{FF2B5EF4-FFF2-40B4-BE49-F238E27FC236}">
                <a16:creationId xmlns:a16="http://schemas.microsoft.com/office/drawing/2014/main" id="{D3AD1992-E406-9041-27DE-F66F0C777757}"/>
              </a:ext>
            </a:extLst>
          </p:cNvPr>
          <p:cNvSpPr/>
          <p:nvPr/>
        </p:nvSpPr>
        <p:spPr>
          <a:xfrm>
            <a:off x="10266940" y="209244"/>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3"/>
            <a:stretch>
              <a:fillRect/>
            </a:stretch>
          </a:blipFill>
        </p:spPr>
      </p:sp>
    </p:spTree>
    <p:extLst>
      <p:ext uri="{BB962C8B-B14F-4D97-AF65-F5344CB8AC3E}">
        <p14:creationId xmlns:p14="http://schemas.microsoft.com/office/powerpoint/2010/main" val="629433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a:ea typeface="Lato Medium"/>
                <a:cs typeface="Lato Medium"/>
              </a:rPr>
              <a:t>Key Driver Diagram</a:t>
            </a:r>
            <a:endParaRPr lang="en-US"/>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27</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05089" y="2617418"/>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DFD5A0D1-51F6-710D-06A4-BD15D9E25C76}"/>
              </a:ext>
            </a:extLst>
          </p:cNvPr>
          <p:cNvSpPr/>
          <p:nvPr/>
        </p:nvSpPr>
        <p:spPr>
          <a:xfrm>
            <a:off x="4381500" y="2450404"/>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ea typeface="Calibri"/>
                <a:cs typeface="Calibri"/>
              </a:rPr>
              <a:t>3</a:t>
            </a:r>
          </a:p>
        </p:txBody>
      </p:sp>
    </p:spTree>
    <p:extLst>
      <p:ext uri="{BB962C8B-B14F-4D97-AF65-F5344CB8AC3E}">
        <p14:creationId xmlns:p14="http://schemas.microsoft.com/office/powerpoint/2010/main" val="488873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Arrow Connector 69">
            <a:extLst>
              <a:ext uri="{FF2B5EF4-FFF2-40B4-BE49-F238E27FC236}">
                <a16:creationId xmlns:a16="http://schemas.microsoft.com/office/drawing/2014/main" id="{FAB1A723-05C8-C0B8-46CD-6CEC5D6BBD04}"/>
              </a:ext>
            </a:extLst>
          </p:cNvPr>
          <p:cNvCxnSpPr>
            <a:cxnSpLocks/>
          </p:cNvCxnSpPr>
          <p:nvPr/>
        </p:nvCxnSpPr>
        <p:spPr>
          <a:xfrm flipV="1">
            <a:off x="4514380" y="1462332"/>
            <a:ext cx="1261541" cy="2284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707187BC-B253-F405-832D-75199CFA7D3B}"/>
              </a:ext>
            </a:extLst>
          </p:cNvPr>
          <p:cNvCxnSpPr>
            <a:cxnSpLocks/>
          </p:cNvCxnSpPr>
          <p:nvPr/>
        </p:nvCxnSpPr>
        <p:spPr>
          <a:xfrm>
            <a:off x="4525423" y="1723959"/>
            <a:ext cx="1250498" cy="389940"/>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sp>
        <p:nvSpPr>
          <p:cNvPr id="3" name="Freeform 3"/>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4" name="Group 4"/>
          <p:cNvGrpSpPr/>
          <p:nvPr/>
        </p:nvGrpSpPr>
        <p:grpSpPr>
          <a:xfrm>
            <a:off x="5781680" y="1844123"/>
            <a:ext cx="5457846" cy="647694"/>
            <a:chOff x="0" y="0"/>
            <a:chExt cx="2156186" cy="255879"/>
          </a:xfrm>
        </p:grpSpPr>
        <p:sp>
          <p:nvSpPr>
            <p:cNvPr id="5" name="Freeform 5"/>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0CC0DF"/>
            </a:solidFill>
          </p:spPr>
        </p:sp>
        <p:sp>
          <p:nvSpPr>
            <p:cNvPr id="6" name="TextBox 6"/>
            <p:cNvSpPr txBox="1"/>
            <p:nvPr/>
          </p:nvSpPr>
          <p:spPr>
            <a:xfrm>
              <a:off x="0" y="-38100"/>
              <a:ext cx="2156186" cy="293979"/>
            </a:xfrm>
            <a:prstGeom prst="rect">
              <a:avLst/>
            </a:prstGeom>
          </p:spPr>
          <p:txBody>
            <a:bodyPr lIns="33867" tIns="33867" rIns="33867" bIns="33867" rtlCol="0" anchor="ctr"/>
            <a:lstStyle/>
            <a:p>
              <a:pPr algn="ctr">
                <a:lnSpc>
                  <a:spcPts val="1882"/>
                </a:lnSpc>
              </a:pPr>
              <a:endParaRPr sz="800"/>
            </a:p>
          </p:txBody>
        </p:sp>
      </p:grpSp>
      <p:grpSp>
        <p:nvGrpSpPr>
          <p:cNvPr id="7" name="Group 7"/>
          <p:cNvGrpSpPr/>
          <p:nvPr/>
        </p:nvGrpSpPr>
        <p:grpSpPr>
          <a:xfrm>
            <a:off x="5781680" y="1126951"/>
            <a:ext cx="5457846" cy="647694"/>
            <a:chOff x="0" y="0"/>
            <a:chExt cx="2156186" cy="255879"/>
          </a:xfrm>
        </p:grpSpPr>
        <p:sp>
          <p:nvSpPr>
            <p:cNvPr id="8" name="Freeform 8"/>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F94C66"/>
            </a:solidFill>
          </p:spPr>
        </p:sp>
        <p:sp>
          <p:nvSpPr>
            <p:cNvPr id="9" name="TextBox 9"/>
            <p:cNvSpPr txBox="1"/>
            <p:nvPr/>
          </p:nvSpPr>
          <p:spPr>
            <a:xfrm>
              <a:off x="0" y="-38100"/>
              <a:ext cx="2156186" cy="293979"/>
            </a:xfrm>
            <a:prstGeom prst="rect">
              <a:avLst/>
            </a:prstGeom>
          </p:spPr>
          <p:txBody>
            <a:bodyPr lIns="33867" tIns="33867" rIns="33867" bIns="33867" rtlCol="0" anchor="ctr"/>
            <a:lstStyle/>
            <a:p>
              <a:pPr algn="ctr">
                <a:lnSpc>
                  <a:spcPts val="1882"/>
                </a:lnSpc>
              </a:pPr>
              <a:endParaRPr sz="800"/>
            </a:p>
          </p:txBody>
        </p:sp>
      </p:grpSp>
      <p:sp>
        <p:nvSpPr>
          <p:cNvPr id="10" name="AutoShape 10"/>
          <p:cNvSpPr/>
          <p:nvPr/>
        </p:nvSpPr>
        <p:spPr>
          <a:xfrm flipV="1">
            <a:off x="6750219" y="1154810"/>
            <a:ext cx="0" cy="570703"/>
          </a:xfrm>
          <a:prstGeom prst="line">
            <a:avLst/>
          </a:prstGeom>
          <a:ln w="38100" cap="flat">
            <a:solidFill>
              <a:srgbClr val="FFFFFF"/>
            </a:solidFill>
            <a:prstDash val="solid"/>
            <a:headEnd type="none" w="sm" len="sm"/>
            <a:tailEnd type="none" w="sm" len="sm"/>
          </a:ln>
        </p:spPr>
      </p:sp>
      <p:sp>
        <p:nvSpPr>
          <p:cNvPr id="11" name="AutoShape 11"/>
          <p:cNvSpPr/>
          <p:nvPr/>
        </p:nvSpPr>
        <p:spPr>
          <a:xfrm>
            <a:off x="5781679" y="2608669"/>
            <a:ext cx="1488295" cy="0"/>
          </a:xfrm>
          <a:prstGeom prst="line">
            <a:avLst/>
          </a:prstGeom>
          <a:ln w="38100" cap="flat">
            <a:solidFill>
              <a:srgbClr val="000000"/>
            </a:solidFill>
            <a:prstDash val="solid"/>
            <a:headEnd type="none" w="sm" len="sm"/>
            <a:tailEnd type="none" w="sm" len="sm"/>
          </a:ln>
        </p:spPr>
      </p:sp>
      <p:sp>
        <p:nvSpPr>
          <p:cNvPr id="12" name="Freeform 1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13" name="Freeform 13"/>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4" name="Group 14"/>
          <p:cNvGrpSpPr/>
          <p:nvPr/>
        </p:nvGrpSpPr>
        <p:grpSpPr>
          <a:xfrm>
            <a:off x="11377921" y="6168748"/>
            <a:ext cx="1368800" cy="1368800"/>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6" name="TextBox 1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7" name="Group 17"/>
          <p:cNvGrpSpPr/>
          <p:nvPr/>
        </p:nvGrpSpPr>
        <p:grpSpPr>
          <a:xfrm>
            <a:off x="-415216" y="-654827"/>
            <a:ext cx="1368800" cy="1368800"/>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9" name="TextBox 1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0" name="Freeform 20"/>
          <p:cNvSpPr/>
          <p:nvPr/>
        </p:nvSpPr>
        <p:spPr>
          <a:xfrm>
            <a:off x="3065348" y="572892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21" name="Freeform 21"/>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2" name="Freeform 2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3" name="Freeform 23"/>
          <p:cNvSpPr/>
          <p:nvPr/>
        </p:nvSpPr>
        <p:spPr>
          <a:xfrm>
            <a:off x="10594837" y="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grpSp>
        <p:nvGrpSpPr>
          <p:cNvPr id="24" name="Group 24"/>
          <p:cNvGrpSpPr/>
          <p:nvPr/>
        </p:nvGrpSpPr>
        <p:grpSpPr>
          <a:xfrm>
            <a:off x="685801" y="1364983"/>
            <a:ext cx="3816499" cy="721061"/>
            <a:chOff x="0" y="0"/>
            <a:chExt cx="1300650" cy="245735"/>
          </a:xfrm>
        </p:grpSpPr>
        <p:sp>
          <p:nvSpPr>
            <p:cNvPr id="25" name="Freeform 25"/>
            <p:cNvSpPr/>
            <p:nvPr/>
          </p:nvSpPr>
          <p:spPr>
            <a:xfrm>
              <a:off x="0" y="0"/>
              <a:ext cx="1300650" cy="245735"/>
            </a:xfrm>
            <a:custGeom>
              <a:avLst/>
              <a:gdLst/>
              <a:ahLst/>
              <a:cxnLst/>
              <a:rect l="l" t="t" r="r" b="b"/>
              <a:pathLst>
                <a:path w="1300650" h="245735">
                  <a:moveTo>
                    <a:pt x="27047" y="0"/>
                  </a:moveTo>
                  <a:lnTo>
                    <a:pt x="1273603" y="0"/>
                  </a:lnTo>
                  <a:cubicBezTo>
                    <a:pt x="1288541" y="0"/>
                    <a:pt x="1300650" y="12109"/>
                    <a:pt x="1300650" y="27047"/>
                  </a:cubicBezTo>
                  <a:lnTo>
                    <a:pt x="1300650" y="218688"/>
                  </a:lnTo>
                  <a:cubicBezTo>
                    <a:pt x="1300650" y="225861"/>
                    <a:pt x="1297800" y="232741"/>
                    <a:pt x="1292728" y="237813"/>
                  </a:cubicBezTo>
                  <a:cubicBezTo>
                    <a:pt x="1287656" y="242885"/>
                    <a:pt x="1280776" y="245735"/>
                    <a:pt x="1273603" y="245735"/>
                  </a:cubicBezTo>
                  <a:lnTo>
                    <a:pt x="27047" y="245735"/>
                  </a:lnTo>
                  <a:cubicBezTo>
                    <a:pt x="19874" y="245735"/>
                    <a:pt x="12994" y="242885"/>
                    <a:pt x="7922" y="237813"/>
                  </a:cubicBezTo>
                  <a:cubicBezTo>
                    <a:pt x="2850" y="232741"/>
                    <a:pt x="0" y="225861"/>
                    <a:pt x="0" y="21868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26" name="TextBox 26"/>
            <p:cNvSpPr txBox="1"/>
            <p:nvPr/>
          </p:nvSpPr>
          <p:spPr>
            <a:xfrm>
              <a:off x="0" y="-38100"/>
              <a:ext cx="1300650" cy="283835"/>
            </a:xfrm>
            <a:prstGeom prst="rect">
              <a:avLst/>
            </a:prstGeom>
          </p:spPr>
          <p:txBody>
            <a:bodyPr lIns="33867" tIns="33867" rIns="33867" bIns="33867" rtlCol="0" anchor="ctr"/>
            <a:lstStyle/>
            <a:p>
              <a:pPr algn="ctr">
                <a:lnSpc>
                  <a:spcPts val="1882"/>
                </a:lnSpc>
              </a:pPr>
              <a:endParaRPr sz="800"/>
            </a:p>
          </p:txBody>
        </p:sp>
      </p:grpSp>
      <p:grpSp>
        <p:nvGrpSpPr>
          <p:cNvPr id="27" name="Group 27"/>
          <p:cNvGrpSpPr/>
          <p:nvPr/>
        </p:nvGrpSpPr>
        <p:grpSpPr>
          <a:xfrm>
            <a:off x="5781680" y="2710269"/>
            <a:ext cx="5457846" cy="726449"/>
            <a:chOff x="0" y="0"/>
            <a:chExt cx="2156186" cy="286992"/>
          </a:xfrm>
        </p:grpSpPr>
        <p:sp>
          <p:nvSpPr>
            <p:cNvPr id="28" name="Freeform 28"/>
            <p:cNvSpPr/>
            <p:nvPr/>
          </p:nvSpPr>
          <p:spPr>
            <a:xfrm>
              <a:off x="0" y="0"/>
              <a:ext cx="2156186" cy="286992"/>
            </a:xfrm>
            <a:custGeom>
              <a:avLst/>
              <a:gdLst/>
              <a:ahLst/>
              <a:cxnLst/>
              <a:rect l="l" t="t" r="r" b="b"/>
              <a:pathLst>
                <a:path w="2156186" h="286992">
                  <a:moveTo>
                    <a:pt x="28370" y="0"/>
                  </a:moveTo>
                  <a:lnTo>
                    <a:pt x="2127816" y="0"/>
                  </a:lnTo>
                  <a:cubicBezTo>
                    <a:pt x="2143484" y="0"/>
                    <a:pt x="2156186" y="12702"/>
                    <a:pt x="2156186" y="28370"/>
                  </a:cubicBezTo>
                  <a:lnTo>
                    <a:pt x="2156186" y="258622"/>
                  </a:lnTo>
                  <a:cubicBezTo>
                    <a:pt x="2156186" y="274290"/>
                    <a:pt x="2143484" y="286992"/>
                    <a:pt x="2127816" y="286992"/>
                  </a:cubicBezTo>
                  <a:lnTo>
                    <a:pt x="28370" y="286992"/>
                  </a:lnTo>
                  <a:cubicBezTo>
                    <a:pt x="12702" y="286992"/>
                    <a:pt x="0" y="274290"/>
                    <a:pt x="0" y="258622"/>
                  </a:cubicBezTo>
                  <a:lnTo>
                    <a:pt x="0" y="28370"/>
                  </a:lnTo>
                  <a:cubicBezTo>
                    <a:pt x="0" y="12702"/>
                    <a:pt x="12702" y="0"/>
                    <a:pt x="28370" y="0"/>
                  </a:cubicBezTo>
                  <a:close/>
                </a:path>
              </a:pathLst>
            </a:custGeom>
            <a:solidFill>
              <a:srgbClr val="4373A4"/>
            </a:solidFill>
          </p:spPr>
        </p:sp>
        <p:sp>
          <p:nvSpPr>
            <p:cNvPr id="29" name="TextBox 29"/>
            <p:cNvSpPr txBox="1"/>
            <p:nvPr/>
          </p:nvSpPr>
          <p:spPr>
            <a:xfrm>
              <a:off x="0" y="-38100"/>
              <a:ext cx="2156186" cy="325092"/>
            </a:xfrm>
            <a:prstGeom prst="rect">
              <a:avLst/>
            </a:prstGeom>
          </p:spPr>
          <p:txBody>
            <a:bodyPr lIns="33867" tIns="33867" rIns="33867" bIns="33867" rtlCol="0" anchor="ctr"/>
            <a:lstStyle/>
            <a:p>
              <a:pPr algn="ctr">
                <a:lnSpc>
                  <a:spcPts val="1882"/>
                </a:lnSpc>
              </a:pPr>
              <a:endParaRPr sz="800"/>
            </a:p>
          </p:txBody>
        </p:sp>
      </p:grpSp>
      <p:sp>
        <p:nvSpPr>
          <p:cNvPr id="30" name="AutoShape 30"/>
          <p:cNvSpPr/>
          <p:nvPr/>
        </p:nvSpPr>
        <p:spPr>
          <a:xfrm flipV="1">
            <a:off x="6750219" y="2766583"/>
            <a:ext cx="0" cy="570703"/>
          </a:xfrm>
          <a:prstGeom prst="line">
            <a:avLst/>
          </a:prstGeom>
          <a:ln w="38100" cap="flat">
            <a:solidFill>
              <a:srgbClr val="FFFFFF"/>
            </a:solidFill>
            <a:prstDash val="solid"/>
            <a:headEnd type="none" w="sm" len="sm"/>
            <a:tailEnd type="none" w="sm" len="sm"/>
          </a:ln>
        </p:spPr>
      </p:sp>
      <p:sp>
        <p:nvSpPr>
          <p:cNvPr id="31" name="Freeform 31"/>
          <p:cNvSpPr/>
          <p:nvPr/>
        </p:nvSpPr>
        <p:spPr>
          <a:xfrm>
            <a:off x="9280105" y="160392"/>
            <a:ext cx="856561" cy="750659"/>
          </a:xfrm>
          <a:custGeom>
            <a:avLst/>
            <a:gdLst/>
            <a:ahLst/>
            <a:cxnLst/>
            <a:rect l="l" t="t" r="r" b="b"/>
            <a:pathLst>
              <a:path w="1284841" h="1125988">
                <a:moveTo>
                  <a:pt x="0" y="0"/>
                </a:moveTo>
                <a:lnTo>
                  <a:pt x="1284841" y="0"/>
                </a:lnTo>
                <a:lnTo>
                  <a:pt x="1284841" y="1125988"/>
                </a:lnTo>
                <a:lnTo>
                  <a:pt x="0" y="1125988"/>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32" name="AutoShape 32"/>
          <p:cNvSpPr/>
          <p:nvPr/>
        </p:nvSpPr>
        <p:spPr>
          <a:xfrm flipV="1">
            <a:off x="6743869" y="1882619"/>
            <a:ext cx="0" cy="570703"/>
          </a:xfrm>
          <a:prstGeom prst="line">
            <a:avLst/>
          </a:prstGeom>
          <a:ln w="38100" cap="flat">
            <a:solidFill>
              <a:srgbClr val="FFFFFF"/>
            </a:solidFill>
            <a:prstDash val="solid"/>
            <a:headEnd type="none" w="sm" len="sm"/>
            <a:tailEnd type="none" w="sm" len="sm"/>
          </a:ln>
        </p:spPr>
      </p:sp>
      <p:grpSp>
        <p:nvGrpSpPr>
          <p:cNvPr id="33" name="Group 33"/>
          <p:cNvGrpSpPr/>
          <p:nvPr/>
        </p:nvGrpSpPr>
        <p:grpSpPr>
          <a:xfrm>
            <a:off x="5781680" y="4596369"/>
            <a:ext cx="5457846" cy="759601"/>
            <a:chOff x="0" y="0"/>
            <a:chExt cx="2156186" cy="300089"/>
          </a:xfrm>
        </p:grpSpPr>
        <p:sp>
          <p:nvSpPr>
            <p:cNvPr id="34" name="Freeform 34"/>
            <p:cNvSpPr/>
            <p:nvPr/>
          </p:nvSpPr>
          <p:spPr>
            <a:xfrm>
              <a:off x="0" y="0"/>
              <a:ext cx="2156186" cy="300089"/>
            </a:xfrm>
            <a:custGeom>
              <a:avLst/>
              <a:gdLst/>
              <a:ahLst/>
              <a:cxnLst/>
              <a:rect l="l" t="t" r="r" b="b"/>
              <a:pathLst>
                <a:path w="2156186" h="300089">
                  <a:moveTo>
                    <a:pt x="28370" y="0"/>
                  </a:moveTo>
                  <a:lnTo>
                    <a:pt x="2127816" y="0"/>
                  </a:lnTo>
                  <a:cubicBezTo>
                    <a:pt x="2143484" y="0"/>
                    <a:pt x="2156186" y="12702"/>
                    <a:pt x="2156186" y="28370"/>
                  </a:cubicBezTo>
                  <a:lnTo>
                    <a:pt x="2156186" y="271719"/>
                  </a:lnTo>
                  <a:cubicBezTo>
                    <a:pt x="2156186" y="287388"/>
                    <a:pt x="2143484" y="300089"/>
                    <a:pt x="2127816" y="300089"/>
                  </a:cubicBezTo>
                  <a:lnTo>
                    <a:pt x="28370" y="300089"/>
                  </a:lnTo>
                  <a:cubicBezTo>
                    <a:pt x="12702" y="300089"/>
                    <a:pt x="0" y="287388"/>
                    <a:pt x="0" y="271719"/>
                  </a:cubicBezTo>
                  <a:lnTo>
                    <a:pt x="0" y="28370"/>
                  </a:lnTo>
                  <a:cubicBezTo>
                    <a:pt x="0" y="12702"/>
                    <a:pt x="12702" y="0"/>
                    <a:pt x="28370" y="0"/>
                  </a:cubicBezTo>
                  <a:close/>
                </a:path>
              </a:pathLst>
            </a:custGeom>
            <a:solidFill>
              <a:srgbClr val="53BF9D"/>
            </a:solidFill>
          </p:spPr>
        </p:sp>
        <p:sp>
          <p:nvSpPr>
            <p:cNvPr id="35" name="TextBox 35"/>
            <p:cNvSpPr txBox="1"/>
            <p:nvPr/>
          </p:nvSpPr>
          <p:spPr>
            <a:xfrm>
              <a:off x="0" y="-38100"/>
              <a:ext cx="2156186" cy="338189"/>
            </a:xfrm>
            <a:prstGeom prst="rect">
              <a:avLst/>
            </a:prstGeom>
          </p:spPr>
          <p:txBody>
            <a:bodyPr lIns="33867" tIns="33867" rIns="33867" bIns="33867" rtlCol="0" anchor="ctr"/>
            <a:lstStyle/>
            <a:p>
              <a:pPr algn="ctr">
                <a:lnSpc>
                  <a:spcPts val="1882"/>
                </a:lnSpc>
              </a:pPr>
              <a:endParaRPr sz="800"/>
            </a:p>
          </p:txBody>
        </p:sp>
      </p:grpSp>
      <p:sp>
        <p:nvSpPr>
          <p:cNvPr id="36" name="AutoShape 36"/>
          <p:cNvSpPr/>
          <p:nvPr/>
        </p:nvSpPr>
        <p:spPr>
          <a:xfrm flipV="1">
            <a:off x="6743869" y="4688074"/>
            <a:ext cx="0" cy="570703"/>
          </a:xfrm>
          <a:prstGeom prst="line">
            <a:avLst/>
          </a:prstGeom>
          <a:ln w="38100" cap="flat">
            <a:solidFill>
              <a:srgbClr val="FFFFFF"/>
            </a:solidFill>
            <a:prstDash val="solid"/>
            <a:headEnd type="none" w="sm" len="sm"/>
            <a:tailEnd type="none" w="sm" len="sm"/>
          </a:ln>
        </p:spPr>
      </p:sp>
      <p:grpSp>
        <p:nvGrpSpPr>
          <p:cNvPr id="37" name="Group 37"/>
          <p:cNvGrpSpPr/>
          <p:nvPr/>
        </p:nvGrpSpPr>
        <p:grpSpPr>
          <a:xfrm>
            <a:off x="5781680" y="3544667"/>
            <a:ext cx="5457846" cy="943751"/>
            <a:chOff x="0" y="0"/>
            <a:chExt cx="2156186" cy="372840"/>
          </a:xfrm>
        </p:grpSpPr>
        <p:sp>
          <p:nvSpPr>
            <p:cNvPr id="38" name="Freeform 38"/>
            <p:cNvSpPr/>
            <p:nvPr/>
          </p:nvSpPr>
          <p:spPr>
            <a:xfrm>
              <a:off x="0" y="0"/>
              <a:ext cx="2156186" cy="372840"/>
            </a:xfrm>
            <a:custGeom>
              <a:avLst/>
              <a:gdLst/>
              <a:ahLst/>
              <a:cxnLst/>
              <a:rect l="l" t="t" r="r" b="b"/>
              <a:pathLst>
                <a:path w="2156186" h="372840">
                  <a:moveTo>
                    <a:pt x="28370" y="0"/>
                  </a:moveTo>
                  <a:lnTo>
                    <a:pt x="2127816" y="0"/>
                  </a:lnTo>
                  <a:cubicBezTo>
                    <a:pt x="2143484" y="0"/>
                    <a:pt x="2156186" y="12702"/>
                    <a:pt x="2156186" y="28370"/>
                  </a:cubicBezTo>
                  <a:lnTo>
                    <a:pt x="2156186" y="344470"/>
                  </a:lnTo>
                  <a:cubicBezTo>
                    <a:pt x="2156186" y="360138"/>
                    <a:pt x="2143484" y="372840"/>
                    <a:pt x="2127816" y="372840"/>
                  </a:cubicBezTo>
                  <a:lnTo>
                    <a:pt x="28370" y="372840"/>
                  </a:lnTo>
                  <a:cubicBezTo>
                    <a:pt x="12702" y="372840"/>
                    <a:pt x="0" y="360138"/>
                    <a:pt x="0" y="344470"/>
                  </a:cubicBezTo>
                  <a:lnTo>
                    <a:pt x="0" y="28370"/>
                  </a:lnTo>
                  <a:cubicBezTo>
                    <a:pt x="0" y="12702"/>
                    <a:pt x="12702" y="0"/>
                    <a:pt x="28370" y="0"/>
                  </a:cubicBezTo>
                  <a:close/>
                </a:path>
              </a:pathLst>
            </a:custGeom>
            <a:solidFill>
              <a:srgbClr val="BD4291"/>
            </a:solidFill>
          </p:spPr>
        </p:sp>
        <p:sp>
          <p:nvSpPr>
            <p:cNvPr id="39" name="TextBox 39"/>
            <p:cNvSpPr txBox="1"/>
            <p:nvPr/>
          </p:nvSpPr>
          <p:spPr>
            <a:xfrm>
              <a:off x="0" y="-38100"/>
              <a:ext cx="2156186" cy="410940"/>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flipV="1">
            <a:off x="6743869" y="3743335"/>
            <a:ext cx="0" cy="570703"/>
          </a:xfrm>
          <a:prstGeom prst="line">
            <a:avLst/>
          </a:prstGeom>
          <a:ln w="38100" cap="flat">
            <a:solidFill>
              <a:srgbClr val="FFFFFF"/>
            </a:solidFill>
            <a:prstDash val="solid"/>
            <a:headEnd type="none" w="sm" len="sm"/>
            <a:tailEnd type="none" w="sm" len="sm"/>
          </a:ln>
        </p:spPr>
      </p:sp>
      <p:grpSp>
        <p:nvGrpSpPr>
          <p:cNvPr id="41" name="Group 41"/>
          <p:cNvGrpSpPr/>
          <p:nvPr/>
        </p:nvGrpSpPr>
        <p:grpSpPr>
          <a:xfrm>
            <a:off x="685801" y="3115025"/>
            <a:ext cx="3816499" cy="832858"/>
            <a:chOff x="0" y="-38100"/>
            <a:chExt cx="1300650" cy="283835"/>
          </a:xfrm>
        </p:grpSpPr>
        <p:sp>
          <p:nvSpPr>
            <p:cNvPr id="42" name="Freeform 42"/>
            <p:cNvSpPr/>
            <p:nvPr/>
          </p:nvSpPr>
          <p:spPr>
            <a:xfrm>
              <a:off x="0" y="0"/>
              <a:ext cx="1300650" cy="245735"/>
            </a:xfrm>
            <a:custGeom>
              <a:avLst/>
              <a:gdLst/>
              <a:ahLst/>
              <a:cxnLst/>
              <a:rect l="l" t="t" r="r" b="b"/>
              <a:pathLst>
                <a:path w="1300650" h="245735">
                  <a:moveTo>
                    <a:pt x="27047" y="0"/>
                  </a:moveTo>
                  <a:lnTo>
                    <a:pt x="1273603" y="0"/>
                  </a:lnTo>
                  <a:cubicBezTo>
                    <a:pt x="1288541" y="0"/>
                    <a:pt x="1300650" y="12109"/>
                    <a:pt x="1300650" y="27047"/>
                  </a:cubicBezTo>
                  <a:lnTo>
                    <a:pt x="1300650" y="218688"/>
                  </a:lnTo>
                  <a:cubicBezTo>
                    <a:pt x="1300650" y="225861"/>
                    <a:pt x="1297800" y="232741"/>
                    <a:pt x="1292728" y="237813"/>
                  </a:cubicBezTo>
                  <a:cubicBezTo>
                    <a:pt x="1287656" y="242885"/>
                    <a:pt x="1280776" y="245735"/>
                    <a:pt x="1273603" y="245735"/>
                  </a:cubicBezTo>
                  <a:lnTo>
                    <a:pt x="27047" y="245735"/>
                  </a:lnTo>
                  <a:cubicBezTo>
                    <a:pt x="19874" y="245735"/>
                    <a:pt x="12994" y="242885"/>
                    <a:pt x="7922" y="237813"/>
                  </a:cubicBezTo>
                  <a:cubicBezTo>
                    <a:pt x="2850" y="232741"/>
                    <a:pt x="0" y="225861"/>
                    <a:pt x="0" y="21868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BD4291"/>
              </a:solidFill>
              <a:prstDash val="solid"/>
              <a:miter/>
            </a:ln>
          </p:spPr>
        </p:sp>
        <p:sp>
          <p:nvSpPr>
            <p:cNvPr id="43" name="TextBox 43"/>
            <p:cNvSpPr txBox="1"/>
            <p:nvPr/>
          </p:nvSpPr>
          <p:spPr>
            <a:xfrm>
              <a:off x="0" y="-38100"/>
              <a:ext cx="1300650" cy="283835"/>
            </a:xfrm>
            <a:prstGeom prst="rect">
              <a:avLst/>
            </a:prstGeom>
          </p:spPr>
          <p:txBody>
            <a:bodyPr lIns="33867" tIns="33867" rIns="33867" bIns="33867" rtlCol="0" anchor="ctr"/>
            <a:lstStyle/>
            <a:p>
              <a:pPr algn="ctr">
                <a:lnSpc>
                  <a:spcPts val="1882"/>
                </a:lnSpc>
              </a:pPr>
              <a:endParaRPr sz="800"/>
            </a:p>
          </p:txBody>
        </p:sp>
      </p:grpSp>
      <p:grpSp>
        <p:nvGrpSpPr>
          <p:cNvPr id="44" name="Group 44"/>
          <p:cNvGrpSpPr/>
          <p:nvPr/>
        </p:nvGrpSpPr>
        <p:grpSpPr>
          <a:xfrm>
            <a:off x="669953" y="4860582"/>
            <a:ext cx="3810259" cy="1087980"/>
            <a:chOff x="0" y="-38100"/>
            <a:chExt cx="1298524" cy="370780"/>
          </a:xfrm>
        </p:grpSpPr>
        <p:sp>
          <p:nvSpPr>
            <p:cNvPr id="45" name="Freeform 45"/>
            <p:cNvSpPr/>
            <p:nvPr/>
          </p:nvSpPr>
          <p:spPr>
            <a:xfrm>
              <a:off x="0" y="0"/>
              <a:ext cx="1298524" cy="332680"/>
            </a:xfrm>
            <a:custGeom>
              <a:avLst/>
              <a:gdLst/>
              <a:ahLst/>
              <a:cxnLst/>
              <a:rect l="l" t="t" r="r" b="b"/>
              <a:pathLst>
                <a:path w="1298524" h="332680">
                  <a:moveTo>
                    <a:pt x="27091" y="0"/>
                  </a:moveTo>
                  <a:lnTo>
                    <a:pt x="1271432" y="0"/>
                  </a:lnTo>
                  <a:cubicBezTo>
                    <a:pt x="1286394" y="0"/>
                    <a:pt x="1298524" y="12129"/>
                    <a:pt x="1298524" y="27091"/>
                  </a:cubicBezTo>
                  <a:lnTo>
                    <a:pt x="1298524" y="305588"/>
                  </a:lnTo>
                  <a:cubicBezTo>
                    <a:pt x="1298524" y="320550"/>
                    <a:pt x="1286394" y="332680"/>
                    <a:pt x="1271432" y="332680"/>
                  </a:cubicBezTo>
                  <a:lnTo>
                    <a:pt x="27091" y="332680"/>
                  </a:lnTo>
                  <a:cubicBezTo>
                    <a:pt x="19906" y="332680"/>
                    <a:pt x="13016" y="329825"/>
                    <a:pt x="7935" y="324745"/>
                  </a:cubicBezTo>
                  <a:cubicBezTo>
                    <a:pt x="2854" y="319664"/>
                    <a:pt x="0" y="312773"/>
                    <a:pt x="0" y="305588"/>
                  </a:cubicBezTo>
                  <a:lnTo>
                    <a:pt x="0" y="27091"/>
                  </a:lnTo>
                  <a:cubicBezTo>
                    <a:pt x="0" y="12129"/>
                    <a:pt x="12129" y="0"/>
                    <a:pt x="27091" y="0"/>
                  </a:cubicBezTo>
                  <a:close/>
                </a:path>
              </a:pathLst>
            </a:custGeom>
            <a:solidFill>
              <a:srgbClr val="FFFFFF"/>
            </a:solidFill>
            <a:ln w="57150" cap="sq">
              <a:solidFill>
                <a:srgbClr val="F4B03D"/>
              </a:solidFill>
              <a:prstDash val="solid"/>
              <a:miter/>
            </a:ln>
          </p:spPr>
        </p:sp>
        <p:sp>
          <p:nvSpPr>
            <p:cNvPr id="46" name="TextBox 46"/>
            <p:cNvSpPr txBox="1"/>
            <p:nvPr/>
          </p:nvSpPr>
          <p:spPr>
            <a:xfrm>
              <a:off x="0" y="-38100"/>
              <a:ext cx="1298524" cy="370780"/>
            </a:xfrm>
            <a:prstGeom prst="rect">
              <a:avLst/>
            </a:prstGeom>
          </p:spPr>
          <p:txBody>
            <a:bodyPr lIns="33867" tIns="33867" rIns="33867" bIns="33867" rtlCol="0" anchor="ctr"/>
            <a:lstStyle/>
            <a:p>
              <a:pPr algn="ctr">
                <a:lnSpc>
                  <a:spcPts val="1882"/>
                </a:lnSpc>
              </a:pPr>
              <a:endParaRPr sz="800"/>
            </a:p>
          </p:txBody>
        </p:sp>
      </p:grpSp>
      <p:sp>
        <p:nvSpPr>
          <p:cNvPr id="47" name="AutoShape 47"/>
          <p:cNvSpPr/>
          <p:nvPr/>
        </p:nvSpPr>
        <p:spPr>
          <a:xfrm>
            <a:off x="5781679" y="5500809"/>
            <a:ext cx="1488295" cy="0"/>
          </a:xfrm>
          <a:prstGeom prst="line">
            <a:avLst/>
          </a:prstGeom>
          <a:ln w="38100" cap="flat">
            <a:solidFill>
              <a:srgbClr val="000000"/>
            </a:solidFill>
            <a:prstDash val="solid"/>
            <a:headEnd type="none" w="sm" len="sm"/>
            <a:tailEnd type="none" w="sm" len="sm"/>
          </a:ln>
        </p:spPr>
      </p:sp>
      <p:grpSp>
        <p:nvGrpSpPr>
          <p:cNvPr id="48" name="Group 48"/>
          <p:cNvGrpSpPr/>
          <p:nvPr/>
        </p:nvGrpSpPr>
        <p:grpSpPr>
          <a:xfrm>
            <a:off x="5781680" y="5677754"/>
            <a:ext cx="5457846" cy="647694"/>
            <a:chOff x="0" y="0"/>
            <a:chExt cx="2156186" cy="255879"/>
          </a:xfrm>
        </p:grpSpPr>
        <p:sp>
          <p:nvSpPr>
            <p:cNvPr id="49" name="Freeform 49"/>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F4B03D"/>
            </a:solidFill>
          </p:spPr>
        </p:sp>
        <p:sp>
          <p:nvSpPr>
            <p:cNvPr id="50" name="TextBox 50"/>
            <p:cNvSpPr txBox="1"/>
            <p:nvPr/>
          </p:nvSpPr>
          <p:spPr>
            <a:xfrm>
              <a:off x="0" y="-38100"/>
              <a:ext cx="2156186" cy="293979"/>
            </a:xfrm>
            <a:prstGeom prst="rect">
              <a:avLst/>
            </a:prstGeom>
            <a:solidFill>
              <a:srgbClr val="F4B03D"/>
            </a:solidFill>
          </p:spPr>
          <p:txBody>
            <a:bodyPr lIns="33867" tIns="33867" rIns="33867" bIns="33867" rtlCol="0" anchor="ctr"/>
            <a:lstStyle/>
            <a:p>
              <a:pPr algn="ctr">
                <a:lnSpc>
                  <a:spcPts val="1882"/>
                </a:lnSpc>
              </a:pPr>
              <a:endParaRPr sz="800"/>
            </a:p>
          </p:txBody>
        </p:sp>
      </p:grpSp>
      <p:sp>
        <p:nvSpPr>
          <p:cNvPr id="51" name="AutoShape 51"/>
          <p:cNvSpPr/>
          <p:nvPr/>
        </p:nvSpPr>
        <p:spPr>
          <a:xfrm flipV="1">
            <a:off x="6750219" y="5703550"/>
            <a:ext cx="0" cy="570703"/>
          </a:xfrm>
          <a:prstGeom prst="line">
            <a:avLst/>
          </a:prstGeom>
          <a:ln w="38100" cap="flat">
            <a:solidFill>
              <a:srgbClr val="FFFFFF"/>
            </a:solidFill>
            <a:prstDash val="solid"/>
            <a:headEnd type="none" w="sm" len="sm"/>
            <a:tailEnd type="none" w="sm" len="sm"/>
          </a:ln>
        </p:spPr>
      </p:sp>
      <p:sp>
        <p:nvSpPr>
          <p:cNvPr id="52" name="Freeform 52"/>
          <p:cNvSpPr/>
          <p:nvPr/>
        </p:nvSpPr>
        <p:spPr>
          <a:xfrm>
            <a:off x="5950244" y="1254446"/>
            <a:ext cx="672975" cy="423974"/>
          </a:xfrm>
          <a:custGeom>
            <a:avLst/>
            <a:gdLst/>
            <a:ahLst/>
            <a:cxnLst/>
            <a:rect l="l" t="t" r="r" b="b"/>
            <a:pathLst>
              <a:path w="1009462" h="635961">
                <a:moveTo>
                  <a:pt x="0" y="0"/>
                </a:moveTo>
                <a:lnTo>
                  <a:pt x="1009462" y="0"/>
                </a:lnTo>
                <a:lnTo>
                  <a:pt x="1009462" y="635961"/>
                </a:lnTo>
                <a:lnTo>
                  <a:pt x="0" y="63596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53" name="Freeform 53"/>
          <p:cNvSpPr/>
          <p:nvPr/>
        </p:nvSpPr>
        <p:spPr>
          <a:xfrm>
            <a:off x="6035863" y="1891149"/>
            <a:ext cx="501737" cy="553641"/>
          </a:xfrm>
          <a:custGeom>
            <a:avLst/>
            <a:gdLst/>
            <a:ahLst/>
            <a:cxnLst/>
            <a:rect l="l" t="t" r="r" b="b"/>
            <a:pathLst>
              <a:path w="752606" h="830462">
                <a:moveTo>
                  <a:pt x="0" y="0"/>
                </a:moveTo>
                <a:lnTo>
                  <a:pt x="752606" y="0"/>
                </a:lnTo>
                <a:lnTo>
                  <a:pt x="752606" y="830462"/>
                </a:lnTo>
                <a:lnTo>
                  <a:pt x="0" y="830462"/>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54" name="Freeform 54"/>
          <p:cNvSpPr/>
          <p:nvPr/>
        </p:nvSpPr>
        <p:spPr>
          <a:xfrm>
            <a:off x="5984844" y="4698075"/>
            <a:ext cx="603775" cy="580379"/>
          </a:xfrm>
          <a:custGeom>
            <a:avLst/>
            <a:gdLst/>
            <a:ahLst/>
            <a:cxnLst/>
            <a:rect l="l" t="t" r="r" b="b"/>
            <a:pathLst>
              <a:path w="905663" h="870569">
                <a:moveTo>
                  <a:pt x="0" y="0"/>
                </a:moveTo>
                <a:lnTo>
                  <a:pt x="905664" y="0"/>
                </a:lnTo>
                <a:lnTo>
                  <a:pt x="905664" y="870568"/>
                </a:lnTo>
                <a:lnTo>
                  <a:pt x="0" y="870568"/>
                </a:lnTo>
                <a:lnTo>
                  <a:pt x="0" y="0"/>
                </a:lnTo>
                <a:close/>
              </a:path>
            </a:pathLst>
          </a:custGeom>
          <a:blipFill>
            <a:blip r:embed="rId17"/>
            <a:stretch>
              <a:fillRect/>
            </a:stretch>
          </a:blipFill>
        </p:spPr>
      </p:sp>
      <p:sp>
        <p:nvSpPr>
          <p:cNvPr id="55" name="Freeform 55"/>
          <p:cNvSpPr/>
          <p:nvPr/>
        </p:nvSpPr>
        <p:spPr>
          <a:xfrm>
            <a:off x="6035863" y="5733422"/>
            <a:ext cx="596781" cy="536357"/>
          </a:xfrm>
          <a:custGeom>
            <a:avLst/>
            <a:gdLst/>
            <a:ahLst/>
            <a:cxnLst/>
            <a:rect l="l" t="t" r="r" b="b"/>
            <a:pathLst>
              <a:path w="895172" h="804536">
                <a:moveTo>
                  <a:pt x="0" y="0"/>
                </a:moveTo>
                <a:lnTo>
                  <a:pt x="895172" y="0"/>
                </a:lnTo>
                <a:lnTo>
                  <a:pt x="895172" y="804536"/>
                </a:lnTo>
                <a:lnTo>
                  <a:pt x="0" y="804536"/>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sp>
      <p:sp>
        <p:nvSpPr>
          <p:cNvPr id="56" name="Freeform 56"/>
          <p:cNvSpPr/>
          <p:nvPr/>
        </p:nvSpPr>
        <p:spPr>
          <a:xfrm>
            <a:off x="6334253" y="2917281"/>
            <a:ext cx="372259" cy="355507"/>
          </a:xfrm>
          <a:custGeom>
            <a:avLst/>
            <a:gdLst/>
            <a:ahLst/>
            <a:cxnLst/>
            <a:rect l="l" t="t" r="r" b="b"/>
            <a:pathLst>
              <a:path w="558388" h="533260">
                <a:moveTo>
                  <a:pt x="0" y="0"/>
                </a:moveTo>
                <a:lnTo>
                  <a:pt x="558388" y="0"/>
                </a:lnTo>
                <a:lnTo>
                  <a:pt x="558388" y="533261"/>
                </a:lnTo>
                <a:lnTo>
                  <a:pt x="0" y="533261"/>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sp>
      <p:sp>
        <p:nvSpPr>
          <p:cNvPr id="57" name="Freeform 57"/>
          <p:cNvSpPr/>
          <p:nvPr/>
        </p:nvSpPr>
        <p:spPr>
          <a:xfrm>
            <a:off x="5938142" y="2773769"/>
            <a:ext cx="487521" cy="642531"/>
          </a:xfrm>
          <a:custGeom>
            <a:avLst/>
            <a:gdLst/>
            <a:ahLst/>
            <a:cxnLst/>
            <a:rect l="l" t="t" r="r" b="b"/>
            <a:pathLst>
              <a:path w="731281" h="963797">
                <a:moveTo>
                  <a:pt x="0" y="0"/>
                </a:moveTo>
                <a:lnTo>
                  <a:pt x="731281" y="0"/>
                </a:lnTo>
                <a:lnTo>
                  <a:pt x="731281" y="963797"/>
                </a:lnTo>
                <a:lnTo>
                  <a:pt x="0" y="963797"/>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sp>
      <p:sp>
        <p:nvSpPr>
          <p:cNvPr id="58" name="Freeform 58"/>
          <p:cNvSpPr/>
          <p:nvPr/>
        </p:nvSpPr>
        <p:spPr>
          <a:xfrm>
            <a:off x="5984843" y="3660380"/>
            <a:ext cx="661584" cy="674226"/>
          </a:xfrm>
          <a:custGeom>
            <a:avLst/>
            <a:gdLst/>
            <a:ahLst/>
            <a:cxnLst/>
            <a:rect l="l" t="t" r="r" b="b"/>
            <a:pathLst>
              <a:path w="992376" h="1011339">
                <a:moveTo>
                  <a:pt x="0" y="0"/>
                </a:moveTo>
                <a:lnTo>
                  <a:pt x="992377" y="0"/>
                </a:lnTo>
                <a:lnTo>
                  <a:pt x="992377" y="1011339"/>
                </a:lnTo>
                <a:lnTo>
                  <a:pt x="0" y="1011339"/>
                </a:lnTo>
                <a:lnTo>
                  <a:pt x="0" y="0"/>
                </a:lnTo>
                <a:close/>
              </a:path>
            </a:pathLst>
          </a:custGeom>
          <a:blipFill>
            <a:blip r:embed="rId24"/>
            <a:stretch>
              <a:fillRect/>
            </a:stretch>
          </a:blipFill>
        </p:spPr>
      </p:sp>
      <p:sp>
        <p:nvSpPr>
          <p:cNvPr id="59" name="TextBox 59"/>
          <p:cNvSpPr txBox="1"/>
          <p:nvPr/>
        </p:nvSpPr>
        <p:spPr>
          <a:xfrm>
            <a:off x="679561" y="261234"/>
            <a:ext cx="9196649" cy="424219"/>
          </a:xfrm>
          <a:prstGeom prst="rect">
            <a:avLst/>
          </a:prstGeom>
        </p:spPr>
        <p:txBody>
          <a:bodyPr lIns="0" tIns="0" rIns="0" bIns="0" rtlCol="0" anchor="t">
            <a:spAutoFit/>
          </a:bodyPr>
          <a:lstStyle/>
          <a:p>
            <a:pPr>
              <a:lnSpc>
                <a:spcPts val="3733"/>
              </a:lnSpc>
            </a:pPr>
            <a:r>
              <a:rPr lang="en-US" sz="2666" spc="111">
                <a:solidFill>
                  <a:srgbClr val="000000"/>
                </a:solidFill>
                <a:latin typeface="Barlow Bold"/>
              </a:rPr>
              <a:t>DRIVER 3: PARENT AND CAREGIVER EMPOWERMENT </a:t>
            </a:r>
          </a:p>
        </p:txBody>
      </p:sp>
      <p:sp>
        <p:nvSpPr>
          <p:cNvPr id="60" name="TextBox 60"/>
          <p:cNvSpPr txBox="1"/>
          <p:nvPr/>
        </p:nvSpPr>
        <p:spPr>
          <a:xfrm>
            <a:off x="6875505" y="1188228"/>
            <a:ext cx="3964575"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Partner with parents and caregivers in quality improvement work and unit culture </a:t>
            </a:r>
            <a:endParaRPr lang="en-US" sz="1344" spc="43">
              <a:solidFill>
                <a:srgbClr val="FFFFFF"/>
              </a:solidFill>
              <a:latin typeface="Barlow Semi-Bold"/>
            </a:endParaRPr>
          </a:p>
        </p:txBody>
      </p:sp>
      <p:sp>
        <p:nvSpPr>
          <p:cNvPr id="61" name="TextBox 61"/>
          <p:cNvSpPr txBox="1"/>
          <p:nvPr/>
        </p:nvSpPr>
        <p:spPr>
          <a:xfrm>
            <a:off x="6875505" y="2701941"/>
            <a:ext cx="4364021"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Prepare and empower parents and caregivers to implement a safe sleep environment for every sleep during hospitalization </a:t>
            </a:r>
            <a:endParaRPr lang="en-US" sz="1344" spc="43">
              <a:solidFill>
                <a:srgbClr val="FFFFFF"/>
              </a:solidFill>
              <a:latin typeface="Barlow Semi-Bold"/>
            </a:endParaRPr>
          </a:p>
        </p:txBody>
      </p:sp>
      <p:sp>
        <p:nvSpPr>
          <p:cNvPr id="62" name="TextBox 62"/>
          <p:cNvSpPr txBox="1"/>
          <p:nvPr/>
        </p:nvSpPr>
        <p:spPr>
          <a:xfrm>
            <a:off x="860371" y="1428333"/>
            <a:ext cx="345487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Respectful Parent and Caregiver Partnerships </a:t>
            </a:r>
          </a:p>
        </p:txBody>
      </p:sp>
      <p:sp>
        <p:nvSpPr>
          <p:cNvPr id="63" name="TextBox 63"/>
          <p:cNvSpPr txBox="1"/>
          <p:nvPr/>
        </p:nvSpPr>
        <p:spPr>
          <a:xfrm>
            <a:off x="6875505" y="1893182"/>
            <a:ext cx="5357734" cy="448584"/>
          </a:xfrm>
          <a:prstGeom prst="rect">
            <a:avLst/>
          </a:prstGeom>
        </p:spPr>
        <p:txBody>
          <a:bodyPr lIns="0" tIns="0" rIns="0" bIns="0" rtlCol="0" anchor="t">
            <a:spAutoFit/>
          </a:bodyPr>
          <a:lstStyle/>
          <a:p>
            <a:pPr>
              <a:lnSpc>
                <a:spcPts val="1847"/>
              </a:lnSpc>
              <a:spcBef>
                <a:spcPct val="0"/>
              </a:spcBef>
            </a:pPr>
            <a:r>
              <a:rPr lang="en-US" sz="1300" b="1" spc="42">
                <a:solidFill>
                  <a:srgbClr val="FFFFFF"/>
                </a:solidFill>
                <a:latin typeface="Barlow Semi-Bold"/>
              </a:rPr>
              <a:t>Develop and promote respectful relationships </a:t>
            </a:r>
          </a:p>
          <a:p>
            <a:pPr marL="0" lvl="1">
              <a:lnSpc>
                <a:spcPts val="1847"/>
              </a:lnSpc>
              <a:spcBef>
                <a:spcPct val="0"/>
              </a:spcBef>
            </a:pPr>
            <a:r>
              <a:rPr lang="en-US" sz="1300" b="1" spc="42">
                <a:solidFill>
                  <a:srgbClr val="FFFFFF"/>
                </a:solidFill>
                <a:latin typeface="Barlow Semi-Bold"/>
              </a:rPr>
              <a:t>between parents and caregivers and healthcare team</a:t>
            </a:r>
            <a:r>
              <a:rPr lang="en-US" sz="1300" spc="42">
                <a:solidFill>
                  <a:srgbClr val="FFFFFF"/>
                </a:solidFill>
                <a:latin typeface="Barlow Semi-Bold"/>
              </a:rPr>
              <a:t> </a:t>
            </a:r>
          </a:p>
        </p:txBody>
      </p:sp>
      <p:sp>
        <p:nvSpPr>
          <p:cNvPr id="64" name="TextBox 64"/>
          <p:cNvSpPr txBox="1"/>
          <p:nvPr/>
        </p:nvSpPr>
        <p:spPr>
          <a:xfrm>
            <a:off x="6875505" y="3519268"/>
            <a:ext cx="4265551" cy="948208"/>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ngage with parents and caregivers to </a:t>
            </a:r>
            <a:r>
              <a:rPr lang="en-US" sz="1300" b="1" spc="43">
                <a:solidFill>
                  <a:srgbClr val="FFFFFF"/>
                </a:solidFill>
                <a:latin typeface="Barlow Bold"/>
              </a:rPr>
              <a:t>understand barriers to a safe sleep environment to implement a safe sleep environment for every sleep outside of the hospital</a:t>
            </a:r>
          </a:p>
        </p:txBody>
      </p:sp>
      <p:sp>
        <p:nvSpPr>
          <p:cNvPr id="65" name="TextBox 65"/>
          <p:cNvSpPr txBox="1"/>
          <p:nvPr/>
        </p:nvSpPr>
        <p:spPr>
          <a:xfrm>
            <a:off x="679561" y="3266580"/>
            <a:ext cx="381649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a:t>
            </a:r>
          </a:p>
          <a:p>
            <a:pPr algn="ctr">
              <a:lnSpc>
                <a:spcPts val="2239"/>
              </a:lnSpc>
              <a:spcBef>
                <a:spcPct val="0"/>
              </a:spcBef>
            </a:pPr>
            <a:r>
              <a:rPr lang="en-US" sz="1600" spc="51">
                <a:solidFill>
                  <a:srgbClr val="000000"/>
                </a:solidFill>
                <a:latin typeface="Barlow Semi-Bold"/>
              </a:rPr>
              <a:t>Safe Sleep Awareness </a:t>
            </a:r>
          </a:p>
        </p:txBody>
      </p:sp>
      <p:sp>
        <p:nvSpPr>
          <p:cNvPr id="66" name="TextBox 66"/>
          <p:cNvSpPr txBox="1"/>
          <p:nvPr/>
        </p:nvSpPr>
        <p:spPr>
          <a:xfrm>
            <a:off x="680996" y="5042229"/>
            <a:ext cx="3805456" cy="1394228"/>
          </a:xfrm>
          <a:prstGeom prst="rect">
            <a:avLst/>
          </a:prstGeom>
        </p:spPr>
        <p:txBody>
          <a:bodyPr wrap="square" lIns="0" tIns="0" rIns="0" bIns="0" rtlCol="0" anchor="t">
            <a:spAutoFit/>
          </a:bodyPr>
          <a:lstStyle/>
          <a:p>
            <a:pPr algn="ctr">
              <a:lnSpc>
                <a:spcPts val="2239"/>
              </a:lnSpc>
              <a:spcBef>
                <a:spcPct val="0"/>
              </a:spcBef>
            </a:pPr>
            <a:r>
              <a:rPr lang="en-US" sz="1600" spc="51">
                <a:solidFill>
                  <a:srgbClr val="000000"/>
                </a:solidFill>
                <a:latin typeface="Barlow Semi-Bold"/>
              </a:rPr>
              <a:t>Secondary Driver 3: </a:t>
            </a:r>
          </a:p>
          <a:p>
            <a:pPr algn="ctr">
              <a:lnSpc>
                <a:spcPts val="2239"/>
              </a:lnSpc>
              <a:spcBef>
                <a:spcPct val="0"/>
              </a:spcBef>
            </a:pPr>
            <a:r>
              <a:rPr lang="en-US" sz="1600" spc="51">
                <a:solidFill>
                  <a:srgbClr val="000000"/>
                </a:solidFill>
                <a:latin typeface="Barlow Semi-Bold"/>
              </a:rPr>
              <a:t>Transition to Home, including </a:t>
            </a:r>
            <a:r>
              <a:rPr lang="en-US" sz="1600" spc="51" err="1">
                <a:solidFill>
                  <a:srgbClr val="000000"/>
                </a:solidFill>
                <a:latin typeface="Barlow Semi-Bold"/>
              </a:rPr>
              <a:t>SDoH</a:t>
            </a:r>
            <a:r>
              <a:rPr lang="en-US" sz="1600" spc="51">
                <a:solidFill>
                  <a:srgbClr val="000000"/>
                </a:solidFill>
                <a:latin typeface="Barlow Semi-Bold"/>
              </a:rPr>
              <a:t> Screening &amp; Resource Linkage</a:t>
            </a:r>
          </a:p>
          <a:p>
            <a:pPr algn="ctr">
              <a:lnSpc>
                <a:spcPts val="2239"/>
              </a:lnSpc>
              <a:spcBef>
                <a:spcPct val="0"/>
              </a:spcBef>
            </a:pPr>
            <a:endParaRPr lang="en-US" sz="1600" spc="51">
              <a:solidFill>
                <a:srgbClr val="000000"/>
              </a:solidFill>
              <a:latin typeface="Barlow Semi-Bold"/>
            </a:endParaRPr>
          </a:p>
          <a:p>
            <a:pPr algn="ctr">
              <a:lnSpc>
                <a:spcPts val="2239"/>
              </a:lnSpc>
              <a:spcBef>
                <a:spcPct val="0"/>
              </a:spcBef>
            </a:pPr>
            <a:endParaRPr lang="en-US" sz="1600" spc="51">
              <a:solidFill>
                <a:srgbClr val="000000"/>
              </a:solidFill>
              <a:latin typeface="Barlow Semi-Bold"/>
            </a:endParaRPr>
          </a:p>
        </p:txBody>
      </p:sp>
      <p:sp>
        <p:nvSpPr>
          <p:cNvPr id="67" name="TextBox 67"/>
          <p:cNvSpPr txBox="1"/>
          <p:nvPr/>
        </p:nvSpPr>
        <p:spPr>
          <a:xfrm>
            <a:off x="6875505" y="4609069"/>
            <a:ext cx="5457846" cy="704552"/>
          </a:xfrm>
          <a:prstGeom prst="rect">
            <a:avLst/>
          </a:prstGeom>
        </p:spPr>
        <p:txBody>
          <a:bodyPr lIns="0" tIns="0" rIns="0" bIns="0" rtlCol="0" anchor="t">
            <a:spAutoFit/>
          </a:bodyPr>
          <a:lstStyle/>
          <a:p>
            <a:pPr>
              <a:lnSpc>
                <a:spcPts val="1882"/>
              </a:lnSpc>
              <a:spcBef>
                <a:spcPct val="0"/>
              </a:spcBef>
            </a:pPr>
            <a:r>
              <a:rPr lang="en-US" sz="1300" b="1" spc="43">
                <a:solidFill>
                  <a:srgbClr val="FFFFFF"/>
                </a:solidFill>
                <a:latin typeface="Barlow Bold"/>
              </a:rPr>
              <a:t>Empower parents and caregivers to have </a:t>
            </a:r>
          </a:p>
          <a:p>
            <a:pPr>
              <a:lnSpc>
                <a:spcPts val="1882"/>
              </a:lnSpc>
              <a:spcBef>
                <a:spcPct val="0"/>
              </a:spcBef>
            </a:pPr>
            <a:r>
              <a:rPr lang="en-US" sz="1300" b="1" spc="43">
                <a:solidFill>
                  <a:srgbClr val="FFFFFF"/>
                </a:solidFill>
                <a:latin typeface="Barlow Bold"/>
              </a:rPr>
              <a:t>conversations about safe sleep environment </a:t>
            </a:r>
          </a:p>
          <a:p>
            <a:pPr marL="0" lvl="1">
              <a:lnSpc>
                <a:spcPts val="1882"/>
              </a:lnSpc>
              <a:spcBef>
                <a:spcPct val="0"/>
              </a:spcBef>
            </a:pPr>
            <a:r>
              <a:rPr lang="en-US" sz="1300" b="1" spc="43">
                <a:solidFill>
                  <a:srgbClr val="FFFFFF"/>
                </a:solidFill>
                <a:latin typeface="Barlow Bold"/>
              </a:rPr>
              <a:t>with additional caregivers </a:t>
            </a:r>
          </a:p>
        </p:txBody>
      </p:sp>
      <p:sp>
        <p:nvSpPr>
          <p:cNvPr id="68" name="TextBox 68"/>
          <p:cNvSpPr txBox="1"/>
          <p:nvPr/>
        </p:nvSpPr>
        <p:spPr>
          <a:xfrm>
            <a:off x="6875505" y="5769508"/>
            <a:ext cx="5457846" cy="460895"/>
          </a:xfrm>
          <a:prstGeom prst="rect">
            <a:avLst/>
          </a:prstGeom>
        </p:spPr>
        <p:txBody>
          <a:bodyPr lIns="0" tIns="0" rIns="0" bIns="0" rtlCol="0" anchor="t">
            <a:spAutoFit/>
          </a:bodyPr>
          <a:lstStyle/>
          <a:p>
            <a:pPr>
              <a:lnSpc>
                <a:spcPts val="1882"/>
              </a:lnSpc>
              <a:spcBef>
                <a:spcPct val="0"/>
              </a:spcBef>
            </a:pPr>
            <a:r>
              <a:rPr lang="en-US" sz="1300" b="1" spc="43">
                <a:solidFill>
                  <a:srgbClr val="FFFFFF"/>
                </a:solidFill>
                <a:latin typeface="Barlow Bold"/>
              </a:rPr>
              <a:t>Screen for </a:t>
            </a:r>
            <a:r>
              <a:rPr lang="en-US" sz="1300" b="1" spc="43" err="1">
                <a:solidFill>
                  <a:srgbClr val="FFFFFF"/>
                </a:solidFill>
                <a:latin typeface="Barlow Bold"/>
              </a:rPr>
              <a:t>SDoH</a:t>
            </a:r>
            <a:r>
              <a:rPr lang="en-US" sz="1300" b="1" spc="43">
                <a:solidFill>
                  <a:srgbClr val="FFFFFF"/>
                </a:solidFill>
                <a:latin typeface="Barlow Bold"/>
              </a:rPr>
              <a:t> and connect parents and </a:t>
            </a:r>
          </a:p>
          <a:p>
            <a:pPr marL="0" lvl="1">
              <a:lnSpc>
                <a:spcPts val="1882"/>
              </a:lnSpc>
              <a:spcBef>
                <a:spcPct val="0"/>
              </a:spcBef>
            </a:pPr>
            <a:r>
              <a:rPr lang="en-US" sz="1300" b="1" spc="43">
                <a:solidFill>
                  <a:srgbClr val="FFFFFF"/>
                </a:solidFill>
                <a:latin typeface="Barlow Bold"/>
              </a:rPr>
              <a:t>caregivers to needed resources  </a:t>
            </a:r>
          </a:p>
        </p:txBody>
      </p:sp>
      <p:cxnSp>
        <p:nvCxnSpPr>
          <p:cNvPr id="74" name="Straight Arrow Connector 73">
            <a:extLst>
              <a:ext uri="{FF2B5EF4-FFF2-40B4-BE49-F238E27FC236}">
                <a16:creationId xmlns:a16="http://schemas.microsoft.com/office/drawing/2014/main" id="{34699683-48B1-C584-C969-0FC12DE6D30A}"/>
              </a:ext>
            </a:extLst>
          </p:cNvPr>
          <p:cNvCxnSpPr>
            <a:cxnSpLocks/>
          </p:cNvCxnSpPr>
          <p:nvPr/>
        </p:nvCxnSpPr>
        <p:spPr>
          <a:xfrm flipV="1">
            <a:off x="4536468" y="3019465"/>
            <a:ext cx="1283627" cy="526669"/>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5FBD65C4-D121-6BFF-7A20-CC716D7037AD}"/>
              </a:ext>
            </a:extLst>
          </p:cNvPr>
          <p:cNvCxnSpPr>
            <a:cxnSpLocks/>
          </p:cNvCxnSpPr>
          <p:nvPr/>
        </p:nvCxnSpPr>
        <p:spPr>
          <a:xfrm flipV="1">
            <a:off x="4501128" y="5005081"/>
            <a:ext cx="1283628" cy="493539"/>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DFA24459-913C-819C-1FB9-882C0D69503C}"/>
              </a:ext>
            </a:extLst>
          </p:cNvPr>
          <p:cNvCxnSpPr>
            <a:cxnSpLocks/>
          </p:cNvCxnSpPr>
          <p:nvPr/>
        </p:nvCxnSpPr>
        <p:spPr>
          <a:xfrm>
            <a:off x="4536467" y="3568221"/>
            <a:ext cx="1283628" cy="47828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D146EC0A-53E9-15A6-4F6B-C7F1AE321A03}"/>
              </a:ext>
            </a:extLst>
          </p:cNvPr>
          <p:cNvCxnSpPr>
            <a:cxnSpLocks/>
          </p:cNvCxnSpPr>
          <p:nvPr/>
        </p:nvCxnSpPr>
        <p:spPr>
          <a:xfrm>
            <a:off x="4481249" y="5522915"/>
            <a:ext cx="1283630" cy="434115"/>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55536B4-F5C2-3697-61E6-0681DE0C12BD}"/>
              </a:ext>
            </a:extLst>
          </p:cNvPr>
          <p:cNvSpPr txBox="1"/>
          <p:nvPr/>
        </p:nvSpPr>
        <p:spPr>
          <a:xfrm>
            <a:off x="7282608" y="720051"/>
            <a:ext cx="3070086" cy="476042"/>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42839076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73368" y="458989"/>
            <a:ext cx="3198283" cy="543708"/>
          </a:xfrm>
          <a:custGeom>
            <a:avLst/>
            <a:gdLst/>
            <a:ahLst/>
            <a:cxnLst/>
            <a:rect l="l" t="t" r="r" b="b"/>
            <a:pathLst>
              <a:path w="4797425" h="815562">
                <a:moveTo>
                  <a:pt x="0" y="0"/>
                </a:moveTo>
                <a:lnTo>
                  <a:pt x="4797426" y="0"/>
                </a:lnTo>
                <a:lnTo>
                  <a:pt x="4797426" y="815562"/>
                </a:lnTo>
                <a:lnTo>
                  <a:pt x="0" y="81556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 name="Freeform 3"/>
          <p:cNvSpPr/>
          <p:nvPr/>
        </p:nvSpPr>
        <p:spPr>
          <a:xfrm>
            <a:off x="2201307" y="364521"/>
            <a:ext cx="997512" cy="874183"/>
          </a:xfrm>
          <a:custGeom>
            <a:avLst/>
            <a:gdLst/>
            <a:ahLst/>
            <a:cxnLst/>
            <a:rect l="l" t="t" r="r" b="b"/>
            <a:pathLst>
              <a:path w="1496268" h="1311275">
                <a:moveTo>
                  <a:pt x="0" y="0"/>
                </a:moveTo>
                <a:lnTo>
                  <a:pt x="1496268" y="0"/>
                </a:lnTo>
                <a:lnTo>
                  <a:pt x="1496268" y="1311276"/>
                </a:lnTo>
                <a:lnTo>
                  <a:pt x="0" y="131127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5" name="Group 5"/>
          <p:cNvGrpSpPr/>
          <p:nvPr/>
        </p:nvGrpSpPr>
        <p:grpSpPr>
          <a:xfrm>
            <a:off x="1702560" y="3717753"/>
            <a:ext cx="3223297" cy="818395"/>
            <a:chOff x="0" y="0"/>
            <a:chExt cx="2345775" cy="595592"/>
          </a:xfrm>
        </p:grpSpPr>
        <p:sp>
          <p:nvSpPr>
            <p:cNvPr id="6" name="Freeform 6"/>
            <p:cNvSpPr/>
            <p:nvPr/>
          </p:nvSpPr>
          <p:spPr>
            <a:xfrm>
              <a:off x="0" y="0"/>
              <a:ext cx="2345775" cy="595592"/>
            </a:xfrm>
            <a:custGeom>
              <a:avLst/>
              <a:gdLst/>
              <a:ahLst/>
              <a:cxnLst/>
              <a:rect l="l" t="t" r="r" b="b"/>
              <a:pathLst>
                <a:path w="2345775" h="595592">
                  <a:moveTo>
                    <a:pt x="2142575" y="0"/>
                  </a:moveTo>
                  <a:cubicBezTo>
                    <a:pt x="2254800" y="0"/>
                    <a:pt x="2345775" y="133328"/>
                    <a:pt x="2345775" y="297796"/>
                  </a:cubicBezTo>
                  <a:cubicBezTo>
                    <a:pt x="2345775" y="462264"/>
                    <a:pt x="2254800" y="595592"/>
                    <a:pt x="2142575" y="595592"/>
                  </a:cubicBezTo>
                  <a:lnTo>
                    <a:pt x="203200" y="595592"/>
                  </a:lnTo>
                  <a:cubicBezTo>
                    <a:pt x="90976" y="595592"/>
                    <a:pt x="0" y="462264"/>
                    <a:pt x="0" y="297796"/>
                  </a:cubicBezTo>
                  <a:cubicBezTo>
                    <a:pt x="0" y="133328"/>
                    <a:pt x="90976" y="0"/>
                    <a:pt x="203200" y="0"/>
                  </a:cubicBezTo>
                  <a:close/>
                </a:path>
              </a:pathLst>
            </a:custGeom>
            <a:solidFill>
              <a:srgbClr val="88A3CE"/>
            </a:solidFill>
          </p:spPr>
        </p:sp>
        <p:sp>
          <p:nvSpPr>
            <p:cNvPr id="7" name="TextBox 7"/>
            <p:cNvSpPr txBox="1"/>
            <p:nvPr/>
          </p:nvSpPr>
          <p:spPr>
            <a:xfrm>
              <a:off x="0" y="-57150"/>
              <a:ext cx="2345775" cy="652742"/>
            </a:xfrm>
            <a:prstGeom prst="rect">
              <a:avLst/>
            </a:prstGeom>
          </p:spPr>
          <p:txBody>
            <a:bodyPr lIns="33867" tIns="33867" rIns="33867" bIns="33867" rtlCol="0" anchor="ctr"/>
            <a:lstStyle/>
            <a:p>
              <a:pPr algn="ctr">
                <a:lnSpc>
                  <a:spcPts val="2239"/>
                </a:lnSpc>
              </a:pPr>
              <a:endParaRPr sz="800"/>
            </a:p>
          </p:txBody>
        </p:sp>
      </p:grpSp>
      <p:grpSp>
        <p:nvGrpSpPr>
          <p:cNvPr id="8" name="Group 8"/>
          <p:cNvGrpSpPr/>
          <p:nvPr/>
        </p:nvGrpSpPr>
        <p:grpSpPr>
          <a:xfrm>
            <a:off x="1702560" y="5747673"/>
            <a:ext cx="3223297" cy="824725"/>
            <a:chOff x="0" y="0"/>
            <a:chExt cx="2221263" cy="568341"/>
          </a:xfrm>
        </p:grpSpPr>
        <p:sp>
          <p:nvSpPr>
            <p:cNvPr id="9" name="Freeform 9"/>
            <p:cNvSpPr/>
            <p:nvPr/>
          </p:nvSpPr>
          <p:spPr>
            <a:xfrm>
              <a:off x="0" y="0"/>
              <a:ext cx="2221262" cy="568341"/>
            </a:xfrm>
            <a:custGeom>
              <a:avLst/>
              <a:gdLst/>
              <a:ahLst/>
              <a:cxnLst/>
              <a:rect l="l" t="t" r="r" b="b"/>
              <a:pathLst>
                <a:path w="2221262" h="568341">
                  <a:moveTo>
                    <a:pt x="2018062" y="0"/>
                  </a:moveTo>
                  <a:cubicBezTo>
                    <a:pt x="2130287" y="0"/>
                    <a:pt x="2221262" y="127227"/>
                    <a:pt x="2221262" y="284170"/>
                  </a:cubicBezTo>
                  <a:cubicBezTo>
                    <a:pt x="2221262" y="441113"/>
                    <a:pt x="2130287" y="568341"/>
                    <a:pt x="2018062" y="568341"/>
                  </a:cubicBezTo>
                  <a:lnTo>
                    <a:pt x="203200" y="568341"/>
                  </a:lnTo>
                  <a:cubicBezTo>
                    <a:pt x="90976" y="568341"/>
                    <a:pt x="0" y="441113"/>
                    <a:pt x="0" y="284170"/>
                  </a:cubicBezTo>
                  <a:cubicBezTo>
                    <a:pt x="0" y="127227"/>
                    <a:pt x="90976" y="0"/>
                    <a:pt x="203200" y="0"/>
                  </a:cubicBezTo>
                  <a:close/>
                </a:path>
              </a:pathLst>
            </a:custGeom>
            <a:solidFill>
              <a:srgbClr val="6B95FD"/>
            </a:solidFill>
          </p:spPr>
        </p:sp>
        <p:sp>
          <p:nvSpPr>
            <p:cNvPr id="10" name="TextBox 10"/>
            <p:cNvSpPr txBox="1"/>
            <p:nvPr/>
          </p:nvSpPr>
          <p:spPr>
            <a:xfrm>
              <a:off x="0" y="-57150"/>
              <a:ext cx="2221263" cy="625491"/>
            </a:xfrm>
            <a:prstGeom prst="rect">
              <a:avLst/>
            </a:prstGeom>
          </p:spPr>
          <p:txBody>
            <a:bodyPr lIns="33867" tIns="33867" rIns="33867" bIns="33867" rtlCol="0" anchor="ctr"/>
            <a:lstStyle/>
            <a:p>
              <a:pPr algn="ctr">
                <a:lnSpc>
                  <a:spcPts val="2239"/>
                </a:lnSpc>
              </a:pPr>
              <a:endParaRPr sz="800"/>
            </a:p>
          </p:txBody>
        </p:sp>
      </p:grpSp>
      <p:grpSp>
        <p:nvGrpSpPr>
          <p:cNvPr id="11" name="Group 11"/>
          <p:cNvGrpSpPr/>
          <p:nvPr/>
        </p:nvGrpSpPr>
        <p:grpSpPr>
          <a:xfrm>
            <a:off x="7174732" y="5745202"/>
            <a:ext cx="3413564" cy="846420"/>
            <a:chOff x="0" y="-57150"/>
            <a:chExt cx="2650582" cy="657233"/>
          </a:xfrm>
        </p:grpSpPr>
        <p:sp>
          <p:nvSpPr>
            <p:cNvPr id="12" name="Freeform 12"/>
            <p:cNvSpPr/>
            <p:nvPr/>
          </p:nvSpPr>
          <p:spPr>
            <a:xfrm>
              <a:off x="0" y="0"/>
              <a:ext cx="2650582" cy="600083"/>
            </a:xfrm>
            <a:custGeom>
              <a:avLst/>
              <a:gdLst/>
              <a:ahLst/>
              <a:cxnLst/>
              <a:rect l="l" t="t" r="r" b="b"/>
              <a:pathLst>
                <a:path w="2650582" h="600083">
                  <a:moveTo>
                    <a:pt x="2447382" y="0"/>
                  </a:moveTo>
                  <a:cubicBezTo>
                    <a:pt x="2559606" y="0"/>
                    <a:pt x="2650582" y="134333"/>
                    <a:pt x="2650582" y="300041"/>
                  </a:cubicBezTo>
                  <a:cubicBezTo>
                    <a:pt x="2650582" y="465749"/>
                    <a:pt x="2559606" y="600083"/>
                    <a:pt x="2447382" y="600083"/>
                  </a:cubicBezTo>
                  <a:lnTo>
                    <a:pt x="203200" y="600083"/>
                  </a:lnTo>
                  <a:cubicBezTo>
                    <a:pt x="90976" y="600083"/>
                    <a:pt x="0" y="465749"/>
                    <a:pt x="0" y="300041"/>
                  </a:cubicBezTo>
                  <a:cubicBezTo>
                    <a:pt x="0" y="134333"/>
                    <a:pt x="90976" y="0"/>
                    <a:pt x="203200" y="0"/>
                  </a:cubicBezTo>
                  <a:close/>
                </a:path>
              </a:pathLst>
            </a:custGeom>
            <a:solidFill>
              <a:srgbClr val="3B365F"/>
            </a:solidFill>
          </p:spPr>
        </p:sp>
        <p:sp>
          <p:nvSpPr>
            <p:cNvPr id="13" name="TextBox 13"/>
            <p:cNvSpPr txBox="1"/>
            <p:nvPr/>
          </p:nvSpPr>
          <p:spPr>
            <a:xfrm>
              <a:off x="0" y="-57150"/>
              <a:ext cx="2650582" cy="657233"/>
            </a:xfrm>
            <a:prstGeom prst="rect">
              <a:avLst/>
            </a:prstGeom>
          </p:spPr>
          <p:txBody>
            <a:bodyPr lIns="33867" tIns="33867" rIns="33867" bIns="33867" rtlCol="0" anchor="ctr"/>
            <a:lstStyle/>
            <a:p>
              <a:pPr algn="ctr">
                <a:lnSpc>
                  <a:spcPts val="2239"/>
                </a:lnSpc>
              </a:pPr>
              <a:endParaRPr sz="800"/>
            </a:p>
          </p:txBody>
        </p:sp>
      </p:grpSp>
      <p:grpSp>
        <p:nvGrpSpPr>
          <p:cNvPr id="14" name="Group 14"/>
          <p:cNvGrpSpPr/>
          <p:nvPr/>
        </p:nvGrpSpPr>
        <p:grpSpPr>
          <a:xfrm>
            <a:off x="7111130" y="3683723"/>
            <a:ext cx="3635765" cy="727619"/>
            <a:chOff x="0" y="0"/>
            <a:chExt cx="2691372" cy="538619"/>
          </a:xfrm>
        </p:grpSpPr>
        <p:sp>
          <p:nvSpPr>
            <p:cNvPr id="15" name="Freeform 15"/>
            <p:cNvSpPr/>
            <p:nvPr/>
          </p:nvSpPr>
          <p:spPr>
            <a:xfrm>
              <a:off x="0" y="0"/>
              <a:ext cx="2691372" cy="538619"/>
            </a:xfrm>
            <a:custGeom>
              <a:avLst/>
              <a:gdLst/>
              <a:ahLst/>
              <a:cxnLst/>
              <a:rect l="l" t="t" r="r" b="b"/>
              <a:pathLst>
                <a:path w="2691372" h="538619">
                  <a:moveTo>
                    <a:pt x="2488172" y="0"/>
                  </a:moveTo>
                  <a:cubicBezTo>
                    <a:pt x="2600396" y="0"/>
                    <a:pt x="2691372" y="120574"/>
                    <a:pt x="2691372" y="269310"/>
                  </a:cubicBezTo>
                  <a:cubicBezTo>
                    <a:pt x="2691372" y="418045"/>
                    <a:pt x="2600396" y="538619"/>
                    <a:pt x="2488172" y="538619"/>
                  </a:cubicBezTo>
                  <a:lnTo>
                    <a:pt x="203200" y="538619"/>
                  </a:lnTo>
                  <a:cubicBezTo>
                    <a:pt x="90976" y="538619"/>
                    <a:pt x="0" y="418045"/>
                    <a:pt x="0" y="269310"/>
                  </a:cubicBezTo>
                  <a:cubicBezTo>
                    <a:pt x="0" y="120574"/>
                    <a:pt x="90976" y="0"/>
                    <a:pt x="203200" y="0"/>
                  </a:cubicBezTo>
                  <a:close/>
                </a:path>
              </a:pathLst>
            </a:custGeom>
            <a:solidFill>
              <a:srgbClr val="1C498B"/>
            </a:solidFill>
          </p:spPr>
        </p:sp>
        <p:sp>
          <p:nvSpPr>
            <p:cNvPr id="16" name="TextBox 16"/>
            <p:cNvSpPr txBox="1"/>
            <p:nvPr/>
          </p:nvSpPr>
          <p:spPr>
            <a:xfrm>
              <a:off x="0" y="-57150"/>
              <a:ext cx="2691372" cy="595769"/>
            </a:xfrm>
            <a:prstGeom prst="rect">
              <a:avLst/>
            </a:prstGeom>
          </p:spPr>
          <p:txBody>
            <a:bodyPr lIns="33867" tIns="33867" rIns="33867" bIns="33867" rtlCol="0" anchor="ctr"/>
            <a:lstStyle/>
            <a:p>
              <a:pPr algn="ctr">
                <a:lnSpc>
                  <a:spcPts val="2239"/>
                </a:lnSpc>
              </a:pPr>
              <a:endParaRPr sz="800"/>
            </a:p>
          </p:txBody>
        </p:sp>
      </p:grpSp>
      <p:sp>
        <p:nvSpPr>
          <p:cNvPr id="17" name="Freeform 17"/>
          <p:cNvSpPr/>
          <p:nvPr/>
        </p:nvSpPr>
        <p:spPr>
          <a:xfrm>
            <a:off x="2082220" y="4917148"/>
            <a:ext cx="2421870" cy="608275"/>
          </a:xfrm>
          <a:custGeom>
            <a:avLst/>
            <a:gdLst/>
            <a:ahLst/>
            <a:cxnLst/>
            <a:rect l="l" t="t" r="r" b="b"/>
            <a:pathLst>
              <a:path w="3632805" h="912413">
                <a:moveTo>
                  <a:pt x="0" y="0"/>
                </a:moveTo>
                <a:lnTo>
                  <a:pt x="3632805" y="0"/>
                </a:lnTo>
                <a:lnTo>
                  <a:pt x="3632805" y="912413"/>
                </a:lnTo>
                <a:lnTo>
                  <a:pt x="0" y="912413"/>
                </a:lnTo>
                <a:lnTo>
                  <a:pt x="0" y="0"/>
                </a:lnTo>
                <a:close/>
              </a:path>
            </a:pathLst>
          </a:custGeom>
          <a:blipFill>
            <a:blip r:embed="rId6"/>
            <a:stretch>
              <a:fillRect r="-83775"/>
            </a:stretch>
          </a:blipFill>
        </p:spPr>
      </p:sp>
      <p:sp>
        <p:nvSpPr>
          <p:cNvPr id="18" name="Freeform 18"/>
          <p:cNvSpPr/>
          <p:nvPr/>
        </p:nvSpPr>
        <p:spPr>
          <a:xfrm>
            <a:off x="7015817" y="1602892"/>
            <a:ext cx="3832723" cy="1977484"/>
          </a:xfrm>
          <a:custGeom>
            <a:avLst/>
            <a:gdLst/>
            <a:ahLst/>
            <a:cxnLst/>
            <a:rect l="l" t="t" r="r" b="b"/>
            <a:pathLst>
              <a:path w="5749085" h="2966226">
                <a:moveTo>
                  <a:pt x="0" y="0"/>
                </a:moveTo>
                <a:lnTo>
                  <a:pt x="5749084" y="0"/>
                </a:lnTo>
                <a:lnTo>
                  <a:pt x="5749084" y="2966226"/>
                </a:lnTo>
                <a:lnTo>
                  <a:pt x="0" y="2966226"/>
                </a:lnTo>
                <a:lnTo>
                  <a:pt x="0" y="0"/>
                </a:lnTo>
                <a:close/>
              </a:path>
            </a:pathLst>
          </a:custGeom>
          <a:blipFill>
            <a:blip r:embed="rId7"/>
            <a:stretch>
              <a:fillRect/>
            </a:stretch>
          </a:blipFill>
          <a:ln w="38100" cap="sq">
            <a:solidFill>
              <a:srgbClr val="1C498B"/>
            </a:solidFill>
            <a:prstDash val="solid"/>
            <a:miter/>
          </a:ln>
        </p:spPr>
      </p:sp>
      <p:sp>
        <p:nvSpPr>
          <p:cNvPr id="19" name="Freeform 19"/>
          <p:cNvSpPr/>
          <p:nvPr/>
        </p:nvSpPr>
        <p:spPr>
          <a:xfrm>
            <a:off x="7015817" y="4601843"/>
            <a:ext cx="4036014" cy="1012801"/>
          </a:xfrm>
          <a:custGeom>
            <a:avLst/>
            <a:gdLst/>
            <a:ahLst/>
            <a:cxnLst/>
            <a:rect l="l" t="t" r="r" b="b"/>
            <a:pathLst>
              <a:path w="6054021" h="1519202">
                <a:moveTo>
                  <a:pt x="0" y="0"/>
                </a:moveTo>
                <a:lnTo>
                  <a:pt x="6054020" y="0"/>
                </a:lnTo>
                <a:lnTo>
                  <a:pt x="6054020" y="1519202"/>
                </a:lnTo>
                <a:lnTo>
                  <a:pt x="0" y="1519202"/>
                </a:lnTo>
                <a:lnTo>
                  <a:pt x="0" y="0"/>
                </a:lnTo>
                <a:close/>
              </a:path>
            </a:pathLst>
          </a:custGeom>
          <a:blipFill>
            <a:blip r:embed="rId8"/>
            <a:stretch>
              <a:fillRect/>
            </a:stretch>
          </a:blipFill>
          <a:ln w="38100" cap="sq">
            <a:solidFill>
              <a:srgbClr val="3B365F"/>
            </a:solidFill>
            <a:prstDash val="solid"/>
            <a:miter/>
          </a:ln>
        </p:spPr>
      </p:sp>
      <p:sp>
        <p:nvSpPr>
          <p:cNvPr id="20" name="Freeform 20"/>
          <p:cNvSpPr/>
          <p:nvPr/>
        </p:nvSpPr>
        <p:spPr>
          <a:xfrm>
            <a:off x="1215266" y="1960723"/>
            <a:ext cx="4126136" cy="1528999"/>
          </a:xfrm>
          <a:custGeom>
            <a:avLst/>
            <a:gdLst/>
            <a:ahLst/>
            <a:cxnLst/>
            <a:rect l="l" t="t" r="r" b="b"/>
            <a:pathLst>
              <a:path w="6189204" h="2293498">
                <a:moveTo>
                  <a:pt x="0" y="0"/>
                </a:moveTo>
                <a:lnTo>
                  <a:pt x="6189205" y="0"/>
                </a:lnTo>
                <a:lnTo>
                  <a:pt x="6189205" y="2293498"/>
                </a:lnTo>
                <a:lnTo>
                  <a:pt x="0" y="2293498"/>
                </a:lnTo>
                <a:lnTo>
                  <a:pt x="0" y="0"/>
                </a:lnTo>
                <a:close/>
              </a:path>
            </a:pathLst>
          </a:custGeom>
          <a:blipFill>
            <a:blip r:embed="rId9"/>
            <a:stretch>
              <a:fillRect/>
            </a:stretch>
          </a:blipFill>
          <a:ln w="38100" cap="sq">
            <a:solidFill>
              <a:srgbClr val="88A3CE"/>
            </a:solidFill>
            <a:prstDash val="solid"/>
            <a:miter/>
          </a:ln>
        </p:spPr>
      </p:sp>
      <p:sp>
        <p:nvSpPr>
          <p:cNvPr id="21" name="TextBox 21"/>
          <p:cNvSpPr txBox="1"/>
          <p:nvPr/>
        </p:nvSpPr>
        <p:spPr>
          <a:xfrm>
            <a:off x="502415" y="643921"/>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22" name="TextBox 22"/>
          <p:cNvSpPr txBox="1"/>
          <p:nvPr/>
        </p:nvSpPr>
        <p:spPr>
          <a:xfrm>
            <a:off x="3666989" y="389920"/>
            <a:ext cx="3348828" cy="671402"/>
          </a:xfrm>
          <a:prstGeom prst="rect">
            <a:avLst/>
          </a:prstGeom>
        </p:spPr>
        <p:txBody>
          <a:bodyPr lIns="0" tIns="0" rIns="0" bIns="0" rtlCol="0" anchor="t">
            <a:spAutoFit/>
          </a:bodyPr>
          <a:lstStyle/>
          <a:p>
            <a:pPr algn="ctr">
              <a:lnSpc>
                <a:spcPts val="2640"/>
              </a:lnSpc>
            </a:pPr>
            <a:r>
              <a:rPr lang="en-US" sz="2400" b="1">
                <a:solidFill>
                  <a:srgbClr val="545454"/>
                </a:solidFill>
                <a:latin typeface="DM Sans"/>
              </a:rPr>
              <a:t>Parents and Caregiver Empowerment</a:t>
            </a:r>
          </a:p>
        </p:txBody>
      </p:sp>
      <p:sp>
        <p:nvSpPr>
          <p:cNvPr id="24" name="TextBox 24"/>
          <p:cNvSpPr txBox="1"/>
          <p:nvPr/>
        </p:nvSpPr>
        <p:spPr>
          <a:xfrm>
            <a:off x="2283930" y="3829769"/>
            <a:ext cx="2257969" cy="534762"/>
          </a:xfrm>
          <a:prstGeom prst="rect">
            <a:avLst/>
          </a:prstGeom>
        </p:spPr>
        <p:txBody>
          <a:bodyPr lIns="0" tIns="0" rIns="0" bIns="0" rtlCol="0" anchor="t">
            <a:spAutoFit/>
          </a:bodyPr>
          <a:lstStyle/>
          <a:p>
            <a:pPr algn="ctr">
              <a:lnSpc>
                <a:spcPts val="2239"/>
              </a:lnSpc>
            </a:pPr>
            <a:r>
              <a:rPr lang="en-US" sz="1600">
                <a:solidFill>
                  <a:srgbClr val="FDFDFD"/>
                </a:solidFill>
                <a:latin typeface="Barlow"/>
              </a:rPr>
              <a:t>ILPQC Patient and Engagement Toolkit</a:t>
            </a:r>
          </a:p>
        </p:txBody>
      </p:sp>
      <p:sp>
        <p:nvSpPr>
          <p:cNvPr id="25" name="TextBox 25"/>
          <p:cNvSpPr txBox="1"/>
          <p:nvPr/>
        </p:nvSpPr>
        <p:spPr>
          <a:xfrm>
            <a:off x="2082220" y="5801216"/>
            <a:ext cx="2661390" cy="558871"/>
          </a:xfrm>
          <a:prstGeom prst="rect">
            <a:avLst/>
          </a:prstGeom>
        </p:spPr>
        <p:txBody>
          <a:bodyPr lIns="0" tIns="0" rIns="0" bIns="0" rtlCol="0" anchor="t">
            <a:spAutoFit/>
          </a:bodyPr>
          <a:lstStyle/>
          <a:p>
            <a:pPr algn="ctr">
              <a:lnSpc>
                <a:spcPts val="2333"/>
              </a:lnSpc>
            </a:pPr>
            <a:r>
              <a:rPr lang="en-US" sz="1650">
                <a:solidFill>
                  <a:srgbClr val="FDFDFD"/>
                </a:solidFill>
                <a:latin typeface="Barlow"/>
              </a:rPr>
              <a:t>NICHQ Tips for including and engaging family partners</a:t>
            </a:r>
          </a:p>
        </p:txBody>
      </p:sp>
      <p:sp>
        <p:nvSpPr>
          <p:cNvPr id="26" name="TextBox 26"/>
          <p:cNvSpPr txBox="1"/>
          <p:nvPr/>
        </p:nvSpPr>
        <p:spPr>
          <a:xfrm>
            <a:off x="7396775" y="5988289"/>
            <a:ext cx="2969480" cy="491545"/>
          </a:xfrm>
          <a:prstGeom prst="rect">
            <a:avLst/>
          </a:prstGeom>
        </p:spPr>
        <p:txBody>
          <a:bodyPr wrap="square" lIns="0" tIns="0" rIns="0" bIns="0" rtlCol="0" anchor="t">
            <a:spAutoFit/>
          </a:bodyPr>
          <a:lstStyle/>
          <a:p>
            <a:pPr algn="ctr">
              <a:lnSpc>
                <a:spcPts val="1966"/>
              </a:lnSpc>
            </a:pPr>
            <a:r>
              <a:rPr lang="en-US" sz="1666">
                <a:solidFill>
                  <a:srgbClr val="FDFDFD"/>
                </a:solidFill>
                <a:latin typeface="Barlow"/>
              </a:rPr>
              <a:t>ILPQC Respectful Care Breakfast Guide</a:t>
            </a:r>
          </a:p>
        </p:txBody>
      </p:sp>
      <p:sp>
        <p:nvSpPr>
          <p:cNvPr id="27" name="TextBox 27"/>
          <p:cNvSpPr txBox="1"/>
          <p:nvPr/>
        </p:nvSpPr>
        <p:spPr>
          <a:xfrm>
            <a:off x="7464644" y="3735445"/>
            <a:ext cx="3043659" cy="558871"/>
          </a:xfrm>
          <a:prstGeom prst="rect">
            <a:avLst/>
          </a:prstGeom>
        </p:spPr>
        <p:txBody>
          <a:bodyPr lIns="0" tIns="0" rIns="0" bIns="0" rtlCol="0" anchor="t">
            <a:spAutoFit/>
          </a:bodyPr>
          <a:lstStyle/>
          <a:p>
            <a:pPr algn="ctr">
              <a:lnSpc>
                <a:spcPts val="2333"/>
              </a:lnSpc>
            </a:pPr>
            <a:r>
              <a:rPr lang="en-US" sz="1666">
                <a:solidFill>
                  <a:srgbClr val="FDFDFD"/>
                </a:solidFill>
                <a:latin typeface="Barlow"/>
              </a:rPr>
              <a:t>ILPQC Actionable Respectful Care Strategies</a:t>
            </a:r>
          </a:p>
        </p:txBody>
      </p:sp>
      <p:sp>
        <p:nvSpPr>
          <p:cNvPr id="28" name="TextBox 28"/>
          <p:cNvSpPr txBox="1"/>
          <p:nvPr/>
        </p:nvSpPr>
        <p:spPr>
          <a:xfrm>
            <a:off x="273368" y="1248135"/>
            <a:ext cx="7795642" cy="559192"/>
          </a:xfrm>
          <a:prstGeom prst="rect">
            <a:avLst/>
          </a:prstGeom>
        </p:spPr>
        <p:txBody>
          <a:bodyPr lIns="0" tIns="0" rIns="0" bIns="0" rtlCol="0" anchor="t">
            <a:spAutoFit/>
          </a:bodyPr>
          <a:lstStyle/>
          <a:p>
            <a:pPr>
              <a:lnSpc>
                <a:spcPts val="2127"/>
              </a:lnSpc>
            </a:pPr>
            <a:r>
              <a:rPr lang="en-US" sz="2400">
                <a:latin typeface="DM Sans"/>
              </a:rPr>
              <a:t>Secondary Driver 1: Respectful Parent and Caregiver Partnerships </a:t>
            </a:r>
            <a:endParaRPr lang="en-US"/>
          </a:p>
        </p:txBody>
      </p:sp>
      <p:sp>
        <p:nvSpPr>
          <p:cNvPr id="30" name="Freeform 4">
            <a:extLst>
              <a:ext uri="{FF2B5EF4-FFF2-40B4-BE49-F238E27FC236}">
                <a16:creationId xmlns:a16="http://schemas.microsoft.com/office/drawing/2014/main" id="{53721EF8-C35D-834E-9339-D65FFE7AFF9A}"/>
              </a:ext>
            </a:extLst>
          </p:cNvPr>
          <p:cNvSpPr/>
          <p:nvPr/>
        </p:nvSpPr>
        <p:spPr>
          <a:xfrm>
            <a:off x="8137819" y="73609"/>
            <a:ext cx="1488951" cy="1316293"/>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32" name="TextBox 19">
            <a:extLst>
              <a:ext uri="{FF2B5EF4-FFF2-40B4-BE49-F238E27FC236}">
                <a16:creationId xmlns:a16="http://schemas.microsoft.com/office/drawing/2014/main" id="{F1AED984-C21E-AA63-E34E-DA61BCE8401F}"/>
              </a:ext>
            </a:extLst>
          </p:cNvPr>
          <p:cNvSpPr txBox="1"/>
          <p:nvPr/>
        </p:nvSpPr>
        <p:spPr>
          <a:xfrm>
            <a:off x="9696698" y="933047"/>
            <a:ext cx="1995308"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34" name="Freeform 21">
            <a:extLst>
              <a:ext uri="{FF2B5EF4-FFF2-40B4-BE49-F238E27FC236}">
                <a16:creationId xmlns:a16="http://schemas.microsoft.com/office/drawing/2014/main" id="{6A9EBE99-61D6-2DC0-EB79-B633C9D91DD8}"/>
              </a:ext>
            </a:extLst>
          </p:cNvPr>
          <p:cNvSpPr/>
          <p:nvPr/>
        </p:nvSpPr>
        <p:spPr>
          <a:xfrm>
            <a:off x="10371324" y="73545"/>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2"/>
            <a:stretch>
              <a:fillRect/>
            </a:stretch>
          </a:blipFill>
        </p:spPr>
      </p:sp>
    </p:spTree>
    <p:extLst>
      <p:ext uri="{BB962C8B-B14F-4D97-AF65-F5344CB8AC3E}">
        <p14:creationId xmlns:p14="http://schemas.microsoft.com/office/powerpoint/2010/main" val="595546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6A446-3EAF-1D26-0881-09F641FA1071}"/>
              </a:ext>
            </a:extLst>
          </p:cNvPr>
          <p:cNvSpPr>
            <a:spLocks noGrp="1"/>
          </p:cNvSpPr>
          <p:nvPr>
            <p:ph type="ctrTitle"/>
          </p:nvPr>
        </p:nvSpPr>
        <p:spPr>
          <a:xfrm>
            <a:off x="1068703" y="1380754"/>
            <a:ext cx="5413993" cy="2387600"/>
          </a:xfrm>
        </p:spPr>
        <p:txBody>
          <a:bodyPr/>
          <a:lstStyle/>
          <a:p>
            <a:r>
              <a:rPr lang="en-US" sz="4800">
                <a:solidFill>
                  <a:schemeClr val="accent1"/>
                </a:solidFill>
                <a:ea typeface="Lato Medium"/>
                <a:cs typeface="Lato Medium"/>
              </a:rPr>
              <a:t>Let’s Play a Game?</a:t>
            </a:r>
          </a:p>
        </p:txBody>
      </p:sp>
      <p:sp>
        <p:nvSpPr>
          <p:cNvPr id="3" name="Subtitle 2">
            <a:extLst>
              <a:ext uri="{FF2B5EF4-FFF2-40B4-BE49-F238E27FC236}">
                <a16:creationId xmlns:a16="http://schemas.microsoft.com/office/drawing/2014/main" id="{11D1B208-3BF0-EBC8-BF8D-1C8378DBC20F}"/>
              </a:ext>
            </a:extLst>
          </p:cNvPr>
          <p:cNvSpPr>
            <a:spLocks noGrp="1"/>
          </p:cNvSpPr>
          <p:nvPr>
            <p:ph type="subTitle" idx="1"/>
          </p:nvPr>
        </p:nvSpPr>
        <p:spPr>
          <a:xfrm>
            <a:off x="1107449" y="4082969"/>
            <a:ext cx="4845722" cy="986569"/>
          </a:xfrm>
        </p:spPr>
        <p:txBody>
          <a:bodyPr vert="horz" lIns="91440" tIns="45720" rIns="91440" bIns="45720" rtlCol="0" anchor="t">
            <a:noAutofit/>
          </a:bodyPr>
          <a:lstStyle/>
          <a:p>
            <a:r>
              <a:rPr lang="en-US" sz="3200">
                <a:ea typeface="Lato"/>
                <a:cs typeface="Lato"/>
              </a:rPr>
              <a:t>Find your BINGO card</a:t>
            </a:r>
          </a:p>
        </p:txBody>
      </p:sp>
    </p:spTree>
    <p:extLst>
      <p:ext uri="{BB962C8B-B14F-4D97-AF65-F5344CB8AC3E}">
        <p14:creationId xmlns:p14="http://schemas.microsoft.com/office/powerpoint/2010/main" val="28907056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73368" y="458989"/>
            <a:ext cx="3198283" cy="543708"/>
          </a:xfrm>
          <a:custGeom>
            <a:avLst/>
            <a:gdLst/>
            <a:ahLst/>
            <a:cxnLst/>
            <a:rect l="l" t="t" r="r" b="b"/>
            <a:pathLst>
              <a:path w="4797425" h="815562">
                <a:moveTo>
                  <a:pt x="0" y="0"/>
                </a:moveTo>
                <a:lnTo>
                  <a:pt x="4797426" y="0"/>
                </a:lnTo>
                <a:lnTo>
                  <a:pt x="4797426" y="815562"/>
                </a:lnTo>
                <a:lnTo>
                  <a:pt x="0" y="81556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 name="Freeform 3"/>
          <p:cNvSpPr/>
          <p:nvPr/>
        </p:nvSpPr>
        <p:spPr>
          <a:xfrm>
            <a:off x="2180430" y="292659"/>
            <a:ext cx="997512" cy="874183"/>
          </a:xfrm>
          <a:custGeom>
            <a:avLst/>
            <a:gdLst/>
            <a:ahLst/>
            <a:cxnLst/>
            <a:rect l="l" t="t" r="r" b="b"/>
            <a:pathLst>
              <a:path w="1496268" h="1311275">
                <a:moveTo>
                  <a:pt x="0" y="0"/>
                </a:moveTo>
                <a:lnTo>
                  <a:pt x="1496268" y="0"/>
                </a:lnTo>
                <a:lnTo>
                  <a:pt x="1496268" y="1311275"/>
                </a:lnTo>
                <a:lnTo>
                  <a:pt x="0" y="131127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5" name="Group 5"/>
          <p:cNvGrpSpPr/>
          <p:nvPr/>
        </p:nvGrpSpPr>
        <p:grpSpPr>
          <a:xfrm rot="5400000">
            <a:off x="459171" y="1524099"/>
            <a:ext cx="738167" cy="881323"/>
            <a:chOff x="0" y="0"/>
            <a:chExt cx="2761714" cy="3230880"/>
          </a:xfrm>
        </p:grpSpPr>
        <p:sp>
          <p:nvSpPr>
            <p:cNvPr id="6" name="Freeform 6"/>
            <p:cNvSpPr/>
            <p:nvPr/>
          </p:nvSpPr>
          <p:spPr>
            <a:xfrm>
              <a:off x="5080" y="12700"/>
              <a:ext cx="2746474" cy="3205480"/>
            </a:xfrm>
            <a:custGeom>
              <a:avLst/>
              <a:gdLst/>
              <a:ahLst/>
              <a:cxnLst/>
              <a:rect l="l" t="t" r="r" b="b"/>
              <a:pathLst>
                <a:path w="2746474" h="3205480">
                  <a:moveTo>
                    <a:pt x="1956534" y="3205480"/>
                  </a:moveTo>
                  <a:lnTo>
                    <a:pt x="0" y="3205480"/>
                  </a:lnTo>
                  <a:lnTo>
                    <a:pt x="791210" y="1602740"/>
                  </a:lnTo>
                  <a:lnTo>
                    <a:pt x="0" y="0"/>
                  </a:lnTo>
                  <a:lnTo>
                    <a:pt x="1956534" y="0"/>
                  </a:lnTo>
                  <a:lnTo>
                    <a:pt x="2746474" y="1602740"/>
                  </a:lnTo>
                  <a:lnTo>
                    <a:pt x="1956534" y="3205480"/>
                  </a:lnTo>
                  <a:close/>
                </a:path>
              </a:pathLst>
            </a:custGeom>
            <a:solidFill>
              <a:srgbClr val="86EAE9"/>
            </a:solidFill>
          </p:spPr>
        </p:sp>
      </p:grpSp>
      <p:sp>
        <p:nvSpPr>
          <p:cNvPr id="7" name="Freeform 7"/>
          <p:cNvSpPr/>
          <p:nvPr/>
        </p:nvSpPr>
        <p:spPr>
          <a:xfrm>
            <a:off x="273368" y="2461672"/>
            <a:ext cx="5805201" cy="2876179"/>
          </a:xfrm>
          <a:custGeom>
            <a:avLst/>
            <a:gdLst/>
            <a:ahLst/>
            <a:cxnLst/>
            <a:rect l="l" t="t" r="r" b="b"/>
            <a:pathLst>
              <a:path w="8707801" h="4314268">
                <a:moveTo>
                  <a:pt x="0" y="0"/>
                </a:moveTo>
                <a:lnTo>
                  <a:pt x="8707801" y="0"/>
                </a:lnTo>
                <a:lnTo>
                  <a:pt x="8707801" y="4314268"/>
                </a:lnTo>
                <a:lnTo>
                  <a:pt x="0" y="4314268"/>
                </a:lnTo>
                <a:lnTo>
                  <a:pt x="0" y="0"/>
                </a:lnTo>
                <a:close/>
              </a:path>
            </a:pathLst>
          </a:custGeom>
          <a:blipFill>
            <a:blip r:embed="rId6"/>
            <a:stretch>
              <a:fillRect/>
            </a:stretch>
          </a:blipFill>
        </p:spPr>
      </p:sp>
      <p:sp>
        <p:nvSpPr>
          <p:cNvPr id="8" name="Freeform 8"/>
          <p:cNvSpPr/>
          <p:nvPr/>
        </p:nvSpPr>
        <p:spPr>
          <a:xfrm>
            <a:off x="7605213" y="2010363"/>
            <a:ext cx="3900988" cy="4794620"/>
          </a:xfrm>
          <a:custGeom>
            <a:avLst/>
            <a:gdLst/>
            <a:ahLst/>
            <a:cxnLst/>
            <a:rect l="l" t="t" r="r" b="b"/>
            <a:pathLst>
              <a:path w="6102001" h="7614682">
                <a:moveTo>
                  <a:pt x="0" y="0"/>
                </a:moveTo>
                <a:lnTo>
                  <a:pt x="6102001" y="0"/>
                </a:lnTo>
                <a:lnTo>
                  <a:pt x="6102001" y="7614682"/>
                </a:lnTo>
                <a:lnTo>
                  <a:pt x="0" y="7614682"/>
                </a:lnTo>
                <a:lnTo>
                  <a:pt x="0" y="0"/>
                </a:lnTo>
                <a:close/>
              </a:path>
            </a:pathLst>
          </a:custGeom>
          <a:blipFill>
            <a:blip r:embed="rId7"/>
            <a:stretch>
              <a:fillRect/>
            </a:stretch>
          </a:blipFill>
        </p:spPr>
      </p:sp>
      <p:sp>
        <p:nvSpPr>
          <p:cNvPr id="9" name="Freeform 9"/>
          <p:cNvSpPr/>
          <p:nvPr/>
        </p:nvSpPr>
        <p:spPr>
          <a:xfrm>
            <a:off x="273368" y="5689543"/>
            <a:ext cx="6034247" cy="1168457"/>
          </a:xfrm>
          <a:custGeom>
            <a:avLst/>
            <a:gdLst/>
            <a:ahLst/>
            <a:cxnLst/>
            <a:rect l="l" t="t" r="r" b="b"/>
            <a:pathLst>
              <a:path w="9051371" h="1752686">
                <a:moveTo>
                  <a:pt x="0" y="0"/>
                </a:moveTo>
                <a:lnTo>
                  <a:pt x="9051371" y="0"/>
                </a:lnTo>
                <a:lnTo>
                  <a:pt x="9051371" y="1752686"/>
                </a:lnTo>
                <a:lnTo>
                  <a:pt x="0" y="1752686"/>
                </a:lnTo>
                <a:lnTo>
                  <a:pt x="0" y="0"/>
                </a:lnTo>
                <a:close/>
              </a:path>
            </a:pathLst>
          </a:custGeom>
          <a:blipFill>
            <a:blip r:embed="rId8"/>
            <a:stretch>
              <a:fillRect/>
            </a:stretch>
          </a:blipFill>
        </p:spPr>
      </p:sp>
      <p:sp>
        <p:nvSpPr>
          <p:cNvPr id="10" name="TextBox 10"/>
          <p:cNvSpPr txBox="1"/>
          <p:nvPr/>
        </p:nvSpPr>
        <p:spPr>
          <a:xfrm>
            <a:off x="502415" y="643921"/>
            <a:ext cx="1609757" cy="349968"/>
          </a:xfrm>
          <a:prstGeom prst="rect">
            <a:avLst/>
          </a:prstGeom>
        </p:spPr>
        <p:txBody>
          <a:bodyPr wrap="square" lIns="0" tIns="0" rIns="0" bIns="0" rtlCol="0" anchor="t">
            <a:spAutoFit/>
          </a:bodyPr>
          <a:lstStyle/>
          <a:p>
            <a:pPr>
              <a:lnSpc>
                <a:spcPts val="2667"/>
              </a:lnSpc>
            </a:pPr>
            <a:r>
              <a:rPr lang="en-US" sz="2667">
                <a:solidFill>
                  <a:srgbClr val="FFFFFF"/>
                </a:solidFill>
                <a:latin typeface="Kollektif Bold"/>
              </a:rPr>
              <a:t>DRIVER 3</a:t>
            </a:r>
          </a:p>
        </p:txBody>
      </p:sp>
      <p:sp>
        <p:nvSpPr>
          <p:cNvPr id="11" name="TextBox 11"/>
          <p:cNvSpPr txBox="1"/>
          <p:nvPr/>
        </p:nvSpPr>
        <p:spPr>
          <a:xfrm>
            <a:off x="3670605" y="389920"/>
            <a:ext cx="3348828" cy="671402"/>
          </a:xfrm>
          <a:prstGeom prst="rect">
            <a:avLst/>
          </a:prstGeom>
        </p:spPr>
        <p:txBody>
          <a:bodyPr lIns="0" tIns="0" rIns="0" bIns="0" rtlCol="0" anchor="t">
            <a:spAutoFit/>
          </a:bodyPr>
          <a:lstStyle/>
          <a:p>
            <a:pPr algn="ctr">
              <a:lnSpc>
                <a:spcPts val="2640"/>
              </a:lnSpc>
            </a:pPr>
            <a:r>
              <a:rPr lang="en-US" sz="2400" b="1">
                <a:solidFill>
                  <a:srgbClr val="545454"/>
                </a:solidFill>
                <a:latin typeface="DM Sans"/>
              </a:rPr>
              <a:t>Parents and Caregiver Empowerment</a:t>
            </a:r>
          </a:p>
        </p:txBody>
      </p:sp>
      <p:sp>
        <p:nvSpPr>
          <p:cNvPr id="13" name="TextBox 13"/>
          <p:cNvSpPr txBox="1"/>
          <p:nvPr/>
        </p:nvSpPr>
        <p:spPr>
          <a:xfrm>
            <a:off x="1443541" y="1717220"/>
            <a:ext cx="3890457" cy="355995"/>
          </a:xfrm>
          <a:prstGeom prst="rect">
            <a:avLst/>
          </a:prstGeom>
        </p:spPr>
        <p:txBody>
          <a:bodyPr lIns="0" tIns="0" rIns="0" bIns="0" rtlCol="0" anchor="t">
            <a:spAutoFit/>
          </a:bodyPr>
          <a:lstStyle/>
          <a:p>
            <a:pPr>
              <a:lnSpc>
                <a:spcPts val="2988"/>
              </a:lnSpc>
            </a:pPr>
            <a:r>
              <a:rPr lang="en-US" sz="1950" spc="39">
                <a:solidFill>
                  <a:srgbClr val="191919"/>
                </a:solidFill>
                <a:latin typeface="Aileron Bold"/>
              </a:rPr>
              <a:t>National and State Resources</a:t>
            </a:r>
          </a:p>
        </p:txBody>
      </p:sp>
      <p:sp>
        <p:nvSpPr>
          <p:cNvPr id="14" name="TextBox 14"/>
          <p:cNvSpPr txBox="1"/>
          <p:nvPr/>
        </p:nvSpPr>
        <p:spPr>
          <a:xfrm>
            <a:off x="1277512" y="2160682"/>
            <a:ext cx="4466621" cy="284950"/>
          </a:xfrm>
          <a:prstGeom prst="rect">
            <a:avLst/>
          </a:prstGeom>
        </p:spPr>
        <p:txBody>
          <a:bodyPr lIns="0" tIns="0" rIns="0" bIns="0" rtlCol="0" anchor="t">
            <a:spAutoFit/>
          </a:bodyPr>
          <a:lstStyle/>
          <a:p>
            <a:pPr>
              <a:lnSpc>
                <a:spcPts val="2400"/>
              </a:lnSpc>
            </a:pPr>
            <a:r>
              <a:rPr lang="en-US" sz="1600" spc="32">
                <a:solidFill>
                  <a:srgbClr val="191919"/>
                </a:solidFill>
                <a:latin typeface="Aileron"/>
              </a:rPr>
              <a:t>AAP Safe Sleep Campaign Toolkit</a:t>
            </a:r>
          </a:p>
        </p:txBody>
      </p:sp>
      <p:sp>
        <p:nvSpPr>
          <p:cNvPr id="15" name="TextBox 15"/>
          <p:cNvSpPr txBox="1"/>
          <p:nvPr/>
        </p:nvSpPr>
        <p:spPr>
          <a:xfrm>
            <a:off x="1840994" y="5388553"/>
            <a:ext cx="4466621" cy="284950"/>
          </a:xfrm>
          <a:prstGeom prst="rect">
            <a:avLst/>
          </a:prstGeom>
        </p:spPr>
        <p:txBody>
          <a:bodyPr lIns="0" tIns="0" rIns="0" bIns="0" rtlCol="0" anchor="t">
            <a:spAutoFit/>
          </a:bodyPr>
          <a:lstStyle/>
          <a:p>
            <a:pPr>
              <a:lnSpc>
                <a:spcPts val="2400"/>
              </a:lnSpc>
            </a:pPr>
            <a:r>
              <a:rPr lang="en-US" sz="1600" spc="32">
                <a:solidFill>
                  <a:srgbClr val="191919"/>
                </a:solidFill>
                <a:latin typeface="Aileron"/>
              </a:rPr>
              <a:t>NIH Safe to Sleep</a:t>
            </a:r>
          </a:p>
        </p:txBody>
      </p:sp>
      <p:sp>
        <p:nvSpPr>
          <p:cNvPr id="16" name="TextBox 16"/>
          <p:cNvSpPr txBox="1"/>
          <p:nvPr/>
        </p:nvSpPr>
        <p:spPr>
          <a:xfrm>
            <a:off x="7983656" y="1673477"/>
            <a:ext cx="3133663" cy="284950"/>
          </a:xfrm>
          <a:prstGeom prst="rect">
            <a:avLst/>
          </a:prstGeom>
        </p:spPr>
        <p:txBody>
          <a:bodyPr wrap="square" lIns="0" tIns="0" rIns="0" bIns="0" rtlCol="0" anchor="t">
            <a:spAutoFit/>
          </a:bodyPr>
          <a:lstStyle/>
          <a:p>
            <a:pPr>
              <a:lnSpc>
                <a:spcPts val="2400"/>
              </a:lnSpc>
            </a:pPr>
            <a:r>
              <a:rPr lang="en-US" sz="1600" spc="32">
                <a:solidFill>
                  <a:srgbClr val="191919"/>
                </a:solidFill>
                <a:latin typeface="Aileron"/>
              </a:rPr>
              <a:t>IDHS Illinois Safe Sleep Support</a:t>
            </a:r>
          </a:p>
        </p:txBody>
      </p:sp>
      <p:sp>
        <p:nvSpPr>
          <p:cNvPr id="17" name="TextBox 17"/>
          <p:cNvSpPr txBox="1"/>
          <p:nvPr/>
        </p:nvSpPr>
        <p:spPr>
          <a:xfrm>
            <a:off x="339565" y="1170303"/>
            <a:ext cx="9462491" cy="320601"/>
          </a:xfrm>
          <a:prstGeom prst="rect">
            <a:avLst/>
          </a:prstGeom>
        </p:spPr>
        <p:txBody>
          <a:bodyPr lIns="0" tIns="0" rIns="0" bIns="0" rtlCol="0" anchor="t">
            <a:spAutoFit/>
          </a:bodyPr>
          <a:lstStyle/>
          <a:p>
            <a:pPr>
              <a:lnSpc>
                <a:spcPts val="2519"/>
              </a:lnSpc>
              <a:spcBef>
                <a:spcPct val="0"/>
              </a:spcBef>
            </a:pPr>
            <a:r>
              <a:rPr lang="en-US" sz="2400">
                <a:solidFill>
                  <a:srgbClr val="000000"/>
                </a:solidFill>
                <a:latin typeface="Barlow"/>
              </a:rPr>
              <a:t>Secondary Driver 2: Safe Sleep Awareness</a:t>
            </a:r>
          </a:p>
        </p:txBody>
      </p:sp>
      <p:sp>
        <p:nvSpPr>
          <p:cNvPr id="19" name="Freeform 4">
            <a:extLst>
              <a:ext uri="{FF2B5EF4-FFF2-40B4-BE49-F238E27FC236}">
                <a16:creationId xmlns:a16="http://schemas.microsoft.com/office/drawing/2014/main" id="{4F38B046-5CD5-F005-45E3-2034830DFD34}"/>
              </a:ext>
            </a:extLst>
          </p:cNvPr>
          <p:cNvSpPr/>
          <p:nvPr/>
        </p:nvSpPr>
        <p:spPr>
          <a:xfrm>
            <a:off x="7456175" y="124422"/>
            <a:ext cx="1474574" cy="1347608"/>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1" name="TextBox 19">
            <a:extLst>
              <a:ext uri="{FF2B5EF4-FFF2-40B4-BE49-F238E27FC236}">
                <a16:creationId xmlns:a16="http://schemas.microsoft.com/office/drawing/2014/main" id="{A35E0C3C-CC22-A1A0-8E94-9EEE65798BD1}"/>
              </a:ext>
            </a:extLst>
          </p:cNvPr>
          <p:cNvSpPr txBox="1"/>
          <p:nvPr/>
        </p:nvSpPr>
        <p:spPr>
          <a:xfrm>
            <a:off x="9252381" y="990360"/>
            <a:ext cx="2351985"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23" name="Freeform 21">
            <a:extLst>
              <a:ext uri="{FF2B5EF4-FFF2-40B4-BE49-F238E27FC236}">
                <a16:creationId xmlns:a16="http://schemas.microsoft.com/office/drawing/2014/main" id="{4187CCE4-601B-24DB-941F-235B18EDE475}"/>
              </a:ext>
            </a:extLst>
          </p:cNvPr>
          <p:cNvSpPr/>
          <p:nvPr/>
        </p:nvSpPr>
        <p:spPr>
          <a:xfrm>
            <a:off x="10371324" y="94422"/>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1"/>
            <a:stretch>
              <a:fillRect/>
            </a:stretch>
          </a:blipFill>
        </p:spPr>
      </p:sp>
    </p:spTree>
    <p:extLst>
      <p:ext uri="{BB962C8B-B14F-4D97-AF65-F5344CB8AC3E}">
        <p14:creationId xmlns:p14="http://schemas.microsoft.com/office/powerpoint/2010/main" val="4359986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73368" y="458989"/>
            <a:ext cx="3198283" cy="543708"/>
          </a:xfrm>
          <a:custGeom>
            <a:avLst/>
            <a:gdLst/>
            <a:ahLst/>
            <a:cxnLst/>
            <a:rect l="l" t="t" r="r" b="b"/>
            <a:pathLst>
              <a:path w="4797425" h="815562">
                <a:moveTo>
                  <a:pt x="0" y="0"/>
                </a:moveTo>
                <a:lnTo>
                  <a:pt x="4797426" y="0"/>
                </a:lnTo>
                <a:lnTo>
                  <a:pt x="4797426" y="815562"/>
                </a:lnTo>
                <a:lnTo>
                  <a:pt x="0" y="81556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 name="Freeform 3"/>
          <p:cNvSpPr/>
          <p:nvPr/>
        </p:nvSpPr>
        <p:spPr>
          <a:xfrm>
            <a:off x="2201307" y="364521"/>
            <a:ext cx="997512" cy="874183"/>
          </a:xfrm>
          <a:custGeom>
            <a:avLst/>
            <a:gdLst/>
            <a:ahLst/>
            <a:cxnLst/>
            <a:rect l="l" t="t" r="r" b="b"/>
            <a:pathLst>
              <a:path w="1496268" h="1311275">
                <a:moveTo>
                  <a:pt x="0" y="0"/>
                </a:moveTo>
                <a:lnTo>
                  <a:pt x="1496268" y="0"/>
                </a:lnTo>
                <a:lnTo>
                  <a:pt x="1496268" y="1311276"/>
                </a:lnTo>
                <a:lnTo>
                  <a:pt x="0" y="131127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5" name="Group 5"/>
          <p:cNvGrpSpPr/>
          <p:nvPr/>
        </p:nvGrpSpPr>
        <p:grpSpPr>
          <a:xfrm rot="5400000">
            <a:off x="5517698" y="4318689"/>
            <a:ext cx="1158333" cy="957671"/>
            <a:chOff x="0" y="0"/>
            <a:chExt cx="3988194" cy="3230880"/>
          </a:xfrm>
        </p:grpSpPr>
        <p:sp>
          <p:nvSpPr>
            <p:cNvPr id="6" name="Freeform 6"/>
            <p:cNvSpPr/>
            <p:nvPr/>
          </p:nvSpPr>
          <p:spPr>
            <a:xfrm>
              <a:off x="5080" y="12700"/>
              <a:ext cx="3972954" cy="3205480"/>
            </a:xfrm>
            <a:custGeom>
              <a:avLst/>
              <a:gdLst/>
              <a:ahLst/>
              <a:cxnLst/>
              <a:rect l="l" t="t" r="r" b="b"/>
              <a:pathLst>
                <a:path w="3972954" h="3205480">
                  <a:moveTo>
                    <a:pt x="3183014" y="3205480"/>
                  </a:moveTo>
                  <a:lnTo>
                    <a:pt x="0" y="3205480"/>
                  </a:lnTo>
                  <a:lnTo>
                    <a:pt x="791210" y="1602740"/>
                  </a:lnTo>
                  <a:lnTo>
                    <a:pt x="0" y="0"/>
                  </a:lnTo>
                  <a:lnTo>
                    <a:pt x="3183014" y="0"/>
                  </a:lnTo>
                  <a:lnTo>
                    <a:pt x="3972954" y="1602740"/>
                  </a:lnTo>
                  <a:lnTo>
                    <a:pt x="3183014" y="3205480"/>
                  </a:lnTo>
                  <a:close/>
                </a:path>
              </a:pathLst>
            </a:custGeom>
            <a:solidFill>
              <a:srgbClr val="13538A"/>
            </a:solidFill>
          </p:spPr>
        </p:sp>
      </p:grpSp>
      <p:grpSp>
        <p:nvGrpSpPr>
          <p:cNvPr id="7" name="Group 7"/>
          <p:cNvGrpSpPr/>
          <p:nvPr/>
        </p:nvGrpSpPr>
        <p:grpSpPr>
          <a:xfrm rot="5400000">
            <a:off x="247850" y="5671193"/>
            <a:ext cx="1040865" cy="957671"/>
            <a:chOff x="0" y="0"/>
            <a:chExt cx="3583745" cy="3230880"/>
          </a:xfrm>
        </p:grpSpPr>
        <p:sp>
          <p:nvSpPr>
            <p:cNvPr id="8" name="Freeform 8"/>
            <p:cNvSpPr/>
            <p:nvPr/>
          </p:nvSpPr>
          <p:spPr>
            <a:xfrm>
              <a:off x="5080" y="12700"/>
              <a:ext cx="3568505" cy="3205480"/>
            </a:xfrm>
            <a:custGeom>
              <a:avLst/>
              <a:gdLst/>
              <a:ahLst/>
              <a:cxnLst/>
              <a:rect l="l" t="t" r="r" b="b"/>
              <a:pathLst>
                <a:path w="3568505" h="3205480">
                  <a:moveTo>
                    <a:pt x="2778565" y="3205480"/>
                  </a:moveTo>
                  <a:lnTo>
                    <a:pt x="0" y="3205480"/>
                  </a:lnTo>
                  <a:lnTo>
                    <a:pt x="791210" y="1602740"/>
                  </a:lnTo>
                  <a:lnTo>
                    <a:pt x="0" y="0"/>
                  </a:lnTo>
                  <a:lnTo>
                    <a:pt x="2778565" y="0"/>
                  </a:lnTo>
                  <a:lnTo>
                    <a:pt x="3568505" y="1602740"/>
                  </a:lnTo>
                  <a:lnTo>
                    <a:pt x="2778565" y="3205480"/>
                  </a:lnTo>
                  <a:close/>
                </a:path>
              </a:pathLst>
            </a:custGeom>
            <a:solidFill>
              <a:srgbClr val="2C92D5"/>
            </a:solidFill>
          </p:spPr>
        </p:sp>
      </p:grpSp>
      <p:grpSp>
        <p:nvGrpSpPr>
          <p:cNvPr id="9" name="Group 9"/>
          <p:cNvGrpSpPr/>
          <p:nvPr/>
        </p:nvGrpSpPr>
        <p:grpSpPr>
          <a:xfrm rot="5400000">
            <a:off x="176572" y="4384896"/>
            <a:ext cx="1199501" cy="973750"/>
            <a:chOff x="0" y="0"/>
            <a:chExt cx="4061740" cy="3230880"/>
          </a:xfrm>
        </p:grpSpPr>
        <p:sp>
          <p:nvSpPr>
            <p:cNvPr id="10" name="Freeform 10"/>
            <p:cNvSpPr/>
            <p:nvPr/>
          </p:nvSpPr>
          <p:spPr>
            <a:xfrm>
              <a:off x="5080" y="12700"/>
              <a:ext cx="4046501" cy="3205480"/>
            </a:xfrm>
            <a:custGeom>
              <a:avLst/>
              <a:gdLst/>
              <a:ahLst/>
              <a:cxnLst/>
              <a:rect l="l" t="t" r="r" b="b"/>
              <a:pathLst>
                <a:path w="4046501" h="3205480">
                  <a:moveTo>
                    <a:pt x="3256560" y="3205480"/>
                  </a:moveTo>
                  <a:lnTo>
                    <a:pt x="0" y="3205480"/>
                  </a:lnTo>
                  <a:lnTo>
                    <a:pt x="791210" y="1602740"/>
                  </a:lnTo>
                  <a:lnTo>
                    <a:pt x="0" y="0"/>
                  </a:lnTo>
                  <a:lnTo>
                    <a:pt x="3256560" y="0"/>
                  </a:lnTo>
                  <a:lnTo>
                    <a:pt x="4046501" y="1602740"/>
                  </a:lnTo>
                  <a:lnTo>
                    <a:pt x="3256560" y="3205480"/>
                  </a:lnTo>
                  <a:close/>
                </a:path>
              </a:pathLst>
            </a:custGeom>
            <a:solidFill>
              <a:srgbClr val="37C9EF"/>
            </a:solidFill>
          </p:spPr>
        </p:sp>
      </p:grpSp>
      <p:grpSp>
        <p:nvGrpSpPr>
          <p:cNvPr id="11" name="Group 11"/>
          <p:cNvGrpSpPr/>
          <p:nvPr/>
        </p:nvGrpSpPr>
        <p:grpSpPr>
          <a:xfrm rot="5400000">
            <a:off x="-371405" y="2471111"/>
            <a:ext cx="2306837" cy="940903"/>
            <a:chOff x="0" y="0"/>
            <a:chExt cx="8084089" cy="3230880"/>
          </a:xfrm>
        </p:grpSpPr>
        <p:sp>
          <p:nvSpPr>
            <p:cNvPr id="12" name="Freeform 12"/>
            <p:cNvSpPr/>
            <p:nvPr/>
          </p:nvSpPr>
          <p:spPr>
            <a:xfrm>
              <a:off x="5080" y="12700"/>
              <a:ext cx="8068850" cy="3205480"/>
            </a:xfrm>
            <a:custGeom>
              <a:avLst/>
              <a:gdLst/>
              <a:ahLst/>
              <a:cxnLst/>
              <a:rect l="l" t="t" r="r" b="b"/>
              <a:pathLst>
                <a:path w="8068850" h="3205480">
                  <a:moveTo>
                    <a:pt x="7278910" y="3205480"/>
                  </a:moveTo>
                  <a:lnTo>
                    <a:pt x="0" y="3205480"/>
                  </a:lnTo>
                  <a:lnTo>
                    <a:pt x="791210" y="1602740"/>
                  </a:lnTo>
                  <a:lnTo>
                    <a:pt x="0" y="0"/>
                  </a:lnTo>
                  <a:lnTo>
                    <a:pt x="7278910" y="0"/>
                  </a:lnTo>
                  <a:lnTo>
                    <a:pt x="8068850" y="1602740"/>
                  </a:lnTo>
                  <a:lnTo>
                    <a:pt x="7278910" y="3205480"/>
                  </a:lnTo>
                  <a:close/>
                </a:path>
              </a:pathLst>
            </a:custGeom>
            <a:solidFill>
              <a:srgbClr val="3EDAD8"/>
            </a:solidFill>
          </p:spPr>
        </p:sp>
      </p:grpSp>
      <p:grpSp>
        <p:nvGrpSpPr>
          <p:cNvPr id="13" name="Group 13"/>
          <p:cNvGrpSpPr/>
          <p:nvPr/>
        </p:nvGrpSpPr>
        <p:grpSpPr>
          <a:xfrm rot="5400000">
            <a:off x="5491064" y="5601879"/>
            <a:ext cx="1211600" cy="957671"/>
            <a:chOff x="0" y="0"/>
            <a:chExt cx="4171596" cy="3230880"/>
          </a:xfrm>
        </p:grpSpPr>
        <p:sp>
          <p:nvSpPr>
            <p:cNvPr id="14" name="Freeform 14"/>
            <p:cNvSpPr/>
            <p:nvPr/>
          </p:nvSpPr>
          <p:spPr>
            <a:xfrm>
              <a:off x="5080" y="12700"/>
              <a:ext cx="4156356" cy="3205480"/>
            </a:xfrm>
            <a:custGeom>
              <a:avLst/>
              <a:gdLst/>
              <a:ahLst/>
              <a:cxnLst/>
              <a:rect l="l" t="t" r="r" b="b"/>
              <a:pathLst>
                <a:path w="4156356" h="3205480">
                  <a:moveTo>
                    <a:pt x="3366416" y="3205480"/>
                  </a:moveTo>
                  <a:lnTo>
                    <a:pt x="0" y="3205480"/>
                  </a:lnTo>
                  <a:lnTo>
                    <a:pt x="791210" y="1602740"/>
                  </a:lnTo>
                  <a:lnTo>
                    <a:pt x="0" y="0"/>
                  </a:lnTo>
                  <a:lnTo>
                    <a:pt x="3366416" y="0"/>
                  </a:lnTo>
                  <a:lnTo>
                    <a:pt x="4156356" y="1602740"/>
                  </a:lnTo>
                  <a:lnTo>
                    <a:pt x="3366416" y="3205480"/>
                  </a:lnTo>
                  <a:close/>
                </a:path>
              </a:pathLst>
            </a:custGeom>
            <a:solidFill>
              <a:srgbClr val="3B365F"/>
            </a:solidFill>
          </p:spPr>
        </p:sp>
      </p:grpSp>
      <p:sp>
        <p:nvSpPr>
          <p:cNvPr id="15" name="Freeform 15"/>
          <p:cNvSpPr/>
          <p:nvPr/>
        </p:nvSpPr>
        <p:spPr>
          <a:xfrm>
            <a:off x="9093518" y="3324295"/>
            <a:ext cx="2358421" cy="746031"/>
          </a:xfrm>
          <a:custGeom>
            <a:avLst/>
            <a:gdLst/>
            <a:ahLst/>
            <a:cxnLst/>
            <a:rect l="l" t="t" r="r" b="b"/>
            <a:pathLst>
              <a:path w="3537631" h="1119047">
                <a:moveTo>
                  <a:pt x="0" y="0"/>
                </a:moveTo>
                <a:lnTo>
                  <a:pt x="3537631" y="0"/>
                </a:lnTo>
                <a:lnTo>
                  <a:pt x="3537631" y="1119046"/>
                </a:lnTo>
                <a:lnTo>
                  <a:pt x="0" y="1119046"/>
                </a:lnTo>
                <a:lnTo>
                  <a:pt x="0" y="0"/>
                </a:lnTo>
                <a:close/>
              </a:path>
            </a:pathLst>
          </a:custGeom>
          <a:blipFill>
            <a:blip r:embed="rId6"/>
            <a:stretch>
              <a:fillRect/>
            </a:stretch>
          </a:blipFill>
        </p:spPr>
      </p:sp>
      <p:sp>
        <p:nvSpPr>
          <p:cNvPr id="16" name="Freeform 16"/>
          <p:cNvSpPr/>
          <p:nvPr/>
        </p:nvSpPr>
        <p:spPr>
          <a:xfrm>
            <a:off x="6625994" y="2762255"/>
            <a:ext cx="1596153" cy="400889"/>
          </a:xfrm>
          <a:custGeom>
            <a:avLst/>
            <a:gdLst/>
            <a:ahLst/>
            <a:cxnLst/>
            <a:rect l="l" t="t" r="r" b="b"/>
            <a:pathLst>
              <a:path w="2394230" h="601334">
                <a:moveTo>
                  <a:pt x="0" y="0"/>
                </a:moveTo>
                <a:lnTo>
                  <a:pt x="2394230" y="0"/>
                </a:lnTo>
                <a:lnTo>
                  <a:pt x="2394230" y="601334"/>
                </a:lnTo>
                <a:lnTo>
                  <a:pt x="0" y="601334"/>
                </a:lnTo>
                <a:lnTo>
                  <a:pt x="0" y="0"/>
                </a:lnTo>
                <a:close/>
              </a:path>
            </a:pathLst>
          </a:custGeom>
          <a:blipFill>
            <a:blip r:embed="rId7"/>
            <a:stretch>
              <a:fillRect r="-83775"/>
            </a:stretch>
          </a:blipFill>
        </p:spPr>
      </p:sp>
      <p:sp>
        <p:nvSpPr>
          <p:cNvPr id="17" name="Freeform 17"/>
          <p:cNvSpPr/>
          <p:nvPr/>
        </p:nvSpPr>
        <p:spPr>
          <a:xfrm>
            <a:off x="6071521" y="3346877"/>
            <a:ext cx="2705099" cy="700867"/>
          </a:xfrm>
          <a:custGeom>
            <a:avLst/>
            <a:gdLst/>
            <a:ahLst/>
            <a:cxnLst/>
            <a:rect l="l" t="t" r="r" b="b"/>
            <a:pathLst>
              <a:path w="4057648" h="1051300">
                <a:moveTo>
                  <a:pt x="0" y="0"/>
                </a:moveTo>
                <a:lnTo>
                  <a:pt x="4057648" y="0"/>
                </a:lnTo>
                <a:lnTo>
                  <a:pt x="4057648" y="1051300"/>
                </a:lnTo>
                <a:lnTo>
                  <a:pt x="0" y="1051300"/>
                </a:lnTo>
                <a:lnTo>
                  <a:pt x="0" y="0"/>
                </a:lnTo>
                <a:close/>
              </a:path>
            </a:pathLst>
          </a:custGeom>
          <a:blipFill>
            <a:blip r:embed="rId8"/>
            <a:stretch>
              <a:fillRect/>
            </a:stretch>
          </a:blipFill>
        </p:spPr>
      </p:sp>
      <p:sp>
        <p:nvSpPr>
          <p:cNvPr id="18" name="Freeform 18"/>
          <p:cNvSpPr/>
          <p:nvPr/>
        </p:nvSpPr>
        <p:spPr>
          <a:xfrm>
            <a:off x="9014742" y="1718991"/>
            <a:ext cx="1882929" cy="941464"/>
          </a:xfrm>
          <a:custGeom>
            <a:avLst/>
            <a:gdLst/>
            <a:ahLst/>
            <a:cxnLst/>
            <a:rect l="l" t="t" r="r" b="b"/>
            <a:pathLst>
              <a:path w="2824393" h="1412196">
                <a:moveTo>
                  <a:pt x="0" y="0"/>
                </a:moveTo>
                <a:lnTo>
                  <a:pt x="2824392" y="0"/>
                </a:lnTo>
                <a:lnTo>
                  <a:pt x="2824392" y="1412196"/>
                </a:lnTo>
                <a:lnTo>
                  <a:pt x="0" y="1412196"/>
                </a:lnTo>
                <a:lnTo>
                  <a:pt x="0" y="0"/>
                </a:lnTo>
                <a:close/>
              </a:path>
            </a:pathLst>
          </a:custGeom>
          <a:blipFill>
            <a:blip r:embed="rId9"/>
            <a:stretch>
              <a:fillRect/>
            </a:stretch>
          </a:blipFill>
        </p:spPr>
      </p:sp>
      <p:sp>
        <p:nvSpPr>
          <p:cNvPr id="19" name="Freeform 19"/>
          <p:cNvSpPr/>
          <p:nvPr/>
        </p:nvSpPr>
        <p:spPr>
          <a:xfrm>
            <a:off x="6625995" y="1640730"/>
            <a:ext cx="1912303" cy="842324"/>
          </a:xfrm>
          <a:custGeom>
            <a:avLst/>
            <a:gdLst/>
            <a:ahLst/>
            <a:cxnLst/>
            <a:rect l="l" t="t" r="r" b="b"/>
            <a:pathLst>
              <a:path w="2868455" h="1263486">
                <a:moveTo>
                  <a:pt x="0" y="0"/>
                </a:moveTo>
                <a:lnTo>
                  <a:pt x="2868455" y="0"/>
                </a:lnTo>
                <a:lnTo>
                  <a:pt x="2868455" y="1263486"/>
                </a:lnTo>
                <a:lnTo>
                  <a:pt x="0" y="1263486"/>
                </a:lnTo>
                <a:lnTo>
                  <a:pt x="0" y="0"/>
                </a:lnTo>
                <a:close/>
              </a:path>
            </a:pathLst>
          </a:custGeom>
          <a:blipFill>
            <a:blip r:embed="rId10"/>
            <a:stretch>
              <a:fillRect/>
            </a:stretch>
          </a:blipFill>
        </p:spPr>
      </p:sp>
      <p:sp>
        <p:nvSpPr>
          <p:cNvPr id="20" name="Freeform 20"/>
          <p:cNvSpPr/>
          <p:nvPr/>
        </p:nvSpPr>
        <p:spPr>
          <a:xfrm>
            <a:off x="8640977" y="2730305"/>
            <a:ext cx="3074751" cy="464788"/>
          </a:xfrm>
          <a:custGeom>
            <a:avLst/>
            <a:gdLst/>
            <a:ahLst/>
            <a:cxnLst/>
            <a:rect l="l" t="t" r="r" b="b"/>
            <a:pathLst>
              <a:path w="4612126" h="697182">
                <a:moveTo>
                  <a:pt x="0" y="0"/>
                </a:moveTo>
                <a:lnTo>
                  <a:pt x="4612126" y="0"/>
                </a:lnTo>
                <a:lnTo>
                  <a:pt x="4612126" y="697182"/>
                </a:lnTo>
                <a:lnTo>
                  <a:pt x="0" y="697182"/>
                </a:lnTo>
                <a:lnTo>
                  <a:pt x="0" y="0"/>
                </a:lnTo>
                <a:close/>
              </a:path>
            </a:pathLst>
          </a:custGeom>
          <a:blipFill>
            <a:blip r:embed="rId11"/>
            <a:stretch>
              <a:fillRect/>
            </a:stretch>
          </a:blipFill>
        </p:spPr>
      </p:sp>
      <p:sp>
        <p:nvSpPr>
          <p:cNvPr id="21" name="TextBox 21"/>
          <p:cNvSpPr txBox="1"/>
          <p:nvPr/>
        </p:nvSpPr>
        <p:spPr>
          <a:xfrm>
            <a:off x="502415" y="643921"/>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22" name="TextBox 22"/>
          <p:cNvSpPr txBox="1"/>
          <p:nvPr/>
        </p:nvSpPr>
        <p:spPr>
          <a:xfrm>
            <a:off x="3761932" y="389920"/>
            <a:ext cx="3348828" cy="671402"/>
          </a:xfrm>
          <a:prstGeom prst="rect">
            <a:avLst/>
          </a:prstGeom>
        </p:spPr>
        <p:txBody>
          <a:bodyPr lIns="0" tIns="0" rIns="0" bIns="0" rtlCol="0" anchor="t">
            <a:spAutoFit/>
          </a:bodyPr>
          <a:lstStyle/>
          <a:p>
            <a:pPr algn="ctr">
              <a:lnSpc>
                <a:spcPts val="2640"/>
              </a:lnSpc>
            </a:pPr>
            <a:r>
              <a:rPr lang="en-US" sz="2400" b="1">
                <a:solidFill>
                  <a:srgbClr val="545454"/>
                </a:solidFill>
                <a:latin typeface="DM Sans"/>
              </a:rPr>
              <a:t>Parents and Caregiver Empowerment</a:t>
            </a:r>
          </a:p>
        </p:txBody>
      </p:sp>
      <p:sp>
        <p:nvSpPr>
          <p:cNvPr id="24" name="TextBox 24"/>
          <p:cNvSpPr txBox="1"/>
          <p:nvPr/>
        </p:nvSpPr>
        <p:spPr>
          <a:xfrm>
            <a:off x="1404771" y="1851808"/>
            <a:ext cx="3170927" cy="355995"/>
          </a:xfrm>
          <a:prstGeom prst="rect">
            <a:avLst/>
          </a:prstGeom>
        </p:spPr>
        <p:txBody>
          <a:bodyPr lIns="0" tIns="0" rIns="0" bIns="0" rtlCol="0" anchor="t">
            <a:spAutoFit/>
          </a:bodyPr>
          <a:lstStyle/>
          <a:p>
            <a:pPr>
              <a:lnSpc>
                <a:spcPts val="2988"/>
              </a:lnSpc>
            </a:pPr>
            <a:r>
              <a:rPr lang="en-US" sz="1992" spc="39">
                <a:solidFill>
                  <a:srgbClr val="191919"/>
                </a:solidFill>
                <a:latin typeface="Aileron Bold"/>
              </a:rPr>
              <a:t>Handouts and Posters</a:t>
            </a:r>
          </a:p>
        </p:txBody>
      </p:sp>
      <p:sp>
        <p:nvSpPr>
          <p:cNvPr id="25" name="TextBox 25"/>
          <p:cNvSpPr txBox="1"/>
          <p:nvPr/>
        </p:nvSpPr>
        <p:spPr>
          <a:xfrm>
            <a:off x="1415469" y="4263691"/>
            <a:ext cx="3886621" cy="356316"/>
          </a:xfrm>
          <a:prstGeom prst="rect">
            <a:avLst/>
          </a:prstGeom>
        </p:spPr>
        <p:txBody>
          <a:bodyPr lIns="0" tIns="0" rIns="0" bIns="0" rtlCol="0" anchor="t">
            <a:spAutoFit/>
          </a:bodyPr>
          <a:lstStyle/>
          <a:p>
            <a:pPr>
              <a:lnSpc>
                <a:spcPts val="3001"/>
              </a:lnSpc>
            </a:pPr>
            <a:r>
              <a:rPr lang="en-US" sz="2001" spc="40">
                <a:solidFill>
                  <a:srgbClr val="191919"/>
                </a:solidFill>
                <a:latin typeface="Aileron Bold"/>
              </a:rPr>
              <a:t>Videos</a:t>
            </a:r>
          </a:p>
        </p:txBody>
      </p:sp>
      <p:sp>
        <p:nvSpPr>
          <p:cNvPr id="26" name="TextBox 26"/>
          <p:cNvSpPr txBox="1"/>
          <p:nvPr/>
        </p:nvSpPr>
        <p:spPr>
          <a:xfrm>
            <a:off x="1461761" y="5535568"/>
            <a:ext cx="1479091" cy="356572"/>
          </a:xfrm>
          <a:prstGeom prst="rect">
            <a:avLst/>
          </a:prstGeom>
        </p:spPr>
        <p:txBody>
          <a:bodyPr lIns="0" tIns="0" rIns="0" bIns="0" rtlCol="0" anchor="t">
            <a:spAutoFit/>
          </a:bodyPr>
          <a:lstStyle/>
          <a:p>
            <a:pPr>
              <a:lnSpc>
                <a:spcPts val="3014"/>
              </a:lnSpc>
            </a:pPr>
            <a:r>
              <a:rPr lang="en-US" sz="2009" spc="40">
                <a:solidFill>
                  <a:srgbClr val="191919"/>
                </a:solidFill>
                <a:latin typeface="Aileron Bold"/>
              </a:rPr>
              <a:t>E-Modules</a:t>
            </a:r>
          </a:p>
        </p:txBody>
      </p:sp>
      <p:sp>
        <p:nvSpPr>
          <p:cNvPr id="27" name="TextBox 27"/>
          <p:cNvSpPr txBox="1"/>
          <p:nvPr/>
        </p:nvSpPr>
        <p:spPr>
          <a:xfrm>
            <a:off x="6781618" y="4272804"/>
            <a:ext cx="4935049" cy="356572"/>
          </a:xfrm>
          <a:prstGeom prst="rect">
            <a:avLst/>
          </a:prstGeom>
        </p:spPr>
        <p:txBody>
          <a:bodyPr lIns="0" tIns="0" rIns="0" bIns="0" rtlCol="0" anchor="t">
            <a:spAutoFit/>
          </a:bodyPr>
          <a:lstStyle/>
          <a:p>
            <a:pPr>
              <a:lnSpc>
                <a:spcPts val="3014"/>
              </a:lnSpc>
            </a:pPr>
            <a:r>
              <a:rPr lang="en-US" sz="2009" spc="40">
                <a:solidFill>
                  <a:srgbClr val="191919"/>
                </a:solidFill>
                <a:latin typeface="Aileron Bold"/>
              </a:rPr>
              <a:t>Safe Sleep and Breastfeeding </a:t>
            </a:r>
          </a:p>
        </p:txBody>
      </p:sp>
      <p:sp>
        <p:nvSpPr>
          <p:cNvPr id="28" name="TextBox 28"/>
          <p:cNvSpPr txBox="1"/>
          <p:nvPr/>
        </p:nvSpPr>
        <p:spPr>
          <a:xfrm>
            <a:off x="6786980" y="5436989"/>
            <a:ext cx="5270845" cy="356251"/>
          </a:xfrm>
          <a:prstGeom prst="rect">
            <a:avLst/>
          </a:prstGeom>
        </p:spPr>
        <p:txBody>
          <a:bodyPr wrap="square" lIns="0" tIns="0" rIns="0" bIns="0" rtlCol="0" anchor="t">
            <a:spAutoFit/>
          </a:bodyPr>
          <a:lstStyle/>
          <a:p>
            <a:pPr>
              <a:lnSpc>
                <a:spcPts val="3014"/>
              </a:lnSpc>
            </a:pPr>
            <a:r>
              <a:rPr lang="en-US" sz="2000" spc="40">
                <a:solidFill>
                  <a:srgbClr val="191919"/>
                </a:solidFill>
                <a:latin typeface="Aileron Bold"/>
              </a:rPr>
              <a:t>Safe Sleep Information for other Caregivers</a:t>
            </a:r>
          </a:p>
        </p:txBody>
      </p:sp>
      <p:sp>
        <p:nvSpPr>
          <p:cNvPr id="29" name="TextBox 29"/>
          <p:cNvSpPr txBox="1"/>
          <p:nvPr/>
        </p:nvSpPr>
        <p:spPr>
          <a:xfrm>
            <a:off x="1404771" y="2263593"/>
            <a:ext cx="3992954" cy="1834565"/>
          </a:xfrm>
          <a:prstGeom prst="rect">
            <a:avLst/>
          </a:prstGeom>
        </p:spPr>
        <p:txBody>
          <a:bodyPr wrap="square" lIns="0" tIns="0" rIns="0" bIns="0" rtlCol="0" anchor="t">
            <a:spAutoFit/>
          </a:bodyPr>
          <a:lstStyle/>
          <a:p>
            <a:pPr marL="345440" lvl="1" indent="-172720">
              <a:lnSpc>
                <a:spcPts val="2400"/>
              </a:lnSpc>
              <a:buFont typeface="Arial"/>
              <a:buChar char="•"/>
            </a:pPr>
            <a:r>
              <a:rPr lang="en-US" sz="1600" spc="32">
                <a:solidFill>
                  <a:srgbClr val="191919"/>
                </a:solidFill>
                <a:latin typeface="Aileron"/>
              </a:rPr>
              <a:t>Illinois Safe Sleep Support Poster </a:t>
            </a:r>
            <a:endParaRPr lang="en-US"/>
          </a:p>
          <a:p>
            <a:pPr marL="345440" lvl="1" indent="-172720">
              <a:lnSpc>
                <a:spcPts val="2400"/>
              </a:lnSpc>
              <a:buFont typeface="Arial"/>
              <a:buChar char="•"/>
            </a:pPr>
            <a:r>
              <a:rPr lang="en-US" sz="1600" spc="32">
                <a:solidFill>
                  <a:srgbClr val="191919"/>
                </a:solidFill>
                <a:latin typeface="Aileron"/>
              </a:rPr>
              <a:t>Illinois Safe Sleep Support Handout  </a:t>
            </a:r>
          </a:p>
          <a:p>
            <a:pPr marL="345440" lvl="1" indent="-172720">
              <a:lnSpc>
                <a:spcPts val="2400"/>
              </a:lnSpc>
              <a:buFont typeface="Arial"/>
              <a:buChar char="•"/>
            </a:pPr>
            <a:r>
              <a:rPr lang="en-US" sz="1600" spc="32">
                <a:solidFill>
                  <a:srgbClr val="191919"/>
                </a:solidFill>
                <a:latin typeface="Aileron"/>
              </a:rPr>
              <a:t>NICHQ Myth VS Fact Safe Sleep </a:t>
            </a:r>
          </a:p>
          <a:p>
            <a:pPr marL="345440" lvl="1" indent="-172720">
              <a:lnSpc>
                <a:spcPts val="2400"/>
              </a:lnSpc>
              <a:buFont typeface="Arial"/>
              <a:buChar char="•"/>
            </a:pPr>
            <a:r>
              <a:rPr lang="en-US" sz="1600" spc="32">
                <a:solidFill>
                  <a:srgbClr val="191919"/>
                </a:solidFill>
                <a:latin typeface="Aileron"/>
              </a:rPr>
              <a:t>NICHQ Safe Infant Sleep Baby Registry Guide</a:t>
            </a:r>
          </a:p>
          <a:p>
            <a:pPr marL="345440" lvl="1" indent="-172720">
              <a:lnSpc>
                <a:spcPts val="2400"/>
              </a:lnSpc>
              <a:buFont typeface="Arial"/>
              <a:buChar char="•"/>
            </a:pPr>
            <a:r>
              <a:rPr lang="en-US" sz="1600" spc="32">
                <a:solidFill>
                  <a:srgbClr val="191919"/>
                </a:solidFill>
                <a:latin typeface="Aileron"/>
              </a:rPr>
              <a:t>NYSPQC Safe Sleep Baby Brochure</a:t>
            </a:r>
          </a:p>
        </p:txBody>
      </p:sp>
      <p:sp>
        <p:nvSpPr>
          <p:cNvPr id="30" name="TextBox 30"/>
          <p:cNvSpPr txBox="1"/>
          <p:nvPr/>
        </p:nvSpPr>
        <p:spPr>
          <a:xfrm>
            <a:off x="1458399" y="4691556"/>
            <a:ext cx="3585925" cy="593239"/>
          </a:xfrm>
          <a:prstGeom prst="rect">
            <a:avLst/>
          </a:prstGeom>
        </p:spPr>
        <p:txBody>
          <a:bodyPr lIns="0" tIns="0" rIns="0" bIns="0" rtlCol="0" anchor="t">
            <a:spAutoFit/>
          </a:bodyPr>
          <a:lstStyle/>
          <a:p>
            <a:pPr marL="348615" lvl="1" indent="-173990">
              <a:lnSpc>
                <a:spcPts val="2422"/>
              </a:lnSpc>
              <a:buFont typeface="Arial"/>
              <a:buChar char="•"/>
            </a:pPr>
            <a:r>
              <a:rPr lang="en-US" sz="1600" spc="32">
                <a:solidFill>
                  <a:srgbClr val="191919"/>
                </a:solidFill>
                <a:latin typeface="Aileron"/>
              </a:rPr>
              <a:t>Cribs for Kids Safe Sleep Videos</a:t>
            </a:r>
            <a:endParaRPr lang="en-US" sz="1600"/>
          </a:p>
          <a:p>
            <a:pPr marL="348615" lvl="1" indent="-173990">
              <a:lnSpc>
                <a:spcPts val="2422"/>
              </a:lnSpc>
              <a:buFont typeface="Arial"/>
              <a:buChar char="•"/>
            </a:pPr>
            <a:r>
              <a:rPr lang="en-US" sz="1600" spc="32">
                <a:solidFill>
                  <a:srgbClr val="191919"/>
                </a:solidFill>
                <a:latin typeface="Aileron"/>
              </a:rPr>
              <a:t>Charlie’s Kids Educational Videos </a:t>
            </a:r>
          </a:p>
        </p:txBody>
      </p:sp>
      <p:sp>
        <p:nvSpPr>
          <p:cNvPr id="31" name="TextBox 31"/>
          <p:cNvSpPr txBox="1"/>
          <p:nvPr/>
        </p:nvSpPr>
        <p:spPr>
          <a:xfrm>
            <a:off x="1458399" y="5927738"/>
            <a:ext cx="3660284" cy="593239"/>
          </a:xfrm>
          <a:prstGeom prst="rect">
            <a:avLst/>
          </a:prstGeom>
        </p:spPr>
        <p:txBody>
          <a:bodyPr lIns="0" tIns="0" rIns="0" bIns="0" rtlCol="0" anchor="t">
            <a:spAutoFit/>
          </a:bodyPr>
          <a:lstStyle/>
          <a:p>
            <a:pPr marL="348615" lvl="1" indent="-173990">
              <a:lnSpc>
                <a:spcPts val="2422"/>
              </a:lnSpc>
              <a:buFont typeface="Arial"/>
              <a:buChar char="•"/>
            </a:pPr>
            <a:r>
              <a:rPr lang="en-US" sz="1600" spc="32">
                <a:solidFill>
                  <a:srgbClr val="191919"/>
                </a:solidFill>
                <a:latin typeface="Aileron"/>
              </a:rPr>
              <a:t> Cribs for Kids Safe Sleep Ambassador training </a:t>
            </a:r>
            <a:endParaRPr lang="en-US"/>
          </a:p>
        </p:txBody>
      </p:sp>
      <p:sp>
        <p:nvSpPr>
          <p:cNvPr id="32" name="TextBox 32"/>
          <p:cNvSpPr txBox="1"/>
          <p:nvPr/>
        </p:nvSpPr>
        <p:spPr>
          <a:xfrm>
            <a:off x="6870487" y="4626521"/>
            <a:ext cx="4521200" cy="593239"/>
          </a:xfrm>
          <a:prstGeom prst="rect">
            <a:avLst/>
          </a:prstGeom>
        </p:spPr>
        <p:txBody>
          <a:bodyPr lIns="0" tIns="0" rIns="0" bIns="0" rtlCol="0" anchor="t">
            <a:spAutoFit/>
          </a:bodyPr>
          <a:lstStyle/>
          <a:p>
            <a:pPr marL="348651" lvl="1" indent="-174325">
              <a:lnSpc>
                <a:spcPts val="2422"/>
              </a:lnSpc>
              <a:buFont typeface="Arial"/>
              <a:buChar char="•"/>
            </a:pPr>
            <a:r>
              <a:rPr lang="en-US" sz="1615" spc="32">
                <a:solidFill>
                  <a:srgbClr val="191919"/>
                </a:solidFill>
                <a:latin typeface="Aileron"/>
              </a:rPr>
              <a:t>Safe infant sleep and breastfeeding support</a:t>
            </a:r>
          </a:p>
          <a:p>
            <a:pPr marL="348651" lvl="1" indent="-174325">
              <a:lnSpc>
                <a:spcPts val="2422"/>
              </a:lnSpc>
              <a:buFont typeface="Arial"/>
              <a:buChar char="•"/>
            </a:pPr>
            <a:r>
              <a:rPr lang="en-US" sz="1615" spc="32">
                <a:solidFill>
                  <a:srgbClr val="191919"/>
                </a:solidFill>
                <a:latin typeface="Aileron"/>
              </a:rPr>
              <a:t>NICHQ Myth vs Fact Breastfeeding</a:t>
            </a:r>
          </a:p>
        </p:txBody>
      </p:sp>
      <p:sp>
        <p:nvSpPr>
          <p:cNvPr id="33" name="TextBox 33"/>
          <p:cNvSpPr txBox="1"/>
          <p:nvPr/>
        </p:nvSpPr>
        <p:spPr>
          <a:xfrm>
            <a:off x="6786981" y="5868750"/>
            <a:ext cx="4076303" cy="593239"/>
          </a:xfrm>
          <a:prstGeom prst="rect">
            <a:avLst/>
          </a:prstGeom>
        </p:spPr>
        <p:txBody>
          <a:bodyPr lIns="0" tIns="0" rIns="0" bIns="0" rtlCol="0" anchor="t">
            <a:spAutoFit/>
          </a:bodyPr>
          <a:lstStyle/>
          <a:p>
            <a:pPr marL="348651" lvl="1" indent="-174325">
              <a:lnSpc>
                <a:spcPts val="2422"/>
              </a:lnSpc>
              <a:buFont typeface="Arial"/>
              <a:buChar char="•"/>
            </a:pPr>
            <a:r>
              <a:rPr lang="en-US" sz="1615" spc="32">
                <a:solidFill>
                  <a:srgbClr val="191919"/>
                </a:solidFill>
                <a:latin typeface="Aileron"/>
              </a:rPr>
              <a:t>NICHD Caregiver information</a:t>
            </a:r>
          </a:p>
          <a:p>
            <a:pPr marL="348651" lvl="1" indent="-174325">
              <a:lnSpc>
                <a:spcPts val="2422"/>
              </a:lnSpc>
              <a:buFont typeface="Arial"/>
              <a:buChar char="•"/>
            </a:pPr>
            <a:r>
              <a:rPr lang="en-US" sz="1615" spc="32">
                <a:solidFill>
                  <a:srgbClr val="191919"/>
                </a:solidFill>
                <a:latin typeface="Aileron"/>
              </a:rPr>
              <a:t>NICHQ Safe Sleep in Childcare settings</a:t>
            </a:r>
          </a:p>
        </p:txBody>
      </p:sp>
      <p:sp>
        <p:nvSpPr>
          <p:cNvPr id="34" name="TextBox 34"/>
          <p:cNvSpPr txBox="1"/>
          <p:nvPr/>
        </p:nvSpPr>
        <p:spPr>
          <a:xfrm>
            <a:off x="306706" y="1234919"/>
            <a:ext cx="9462491" cy="320601"/>
          </a:xfrm>
          <a:prstGeom prst="rect">
            <a:avLst/>
          </a:prstGeom>
        </p:spPr>
        <p:txBody>
          <a:bodyPr lIns="0" tIns="0" rIns="0" bIns="0" rtlCol="0" anchor="t">
            <a:spAutoFit/>
          </a:bodyPr>
          <a:lstStyle/>
          <a:p>
            <a:pPr>
              <a:lnSpc>
                <a:spcPts val="2519"/>
              </a:lnSpc>
              <a:spcBef>
                <a:spcPct val="0"/>
              </a:spcBef>
            </a:pPr>
            <a:r>
              <a:rPr lang="en-US" sz="2400">
                <a:solidFill>
                  <a:srgbClr val="000000"/>
                </a:solidFill>
                <a:latin typeface="Barlow"/>
              </a:rPr>
              <a:t>Secondary Driver 2: Safe Sleep Awareness</a:t>
            </a:r>
          </a:p>
        </p:txBody>
      </p:sp>
      <p:sp>
        <p:nvSpPr>
          <p:cNvPr id="36" name="Freeform 4">
            <a:extLst>
              <a:ext uri="{FF2B5EF4-FFF2-40B4-BE49-F238E27FC236}">
                <a16:creationId xmlns:a16="http://schemas.microsoft.com/office/drawing/2014/main" id="{3EFC5C80-E693-6C51-4DEF-583812BEAB54}"/>
              </a:ext>
            </a:extLst>
          </p:cNvPr>
          <p:cNvSpPr/>
          <p:nvPr/>
        </p:nvSpPr>
        <p:spPr>
          <a:xfrm>
            <a:off x="7758494" y="264257"/>
            <a:ext cx="1495450" cy="1253663"/>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38" name="TextBox 19">
            <a:extLst>
              <a:ext uri="{FF2B5EF4-FFF2-40B4-BE49-F238E27FC236}">
                <a16:creationId xmlns:a16="http://schemas.microsoft.com/office/drawing/2014/main" id="{9B32A794-89CE-3CF7-CCFB-FB03BB567C6D}"/>
              </a:ext>
            </a:extLst>
          </p:cNvPr>
          <p:cNvSpPr txBox="1"/>
          <p:nvPr/>
        </p:nvSpPr>
        <p:spPr>
          <a:xfrm>
            <a:off x="9518065" y="1070124"/>
            <a:ext cx="2204076"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40" name="Freeform 21">
            <a:extLst>
              <a:ext uri="{FF2B5EF4-FFF2-40B4-BE49-F238E27FC236}">
                <a16:creationId xmlns:a16="http://schemas.microsoft.com/office/drawing/2014/main" id="{75C1E2E3-7399-8294-DAEC-AEBB0FCAC9D7}"/>
              </a:ext>
            </a:extLst>
          </p:cNvPr>
          <p:cNvSpPr/>
          <p:nvPr/>
        </p:nvSpPr>
        <p:spPr>
          <a:xfrm>
            <a:off x="10266940" y="209244"/>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4"/>
            <a:stretch>
              <a:fillRect/>
            </a:stretch>
          </a:blipFill>
        </p:spPr>
      </p:sp>
    </p:spTree>
    <p:extLst>
      <p:ext uri="{BB962C8B-B14F-4D97-AF65-F5344CB8AC3E}">
        <p14:creationId xmlns:p14="http://schemas.microsoft.com/office/powerpoint/2010/main" val="3832963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DFDFD"/>
        </a:solidFill>
        <a:effectLst/>
      </p:bgPr>
    </p:bg>
    <p:spTree>
      <p:nvGrpSpPr>
        <p:cNvPr id="1" name=""/>
        <p:cNvGrpSpPr/>
        <p:nvPr/>
      </p:nvGrpSpPr>
      <p:grpSpPr>
        <a:xfrm>
          <a:off x="0" y="0"/>
          <a:ext cx="0" cy="0"/>
          <a:chOff x="0" y="0"/>
          <a:chExt cx="0" cy="0"/>
        </a:xfrm>
      </p:grpSpPr>
      <p:sp>
        <p:nvSpPr>
          <p:cNvPr id="2" name="Freeform 2"/>
          <p:cNvSpPr/>
          <p:nvPr/>
        </p:nvSpPr>
        <p:spPr>
          <a:xfrm>
            <a:off x="6096000" y="2261609"/>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sp>
        <p:nvSpPr>
          <p:cNvPr id="3" name="Freeform 3"/>
          <p:cNvSpPr/>
          <p:nvPr/>
        </p:nvSpPr>
        <p:spPr>
          <a:xfrm>
            <a:off x="9079451" y="1669145"/>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grpSp>
        <p:nvGrpSpPr>
          <p:cNvPr id="4" name="Group 4"/>
          <p:cNvGrpSpPr/>
          <p:nvPr/>
        </p:nvGrpSpPr>
        <p:grpSpPr>
          <a:xfrm>
            <a:off x="306706" y="4725398"/>
            <a:ext cx="2320458" cy="558429"/>
            <a:chOff x="0" y="0"/>
            <a:chExt cx="1688728" cy="406400"/>
          </a:xfrm>
        </p:grpSpPr>
        <p:sp>
          <p:nvSpPr>
            <p:cNvPr id="5" name="Freeform 5"/>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86EAE9"/>
            </a:solidFill>
          </p:spPr>
        </p:sp>
        <p:sp>
          <p:nvSpPr>
            <p:cNvPr id="6" name="TextBox 6"/>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7" name="Group 7"/>
          <p:cNvGrpSpPr/>
          <p:nvPr/>
        </p:nvGrpSpPr>
        <p:grpSpPr>
          <a:xfrm>
            <a:off x="514413" y="2411359"/>
            <a:ext cx="2088191" cy="2088191"/>
            <a:chOff x="0" y="0"/>
            <a:chExt cx="812800" cy="812800"/>
          </a:xfrm>
        </p:grpSpPr>
        <p:sp>
          <p:nvSpPr>
            <p:cNvPr id="8" name="Freeform 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86EAE9"/>
            </a:solidFill>
          </p:spPr>
        </p:sp>
        <p:sp>
          <p:nvSpPr>
            <p:cNvPr id="9" name="TextBox 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0" name="Group 10"/>
          <p:cNvGrpSpPr/>
          <p:nvPr/>
        </p:nvGrpSpPr>
        <p:grpSpPr>
          <a:xfrm>
            <a:off x="3346806" y="4152351"/>
            <a:ext cx="2361844" cy="523384"/>
            <a:chOff x="0" y="0"/>
            <a:chExt cx="1833937" cy="406400"/>
          </a:xfrm>
        </p:grpSpPr>
        <p:sp>
          <p:nvSpPr>
            <p:cNvPr id="11" name="Freeform 11"/>
            <p:cNvSpPr/>
            <p:nvPr/>
          </p:nvSpPr>
          <p:spPr>
            <a:xfrm>
              <a:off x="0" y="0"/>
              <a:ext cx="1833937" cy="406400"/>
            </a:xfrm>
            <a:custGeom>
              <a:avLst/>
              <a:gdLst/>
              <a:ahLst/>
              <a:cxnLst/>
              <a:rect l="l" t="t" r="r" b="b"/>
              <a:pathLst>
                <a:path w="1833937" h="406400">
                  <a:moveTo>
                    <a:pt x="1630737" y="0"/>
                  </a:moveTo>
                  <a:cubicBezTo>
                    <a:pt x="1742961" y="0"/>
                    <a:pt x="1833937" y="90976"/>
                    <a:pt x="1833937" y="203200"/>
                  </a:cubicBezTo>
                  <a:cubicBezTo>
                    <a:pt x="1833937" y="315424"/>
                    <a:pt x="1742961" y="406400"/>
                    <a:pt x="1630737" y="406400"/>
                  </a:cubicBezTo>
                  <a:lnTo>
                    <a:pt x="203200" y="406400"/>
                  </a:lnTo>
                  <a:cubicBezTo>
                    <a:pt x="90976" y="406400"/>
                    <a:pt x="0" y="315424"/>
                    <a:pt x="0" y="203200"/>
                  </a:cubicBezTo>
                  <a:cubicBezTo>
                    <a:pt x="0" y="90976"/>
                    <a:pt x="90976" y="0"/>
                    <a:pt x="203200" y="0"/>
                  </a:cubicBezTo>
                  <a:close/>
                </a:path>
              </a:pathLst>
            </a:custGeom>
            <a:solidFill>
              <a:srgbClr val="3EDAD8"/>
            </a:solidFill>
          </p:spPr>
        </p:sp>
        <p:sp>
          <p:nvSpPr>
            <p:cNvPr id="12" name="TextBox 12"/>
            <p:cNvSpPr txBox="1"/>
            <p:nvPr/>
          </p:nvSpPr>
          <p:spPr>
            <a:xfrm>
              <a:off x="0" y="-57150"/>
              <a:ext cx="1833937" cy="463550"/>
            </a:xfrm>
            <a:prstGeom prst="rect">
              <a:avLst/>
            </a:prstGeom>
          </p:spPr>
          <p:txBody>
            <a:bodyPr lIns="33867" tIns="33867" rIns="33867" bIns="33867" rtlCol="0" anchor="ctr"/>
            <a:lstStyle/>
            <a:p>
              <a:pPr algn="ctr">
                <a:lnSpc>
                  <a:spcPts val="2239"/>
                </a:lnSpc>
              </a:pPr>
              <a:endParaRPr sz="800"/>
            </a:p>
          </p:txBody>
        </p:sp>
      </p:grpSp>
      <p:grpSp>
        <p:nvGrpSpPr>
          <p:cNvPr id="13" name="Group 13"/>
          <p:cNvGrpSpPr/>
          <p:nvPr/>
        </p:nvGrpSpPr>
        <p:grpSpPr>
          <a:xfrm>
            <a:off x="3483838" y="1846329"/>
            <a:ext cx="2084684" cy="2084684"/>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EDAD8"/>
            </a:solidFill>
          </p:spPr>
        </p:sp>
        <p:sp>
          <p:nvSpPr>
            <p:cNvPr id="15" name="TextBox 15"/>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6" name="Group 16"/>
          <p:cNvGrpSpPr/>
          <p:nvPr/>
        </p:nvGrpSpPr>
        <p:grpSpPr>
          <a:xfrm>
            <a:off x="9226799" y="3988809"/>
            <a:ext cx="2448503" cy="579515"/>
            <a:chOff x="0" y="0"/>
            <a:chExt cx="1901226" cy="449985"/>
          </a:xfrm>
        </p:grpSpPr>
        <p:sp>
          <p:nvSpPr>
            <p:cNvPr id="17" name="Freeform 17"/>
            <p:cNvSpPr/>
            <p:nvPr/>
          </p:nvSpPr>
          <p:spPr>
            <a:xfrm>
              <a:off x="0" y="0"/>
              <a:ext cx="1901226" cy="449985"/>
            </a:xfrm>
            <a:custGeom>
              <a:avLst/>
              <a:gdLst/>
              <a:ahLst/>
              <a:cxnLst/>
              <a:rect l="l" t="t" r="r" b="b"/>
              <a:pathLst>
                <a:path w="1901226" h="449985">
                  <a:moveTo>
                    <a:pt x="1698026" y="0"/>
                  </a:moveTo>
                  <a:cubicBezTo>
                    <a:pt x="1810250" y="0"/>
                    <a:pt x="1901226" y="100733"/>
                    <a:pt x="1901226" y="224993"/>
                  </a:cubicBezTo>
                  <a:cubicBezTo>
                    <a:pt x="1901226" y="349253"/>
                    <a:pt x="1810250" y="449985"/>
                    <a:pt x="1698026" y="449985"/>
                  </a:cubicBezTo>
                  <a:lnTo>
                    <a:pt x="203200" y="449985"/>
                  </a:lnTo>
                  <a:cubicBezTo>
                    <a:pt x="90976" y="449985"/>
                    <a:pt x="0" y="349253"/>
                    <a:pt x="0" y="224993"/>
                  </a:cubicBezTo>
                  <a:cubicBezTo>
                    <a:pt x="0" y="100733"/>
                    <a:pt x="90976" y="0"/>
                    <a:pt x="203200" y="0"/>
                  </a:cubicBezTo>
                  <a:close/>
                </a:path>
              </a:pathLst>
            </a:custGeom>
            <a:solidFill>
              <a:srgbClr val="2C92D5"/>
            </a:solidFill>
          </p:spPr>
        </p:sp>
        <p:sp>
          <p:nvSpPr>
            <p:cNvPr id="18" name="TextBox 18"/>
            <p:cNvSpPr txBox="1"/>
            <p:nvPr/>
          </p:nvSpPr>
          <p:spPr>
            <a:xfrm>
              <a:off x="0" y="-57150"/>
              <a:ext cx="1901226" cy="507135"/>
            </a:xfrm>
            <a:prstGeom prst="rect">
              <a:avLst/>
            </a:prstGeom>
          </p:spPr>
          <p:txBody>
            <a:bodyPr lIns="33867" tIns="33867" rIns="33867" bIns="33867" rtlCol="0" anchor="ctr"/>
            <a:lstStyle/>
            <a:p>
              <a:pPr algn="ctr">
                <a:lnSpc>
                  <a:spcPts val="2239"/>
                </a:lnSpc>
              </a:pPr>
              <a:endParaRPr sz="800"/>
            </a:p>
          </p:txBody>
        </p:sp>
      </p:grpSp>
      <p:grpSp>
        <p:nvGrpSpPr>
          <p:cNvPr id="19" name="Group 19"/>
          <p:cNvGrpSpPr/>
          <p:nvPr/>
        </p:nvGrpSpPr>
        <p:grpSpPr>
          <a:xfrm>
            <a:off x="9287003" y="1665449"/>
            <a:ext cx="2077568" cy="2077568"/>
            <a:chOff x="0" y="0"/>
            <a:chExt cx="812800" cy="812800"/>
          </a:xfrm>
        </p:grpSpPr>
        <p:sp>
          <p:nvSpPr>
            <p:cNvPr id="20" name="Freeform 2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2C92D5"/>
            </a:solidFill>
          </p:spPr>
        </p:sp>
        <p:sp>
          <p:nvSpPr>
            <p:cNvPr id="21" name="TextBox 2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2" name="Group 22"/>
          <p:cNvGrpSpPr/>
          <p:nvPr/>
        </p:nvGrpSpPr>
        <p:grpSpPr>
          <a:xfrm>
            <a:off x="6457950" y="4690971"/>
            <a:ext cx="2381250" cy="627283"/>
            <a:chOff x="0" y="0"/>
            <a:chExt cx="1762718" cy="464346"/>
          </a:xfrm>
        </p:grpSpPr>
        <p:sp>
          <p:nvSpPr>
            <p:cNvPr id="23" name="Freeform 23"/>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37C9EF"/>
            </a:solidFill>
          </p:spPr>
        </p:sp>
        <p:sp>
          <p:nvSpPr>
            <p:cNvPr id="24" name="TextBox 24"/>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5" name="Group 25"/>
          <p:cNvGrpSpPr/>
          <p:nvPr/>
        </p:nvGrpSpPr>
        <p:grpSpPr>
          <a:xfrm>
            <a:off x="6628457" y="2395812"/>
            <a:ext cx="1982119" cy="1982119"/>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7C9EF"/>
            </a:solidFill>
          </p:spPr>
        </p:sp>
        <p:sp>
          <p:nvSpPr>
            <p:cNvPr id="27" name="TextBox 2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28" name="Freeform 28"/>
          <p:cNvSpPr/>
          <p:nvPr/>
        </p:nvSpPr>
        <p:spPr>
          <a:xfrm>
            <a:off x="-576664" y="6650969"/>
            <a:ext cx="1153329" cy="461331"/>
          </a:xfrm>
          <a:custGeom>
            <a:avLst/>
            <a:gdLst/>
            <a:ahLst/>
            <a:cxnLst/>
            <a:rect l="l" t="t" r="r" b="b"/>
            <a:pathLst>
              <a:path w="1729993" h="691997">
                <a:moveTo>
                  <a:pt x="0" y="0"/>
                </a:moveTo>
                <a:lnTo>
                  <a:pt x="1729992" y="0"/>
                </a:lnTo>
                <a:lnTo>
                  <a:pt x="1729992" y="691997"/>
                </a:lnTo>
                <a:lnTo>
                  <a:pt x="0" y="691997"/>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29" name="Freeform 29"/>
          <p:cNvSpPr/>
          <p:nvPr/>
        </p:nvSpPr>
        <p:spPr>
          <a:xfrm>
            <a:off x="273368" y="372017"/>
            <a:ext cx="3198283" cy="543708"/>
          </a:xfrm>
          <a:custGeom>
            <a:avLst/>
            <a:gdLst/>
            <a:ahLst/>
            <a:cxnLst/>
            <a:rect l="l" t="t" r="r" b="b"/>
            <a:pathLst>
              <a:path w="4797425" h="815562">
                <a:moveTo>
                  <a:pt x="0" y="0"/>
                </a:moveTo>
                <a:lnTo>
                  <a:pt x="4797426" y="0"/>
                </a:lnTo>
                <a:lnTo>
                  <a:pt x="4797426" y="815563"/>
                </a:lnTo>
                <a:lnTo>
                  <a:pt x="0" y="81556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30" name="Freeform 30"/>
          <p:cNvSpPr/>
          <p:nvPr/>
        </p:nvSpPr>
        <p:spPr>
          <a:xfrm>
            <a:off x="2201307" y="277549"/>
            <a:ext cx="997512" cy="874183"/>
          </a:xfrm>
          <a:custGeom>
            <a:avLst/>
            <a:gdLst/>
            <a:ahLst/>
            <a:cxnLst/>
            <a:rect l="l" t="t" r="r" b="b"/>
            <a:pathLst>
              <a:path w="1496268" h="1311275">
                <a:moveTo>
                  <a:pt x="0" y="0"/>
                </a:moveTo>
                <a:lnTo>
                  <a:pt x="1496268" y="0"/>
                </a:lnTo>
                <a:lnTo>
                  <a:pt x="1496268" y="1311275"/>
                </a:lnTo>
                <a:lnTo>
                  <a:pt x="0" y="1311275"/>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2" name="Freeform 32"/>
          <p:cNvSpPr/>
          <p:nvPr/>
        </p:nvSpPr>
        <p:spPr>
          <a:xfrm>
            <a:off x="3809080" y="2028458"/>
            <a:ext cx="1612900" cy="1720427"/>
          </a:xfrm>
          <a:custGeom>
            <a:avLst/>
            <a:gdLst/>
            <a:ahLst/>
            <a:cxnLst/>
            <a:rect l="l" t="t" r="r" b="b"/>
            <a:pathLst>
              <a:path w="2419350" h="2580640">
                <a:moveTo>
                  <a:pt x="0" y="0"/>
                </a:moveTo>
                <a:lnTo>
                  <a:pt x="2419350" y="0"/>
                </a:lnTo>
                <a:lnTo>
                  <a:pt x="2419350" y="2580640"/>
                </a:lnTo>
                <a:lnTo>
                  <a:pt x="0" y="258064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33" name="Freeform 33"/>
          <p:cNvSpPr/>
          <p:nvPr/>
        </p:nvSpPr>
        <p:spPr>
          <a:xfrm>
            <a:off x="6676994" y="2352882"/>
            <a:ext cx="1885046" cy="1896901"/>
          </a:xfrm>
          <a:custGeom>
            <a:avLst/>
            <a:gdLst/>
            <a:ahLst/>
            <a:cxnLst/>
            <a:rect l="l" t="t" r="r" b="b"/>
            <a:pathLst>
              <a:path w="2827569" h="2845352">
                <a:moveTo>
                  <a:pt x="0" y="0"/>
                </a:moveTo>
                <a:lnTo>
                  <a:pt x="2827569" y="0"/>
                </a:lnTo>
                <a:lnTo>
                  <a:pt x="2827569" y="2845352"/>
                </a:lnTo>
                <a:lnTo>
                  <a:pt x="0" y="2845352"/>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34" name="Freeform 34"/>
          <p:cNvSpPr/>
          <p:nvPr/>
        </p:nvSpPr>
        <p:spPr>
          <a:xfrm>
            <a:off x="9201059" y="1982870"/>
            <a:ext cx="2564846" cy="1442726"/>
          </a:xfrm>
          <a:custGeom>
            <a:avLst/>
            <a:gdLst/>
            <a:ahLst/>
            <a:cxnLst/>
            <a:rect l="l" t="t" r="r" b="b"/>
            <a:pathLst>
              <a:path w="3847269" h="2164089">
                <a:moveTo>
                  <a:pt x="0" y="0"/>
                </a:moveTo>
                <a:lnTo>
                  <a:pt x="3847269" y="0"/>
                </a:lnTo>
                <a:lnTo>
                  <a:pt x="3847269" y="2164089"/>
                </a:lnTo>
                <a:lnTo>
                  <a:pt x="0" y="2164089"/>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35" name="Freeform 35"/>
          <p:cNvSpPr/>
          <p:nvPr/>
        </p:nvSpPr>
        <p:spPr>
          <a:xfrm>
            <a:off x="710756" y="2687854"/>
            <a:ext cx="1695503" cy="1535201"/>
          </a:xfrm>
          <a:custGeom>
            <a:avLst/>
            <a:gdLst/>
            <a:ahLst/>
            <a:cxnLst/>
            <a:rect l="l" t="t" r="r" b="b"/>
            <a:pathLst>
              <a:path w="2543254" h="2302801">
                <a:moveTo>
                  <a:pt x="0" y="0"/>
                </a:moveTo>
                <a:lnTo>
                  <a:pt x="2543254" y="0"/>
                </a:lnTo>
                <a:lnTo>
                  <a:pt x="2543254" y="2302801"/>
                </a:lnTo>
                <a:lnTo>
                  <a:pt x="0" y="2302801"/>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36" name="TextBox 36"/>
          <p:cNvSpPr txBox="1"/>
          <p:nvPr/>
        </p:nvSpPr>
        <p:spPr>
          <a:xfrm>
            <a:off x="377237" y="4890062"/>
            <a:ext cx="2093537" cy="252633"/>
          </a:xfrm>
          <a:prstGeom prst="rect">
            <a:avLst/>
          </a:prstGeom>
        </p:spPr>
        <p:txBody>
          <a:bodyPr lIns="0" tIns="0" rIns="0" bIns="0" rtlCol="0" anchor="t">
            <a:spAutoFit/>
          </a:bodyPr>
          <a:lstStyle/>
          <a:p>
            <a:pPr algn="ctr">
              <a:lnSpc>
                <a:spcPts val="2239"/>
              </a:lnSpc>
            </a:pPr>
            <a:r>
              <a:rPr lang="en-US" sz="1600">
                <a:solidFill>
                  <a:srgbClr val="000000"/>
                </a:solidFill>
                <a:latin typeface="Barlow Medium"/>
              </a:rPr>
              <a:t>Transition to Home</a:t>
            </a:r>
          </a:p>
        </p:txBody>
      </p:sp>
      <p:sp>
        <p:nvSpPr>
          <p:cNvPr id="37" name="TextBox 37"/>
          <p:cNvSpPr txBox="1"/>
          <p:nvPr/>
        </p:nvSpPr>
        <p:spPr>
          <a:xfrm>
            <a:off x="169522" y="5391776"/>
            <a:ext cx="2777971" cy="1316835"/>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AAP Preparing for Discharge from the NICU</a:t>
            </a:r>
            <a:endParaRPr lang="en-US" sz="1450"/>
          </a:p>
          <a:p>
            <a:pPr marL="316230" lvl="1" indent="-158115">
              <a:lnSpc>
                <a:spcPts val="2053"/>
              </a:lnSpc>
              <a:buFont typeface="Arial"/>
              <a:buChar char="•"/>
            </a:pPr>
            <a:r>
              <a:rPr lang="en-US" sz="1450">
                <a:solidFill>
                  <a:srgbClr val="63696F"/>
                </a:solidFill>
                <a:latin typeface="Barlow Medium"/>
              </a:rPr>
              <a:t>AAP Health Newborn Discharge Criteria</a:t>
            </a:r>
          </a:p>
          <a:p>
            <a:pPr algn="ctr">
              <a:lnSpc>
                <a:spcPts val="2053"/>
              </a:lnSpc>
              <a:spcBef>
                <a:spcPct val="0"/>
              </a:spcBef>
            </a:pPr>
            <a:endParaRPr lang="en-US" sz="1467">
              <a:solidFill>
                <a:srgbClr val="63696F"/>
              </a:solidFill>
              <a:latin typeface="Barlow Medium"/>
              <a:hlinkClick r:id="rId18" tooltip="https://safetosleep.nichd.nih.gov/training"/>
            </a:endParaRPr>
          </a:p>
        </p:txBody>
      </p:sp>
      <p:sp>
        <p:nvSpPr>
          <p:cNvPr id="38" name="TextBox 38"/>
          <p:cNvSpPr txBox="1"/>
          <p:nvPr/>
        </p:nvSpPr>
        <p:spPr>
          <a:xfrm>
            <a:off x="3235726" y="4286810"/>
            <a:ext cx="2597958" cy="263918"/>
          </a:xfrm>
          <a:prstGeom prst="rect">
            <a:avLst/>
          </a:prstGeom>
        </p:spPr>
        <p:txBody>
          <a:bodyPr wrap="square" lIns="0" tIns="0" rIns="0" bIns="0" rtlCol="0" anchor="t">
            <a:spAutoFit/>
          </a:bodyPr>
          <a:lstStyle/>
          <a:p>
            <a:pPr algn="ctr">
              <a:lnSpc>
                <a:spcPts val="2333"/>
              </a:lnSpc>
            </a:pPr>
            <a:r>
              <a:rPr lang="en-US" sz="1650" err="1">
                <a:solidFill>
                  <a:srgbClr val="000000"/>
                </a:solidFill>
                <a:latin typeface="Barlow Medium"/>
              </a:rPr>
              <a:t>SDoH</a:t>
            </a:r>
            <a:r>
              <a:rPr lang="en-US" sz="1650">
                <a:solidFill>
                  <a:srgbClr val="000000"/>
                </a:solidFill>
                <a:latin typeface="Barlow Medium"/>
              </a:rPr>
              <a:t> Screening Tools</a:t>
            </a:r>
          </a:p>
        </p:txBody>
      </p:sp>
      <p:sp>
        <p:nvSpPr>
          <p:cNvPr id="39" name="TextBox 39"/>
          <p:cNvSpPr txBox="1"/>
          <p:nvPr/>
        </p:nvSpPr>
        <p:spPr>
          <a:xfrm>
            <a:off x="3234172" y="4881915"/>
            <a:ext cx="2334350" cy="517899"/>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ILPQC </a:t>
            </a:r>
            <a:r>
              <a:rPr lang="en-US" sz="1450" err="1">
                <a:solidFill>
                  <a:srgbClr val="63696F"/>
                </a:solidFill>
                <a:latin typeface="Barlow Medium"/>
              </a:rPr>
              <a:t>SDoH</a:t>
            </a:r>
            <a:r>
              <a:rPr lang="en-US" sz="1450">
                <a:solidFill>
                  <a:srgbClr val="63696F"/>
                </a:solidFill>
                <a:latin typeface="Barlow Medium"/>
              </a:rPr>
              <a:t> Screening Tool Comparison</a:t>
            </a:r>
            <a:endParaRPr lang="en-US"/>
          </a:p>
        </p:txBody>
      </p:sp>
      <p:sp>
        <p:nvSpPr>
          <p:cNvPr id="40" name="TextBox 40"/>
          <p:cNvSpPr txBox="1"/>
          <p:nvPr/>
        </p:nvSpPr>
        <p:spPr>
          <a:xfrm>
            <a:off x="9051996" y="4221448"/>
            <a:ext cx="2710688" cy="218008"/>
          </a:xfrm>
          <a:prstGeom prst="rect">
            <a:avLst/>
          </a:prstGeom>
        </p:spPr>
        <p:txBody>
          <a:bodyPr lIns="0" tIns="0" rIns="0" bIns="0" rtlCol="0" anchor="t">
            <a:spAutoFit/>
          </a:bodyPr>
          <a:lstStyle/>
          <a:p>
            <a:pPr algn="ctr">
              <a:lnSpc>
                <a:spcPts val="1731"/>
              </a:lnSpc>
            </a:pPr>
            <a:r>
              <a:rPr lang="en-US" sz="1600">
                <a:solidFill>
                  <a:srgbClr val="000000"/>
                </a:solidFill>
                <a:latin typeface="Barlow Medium"/>
              </a:rPr>
              <a:t>Linkage to Resources</a:t>
            </a:r>
          </a:p>
        </p:txBody>
      </p:sp>
      <p:sp>
        <p:nvSpPr>
          <p:cNvPr id="41" name="TextBox 41"/>
          <p:cNvSpPr txBox="1"/>
          <p:nvPr/>
        </p:nvSpPr>
        <p:spPr>
          <a:xfrm>
            <a:off x="9287003" y="4716577"/>
            <a:ext cx="2455324" cy="508922"/>
          </a:xfrm>
          <a:prstGeom prst="rect">
            <a:avLst/>
          </a:prstGeom>
        </p:spPr>
        <p:txBody>
          <a:bodyPr lIns="0" tIns="0" rIns="0" bIns="0" rtlCol="0" anchor="t">
            <a:spAutoFit/>
          </a:bodyPr>
          <a:lstStyle/>
          <a:p>
            <a:pPr marL="316673" lvl="1" indent="-158337">
              <a:lnSpc>
                <a:spcPts val="2053"/>
              </a:lnSpc>
              <a:buFont typeface="Arial"/>
              <a:buChar char="•"/>
            </a:pPr>
            <a:r>
              <a:rPr lang="en-US" sz="1467">
                <a:solidFill>
                  <a:srgbClr val="63696F"/>
                </a:solidFill>
                <a:latin typeface="Barlow Medium"/>
              </a:rPr>
              <a:t>ILPQC Best Practices for Linkage</a:t>
            </a:r>
          </a:p>
        </p:txBody>
      </p:sp>
      <p:sp>
        <p:nvSpPr>
          <p:cNvPr id="42" name="TextBox 42"/>
          <p:cNvSpPr txBox="1"/>
          <p:nvPr/>
        </p:nvSpPr>
        <p:spPr>
          <a:xfrm>
            <a:off x="6555027" y="4760271"/>
            <a:ext cx="2193897" cy="520976"/>
          </a:xfrm>
          <a:prstGeom prst="rect">
            <a:avLst/>
          </a:prstGeom>
        </p:spPr>
        <p:txBody>
          <a:bodyPr lIns="0" tIns="0" rIns="0" bIns="0" rtlCol="0" anchor="t">
            <a:spAutoFit/>
          </a:bodyPr>
          <a:lstStyle/>
          <a:p>
            <a:pPr algn="ctr">
              <a:lnSpc>
                <a:spcPts val="2053"/>
              </a:lnSpc>
            </a:pPr>
            <a:r>
              <a:rPr lang="en-US" sz="1600">
                <a:solidFill>
                  <a:srgbClr val="000000"/>
                </a:solidFill>
                <a:latin typeface="Barlow Medium"/>
              </a:rPr>
              <a:t>Neonatal/Family Safe Sleep Screening Tools</a:t>
            </a:r>
          </a:p>
        </p:txBody>
      </p:sp>
      <p:sp>
        <p:nvSpPr>
          <p:cNvPr id="43" name="TextBox 43"/>
          <p:cNvSpPr txBox="1"/>
          <p:nvPr/>
        </p:nvSpPr>
        <p:spPr>
          <a:xfrm>
            <a:off x="5834660" y="5487408"/>
            <a:ext cx="3627831" cy="1316835"/>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Cribs for Kids Safe Sleep Screening Tool</a:t>
            </a:r>
            <a:endParaRPr lang="en-US" sz="1450"/>
          </a:p>
          <a:p>
            <a:pPr marL="316230" lvl="1" indent="-158115">
              <a:lnSpc>
                <a:spcPts val="2053"/>
              </a:lnSpc>
              <a:buFont typeface="Arial"/>
              <a:buChar char="•"/>
            </a:pPr>
            <a:r>
              <a:rPr lang="en-US" sz="1450">
                <a:solidFill>
                  <a:srgbClr val="63696F"/>
                </a:solidFill>
                <a:latin typeface="Barlow Medium"/>
              </a:rPr>
              <a:t>JCMH Safe Sleep Assessment Tool</a:t>
            </a:r>
          </a:p>
          <a:p>
            <a:pPr marL="316230" lvl="1" indent="-158115">
              <a:lnSpc>
                <a:spcPts val="2053"/>
              </a:lnSpc>
              <a:buFont typeface="Arial"/>
              <a:buChar char="•"/>
            </a:pPr>
            <a:r>
              <a:rPr lang="en-US" sz="1450">
                <a:solidFill>
                  <a:srgbClr val="63696F"/>
                </a:solidFill>
                <a:latin typeface="Barlow Medium"/>
              </a:rPr>
              <a:t>NAPPSS-IIN Interview Tool: Safe Sleep Education Assessment Tool </a:t>
            </a:r>
          </a:p>
          <a:p>
            <a:pPr marL="316230" lvl="1" indent="-158115">
              <a:lnSpc>
                <a:spcPts val="2053"/>
              </a:lnSpc>
              <a:buFont typeface="Arial"/>
              <a:buChar char="•"/>
            </a:pPr>
            <a:r>
              <a:rPr lang="en-US" sz="1450">
                <a:solidFill>
                  <a:srgbClr val="63696F"/>
                </a:solidFill>
                <a:latin typeface="Barlow Medium"/>
              </a:rPr>
              <a:t>Bright Futures Tool and Resource Kit</a:t>
            </a:r>
          </a:p>
        </p:txBody>
      </p:sp>
      <p:sp>
        <p:nvSpPr>
          <p:cNvPr id="44" name="TextBox 44"/>
          <p:cNvSpPr txBox="1"/>
          <p:nvPr/>
        </p:nvSpPr>
        <p:spPr>
          <a:xfrm>
            <a:off x="502415" y="556948"/>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45" name="TextBox 45"/>
          <p:cNvSpPr txBox="1"/>
          <p:nvPr/>
        </p:nvSpPr>
        <p:spPr>
          <a:xfrm>
            <a:off x="3402295" y="313680"/>
            <a:ext cx="3348828"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Parents and Caregiver Empowerment</a:t>
            </a:r>
          </a:p>
        </p:txBody>
      </p:sp>
      <p:sp>
        <p:nvSpPr>
          <p:cNvPr id="47" name="TextBox 47"/>
          <p:cNvSpPr txBox="1"/>
          <p:nvPr/>
        </p:nvSpPr>
        <p:spPr>
          <a:xfrm>
            <a:off x="-61594" y="1234919"/>
            <a:ext cx="9462491" cy="641201"/>
          </a:xfrm>
          <a:prstGeom prst="rect">
            <a:avLst/>
          </a:prstGeom>
        </p:spPr>
        <p:txBody>
          <a:bodyPr lIns="0" tIns="0" rIns="0" bIns="0" rtlCol="0" anchor="t">
            <a:spAutoFit/>
          </a:bodyPr>
          <a:lstStyle/>
          <a:p>
            <a:pPr algn="ctr">
              <a:lnSpc>
                <a:spcPts val="2519"/>
              </a:lnSpc>
              <a:spcBef>
                <a:spcPct val="0"/>
              </a:spcBef>
            </a:pPr>
            <a:r>
              <a:rPr lang="en-US" sz="2400">
                <a:solidFill>
                  <a:srgbClr val="000000"/>
                </a:solidFill>
                <a:latin typeface="Barlow"/>
              </a:rPr>
              <a:t>Secondary Driver 3: Transition to Home, including </a:t>
            </a:r>
            <a:r>
              <a:rPr lang="en-US" sz="2400" err="1">
                <a:solidFill>
                  <a:srgbClr val="000000"/>
                </a:solidFill>
                <a:latin typeface="Barlow"/>
              </a:rPr>
              <a:t>SDoH</a:t>
            </a:r>
            <a:r>
              <a:rPr lang="en-US" sz="2400">
                <a:solidFill>
                  <a:srgbClr val="000000"/>
                </a:solidFill>
                <a:latin typeface="Barlow"/>
              </a:rPr>
              <a:t> Screening and Resource Linkage</a:t>
            </a:r>
            <a:r>
              <a:rPr lang="en-US" sz="1750">
                <a:solidFill>
                  <a:srgbClr val="000000"/>
                </a:solidFill>
                <a:latin typeface="Barlow"/>
              </a:rPr>
              <a:t> </a:t>
            </a:r>
            <a:endParaRPr lang="en-US"/>
          </a:p>
        </p:txBody>
      </p:sp>
      <p:sp>
        <p:nvSpPr>
          <p:cNvPr id="49" name="Freeform 4">
            <a:extLst>
              <a:ext uri="{FF2B5EF4-FFF2-40B4-BE49-F238E27FC236}">
                <a16:creationId xmlns:a16="http://schemas.microsoft.com/office/drawing/2014/main" id="{E2210AC7-88E9-3DF2-B6FD-284390179A81}"/>
              </a:ext>
            </a:extLst>
          </p:cNvPr>
          <p:cNvSpPr/>
          <p:nvPr/>
        </p:nvSpPr>
        <p:spPr>
          <a:xfrm>
            <a:off x="7646626" y="10979"/>
            <a:ext cx="1307560" cy="1149279"/>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sp>
        <p:nvSpPr>
          <p:cNvPr id="51" name="TextBox 19">
            <a:extLst>
              <a:ext uri="{FF2B5EF4-FFF2-40B4-BE49-F238E27FC236}">
                <a16:creationId xmlns:a16="http://schemas.microsoft.com/office/drawing/2014/main" id="{24A2DEC9-4CC0-CBF0-5D9A-524D9EFAEE1C}"/>
              </a:ext>
            </a:extLst>
          </p:cNvPr>
          <p:cNvSpPr txBox="1"/>
          <p:nvPr/>
        </p:nvSpPr>
        <p:spPr>
          <a:xfrm>
            <a:off x="8199380" y="776188"/>
            <a:ext cx="4100310"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3" name="Freeform 21">
            <a:extLst>
              <a:ext uri="{FF2B5EF4-FFF2-40B4-BE49-F238E27FC236}">
                <a16:creationId xmlns:a16="http://schemas.microsoft.com/office/drawing/2014/main" id="{0E0706BB-4123-83DA-E93A-66A50F4484A3}"/>
              </a:ext>
            </a:extLst>
          </p:cNvPr>
          <p:cNvSpPr/>
          <p:nvPr/>
        </p:nvSpPr>
        <p:spPr>
          <a:xfrm>
            <a:off x="10239170" y="5598"/>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21"/>
            <a:stretch>
              <a:fillRect/>
            </a:stretch>
          </a:blipFill>
        </p:spPr>
      </p:sp>
    </p:spTree>
    <p:extLst>
      <p:ext uri="{BB962C8B-B14F-4D97-AF65-F5344CB8AC3E}">
        <p14:creationId xmlns:p14="http://schemas.microsoft.com/office/powerpoint/2010/main" val="1598854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9" grpId="0"/>
      <p:bldP spid="41" grpId="0"/>
      <p:bldP spid="4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a:ea typeface="Lato Medium"/>
                <a:cs typeface="Lato Medium"/>
              </a:rPr>
              <a:t>Key Driver Diagram</a:t>
            </a:r>
            <a:endParaRPr lang="en-US"/>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33</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15527" y="3588185"/>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C2E32C2D-903E-520B-06DF-BD02CDACB918}"/>
              </a:ext>
            </a:extLst>
          </p:cNvPr>
          <p:cNvSpPr/>
          <p:nvPr/>
        </p:nvSpPr>
        <p:spPr>
          <a:xfrm>
            <a:off x="4360623" y="3494239"/>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ea typeface="Calibri"/>
                <a:cs typeface="Calibri"/>
              </a:rPr>
              <a:t>4</a:t>
            </a:r>
          </a:p>
        </p:txBody>
      </p:sp>
    </p:spTree>
    <p:extLst>
      <p:ext uri="{BB962C8B-B14F-4D97-AF65-F5344CB8AC3E}">
        <p14:creationId xmlns:p14="http://schemas.microsoft.com/office/powerpoint/2010/main" val="3115055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10"/>
          <p:cNvSpPr/>
          <p:nvPr/>
        </p:nvSpPr>
        <p:spPr>
          <a:xfrm>
            <a:off x="5927704" y="2348992"/>
            <a:ext cx="5155359" cy="1627902"/>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sp>
      <p:cxnSp>
        <p:nvCxnSpPr>
          <p:cNvPr id="55" name="Straight Arrow Connector 54">
            <a:extLst>
              <a:ext uri="{FF2B5EF4-FFF2-40B4-BE49-F238E27FC236}">
                <a16:creationId xmlns:a16="http://schemas.microsoft.com/office/drawing/2014/main" id="{8F46A2E8-EDC0-45C5-E8E6-4A5E6F1F4FA0}"/>
              </a:ext>
            </a:extLst>
          </p:cNvPr>
          <p:cNvCxnSpPr>
            <a:cxnSpLocks/>
          </p:cNvCxnSpPr>
          <p:nvPr/>
        </p:nvCxnSpPr>
        <p:spPr>
          <a:xfrm>
            <a:off x="4514380" y="5688568"/>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3366110-511F-BCB4-653F-4CCE780C10E1}"/>
              </a:ext>
            </a:extLst>
          </p:cNvPr>
          <p:cNvCxnSpPr>
            <a:cxnSpLocks/>
          </p:cNvCxnSpPr>
          <p:nvPr/>
        </p:nvCxnSpPr>
        <p:spPr>
          <a:xfrm>
            <a:off x="4514380" y="2419699"/>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2D6BD58-A1C0-4097-567A-36996C8B9E0B}"/>
              </a:ext>
            </a:extLst>
          </p:cNvPr>
          <p:cNvCxnSpPr>
            <a:cxnSpLocks/>
          </p:cNvCxnSpPr>
          <p:nvPr/>
        </p:nvCxnSpPr>
        <p:spPr>
          <a:xfrm flipV="1">
            <a:off x="4502731" y="3497056"/>
            <a:ext cx="1425983" cy="41411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sp>
      <p:grpSp>
        <p:nvGrpSpPr>
          <p:cNvPr id="3" name="Group 3"/>
          <p:cNvGrpSpPr/>
          <p:nvPr/>
        </p:nvGrpSpPr>
        <p:grpSpPr>
          <a:xfrm>
            <a:off x="5927005" y="5409984"/>
            <a:ext cx="5436970" cy="921327"/>
            <a:chOff x="0" y="-38100"/>
            <a:chExt cx="2156186" cy="4670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4B03D"/>
            </a:solidFill>
          </p:spPr>
        </p:sp>
        <p:sp>
          <p:nvSpPr>
            <p:cNvPr id="5" name="TextBox 5"/>
            <p:cNvSpPr txBox="1"/>
            <p:nvPr/>
          </p:nvSpPr>
          <p:spPr>
            <a:xfrm>
              <a:off x="0" y="-38100"/>
              <a:ext cx="2156186" cy="467075"/>
            </a:xfrm>
            <a:prstGeom prst="rect">
              <a:avLst/>
            </a:prstGeom>
            <a:solidFill>
              <a:srgbClr val="F4B03D"/>
            </a:solidFill>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sp>
      <p:grpSp>
        <p:nvGrpSpPr>
          <p:cNvPr id="7" name="Group 7"/>
          <p:cNvGrpSpPr/>
          <p:nvPr/>
        </p:nvGrpSpPr>
        <p:grpSpPr>
          <a:xfrm>
            <a:off x="5917265" y="3088979"/>
            <a:ext cx="5447408" cy="892955"/>
            <a:chOff x="0" y="0"/>
            <a:chExt cx="2156186" cy="492981"/>
          </a:xfrm>
        </p:grpSpPr>
        <p:sp>
          <p:nvSpPr>
            <p:cNvPr id="8" name="Freeform 8"/>
            <p:cNvSpPr/>
            <p:nvPr/>
          </p:nvSpPr>
          <p:spPr>
            <a:xfrm>
              <a:off x="0" y="0"/>
              <a:ext cx="2156186" cy="492981"/>
            </a:xfrm>
            <a:custGeom>
              <a:avLst/>
              <a:gdLst/>
              <a:ahLst/>
              <a:cxnLst/>
              <a:rect l="l" t="t" r="r" b="b"/>
              <a:pathLst>
                <a:path w="2156186" h="492981">
                  <a:moveTo>
                    <a:pt x="28370" y="0"/>
                  </a:moveTo>
                  <a:lnTo>
                    <a:pt x="2127816" y="0"/>
                  </a:lnTo>
                  <a:cubicBezTo>
                    <a:pt x="2143484" y="0"/>
                    <a:pt x="2156186" y="12702"/>
                    <a:pt x="2156186" y="28370"/>
                  </a:cubicBezTo>
                  <a:lnTo>
                    <a:pt x="2156186" y="464611"/>
                  </a:lnTo>
                  <a:cubicBezTo>
                    <a:pt x="2156186" y="480279"/>
                    <a:pt x="2143484" y="492981"/>
                    <a:pt x="2127816" y="492981"/>
                  </a:cubicBezTo>
                  <a:lnTo>
                    <a:pt x="28370" y="492981"/>
                  </a:lnTo>
                  <a:cubicBezTo>
                    <a:pt x="12702" y="492981"/>
                    <a:pt x="0" y="480279"/>
                    <a:pt x="0" y="464611"/>
                  </a:cubicBezTo>
                  <a:lnTo>
                    <a:pt x="0" y="28370"/>
                  </a:lnTo>
                  <a:cubicBezTo>
                    <a:pt x="0" y="12702"/>
                    <a:pt x="12702" y="0"/>
                    <a:pt x="28370" y="0"/>
                  </a:cubicBezTo>
                  <a:close/>
                </a:path>
              </a:pathLst>
            </a:custGeom>
            <a:solidFill>
              <a:srgbClr val="0CC0DF"/>
            </a:solidFill>
          </p:spPr>
        </p:sp>
        <p:sp>
          <p:nvSpPr>
            <p:cNvPr id="9" name="TextBox 9"/>
            <p:cNvSpPr txBox="1"/>
            <p:nvPr/>
          </p:nvSpPr>
          <p:spPr>
            <a:xfrm>
              <a:off x="0" y="-38100"/>
              <a:ext cx="2156186" cy="531081"/>
            </a:xfrm>
            <a:prstGeom prst="rect">
              <a:avLst/>
            </a:prstGeom>
          </p:spPr>
          <p:txBody>
            <a:bodyPr lIns="33867" tIns="33867" rIns="33867" bIns="33867" rtlCol="0" anchor="ctr"/>
            <a:lstStyle/>
            <a:p>
              <a:pPr algn="ctr">
                <a:lnSpc>
                  <a:spcPts val="1882"/>
                </a:lnSpc>
              </a:pPr>
              <a:endParaRPr sz="800"/>
            </a:p>
          </p:txBody>
        </p:sp>
      </p:grpSp>
      <p:sp>
        <p:nvSpPr>
          <p:cNvPr id="11" name="AutoShape 11"/>
          <p:cNvSpPr/>
          <p:nvPr/>
        </p:nvSpPr>
        <p:spPr>
          <a:xfrm flipV="1">
            <a:off x="7092797" y="3197914"/>
            <a:ext cx="0" cy="570703"/>
          </a:xfrm>
          <a:prstGeom prst="line">
            <a:avLst/>
          </a:prstGeom>
          <a:ln w="38100" cap="flat">
            <a:solidFill>
              <a:srgbClr val="FFFFFF"/>
            </a:solidFill>
            <a:prstDash val="solid"/>
            <a:headEnd type="none" w="sm" len="sm"/>
            <a:tailEnd type="none" w="sm" len="sm"/>
          </a:ln>
        </p:spPr>
      </p:sp>
      <p:sp>
        <p:nvSpPr>
          <p:cNvPr id="12" name="AutoShape 12"/>
          <p:cNvSpPr/>
          <p:nvPr/>
        </p:nvSpPr>
        <p:spPr>
          <a:xfrm flipV="1">
            <a:off x="7053305" y="5538752"/>
            <a:ext cx="0" cy="570703"/>
          </a:xfrm>
          <a:prstGeom prst="line">
            <a:avLst/>
          </a:prstGeom>
          <a:ln w="38100" cap="flat">
            <a:solidFill>
              <a:srgbClr val="FFFFFF"/>
            </a:solidFill>
            <a:prstDash val="solid"/>
            <a:headEnd type="none" w="sm" len="sm"/>
            <a:tailEnd type="none" w="sm" len="sm"/>
          </a:ln>
        </p:spPr>
      </p:sp>
      <p:sp>
        <p:nvSpPr>
          <p:cNvPr id="13" name="AutoShape 13"/>
          <p:cNvSpPr/>
          <p:nvPr/>
        </p:nvSpPr>
        <p:spPr>
          <a:xfrm>
            <a:off x="5927005" y="2873191"/>
            <a:ext cx="1488295" cy="0"/>
          </a:xfrm>
          <a:prstGeom prst="line">
            <a:avLst/>
          </a:prstGeom>
          <a:ln w="38100" cap="flat">
            <a:solidFill>
              <a:srgbClr val="000000"/>
            </a:solidFill>
            <a:prstDash val="solid"/>
            <a:headEnd type="none" w="sm" len="sm"/>
            <a:tailEnd type="none" w="sm" len="sm"/>
          </a:ln>
        </p:spPr>
      </p:sp>
      <p:sp>
        <p:nvSpPr>
          <p:cNvPr id="14" name="Freeform 14"/>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5" name="Freeform 15"/>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6" name="Group 16"/>
          <p:cNvGrpSpPr/>
          <p:nvPr/>
        </p:nvGrpSpPr>
        <p:grpSpPr>
          <a:xfrm>
            <a:off x="11377921" y="6168748"/>
            <a:ext cx="1368800" cy="1368800"/>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8" name="TextBox 18"/>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9" name="Group 19"/>
          <p:cNvGrpSpPr/>
          <p:nvPr/>
        </p:nvGrpSpPr>
        <p:grpSpPr>
          <a:xfrm>
            <a:off x="-415216" y="-654827"/>
            <a:ext cx="1368800" cy="1368800"/>
            <a:chOff x="0" y="0"/>
            <a:chExt cx="812800" cy="812800"/>
          </a:xfrm>
        </p:grpSpPr>
        <p:sp>
          <p:nvSpPr>
            <p:cNvPr id="20" name="Freeform 2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1" name="TextBox 21"/>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2" name="Freeform 22"/>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23" name="Freeform 23"/>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4" name="Freeform 24"/>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5" name="Freeform 25"/>
          <p:cNvSpPr/>
          <p:nvPr/>
        </p:nvSpPr>
        <p:spPr>
          <a:xfrm>
            <a:off x="9783982" y="595611"/>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1"/>
            <a:stretch>
              <a:fillRect/>
            </a:stretch>
          </a:blipFill>
        </p:spPr>
      </p:sp>
      <p:grpSp>
        <p:nvGrpSpPr>
          <p:cNvPr id="26" name="Group 26"/>
          <p:cNvGrpSpPr/>
          <p:nvPr/>
        </p:nvGrpSpPr>
        <p:grpSpPr>
          <a:xfrm>
            <a:off x="685801" y="1820761"/>
            <a:ext cx="3816499" cy="1051523"/>
            <a:chOff x="0" y="0"/>
            <a:chExt cx="1300650" cy="358355"/>
          </a:xfrm>
        </p:grpSpPr>
        <p:sp>
          <p:nvSpPr>
            <p:cNvPr id="27" name="Freeform 27"/>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28" name="TextBox 28"/>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29" name="Group 29"/>
          <p:cNvGrpSpPr/>
          <p:nvPr/>
        </p:nvGrpSpPr>
        <p:grpSpPr>
          <a:xfrm>
            <a:off x="5902744" y="1584395"/>
            <a:ext cx="5457846" cy="960584"/>
            <a:chOff x="0" y="0"/>
            <a:chExt cx="2156186" cy="428975"/>
          </a:xfrm>
        </p:grpSpPr>
        <p:sp>
          <p:nvSpPr>
            <p:cNvPr id="30" name="Freeform 30"/>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sp>
        <p:sp>
          <p:nvSpPr>
            <p:cNvPr id="31" name="TextBox 31"/>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32" name="AutoShape 32"/>
          <p:cNvSpPr/>
          <p:nvPr/>
        </p:nvSpPr>
        <p:spPr>
          <a:xfrm flipV="1">
            <a:off x="7040605" y="1760662"/>
            <a:ext cx="0" cy="570703"/>
          </a:xfrm>
          <a:prstGeom prst="line">
            <a:avLst/>
          </a:prstGeom>
          <a:ln w="38100" cap="flat">
            <a:solidFill>
              <a:srgbClr val="FFFFFF"/>
            </a:solidFill>
            <a:prstDash val="solid"/>
            <a:headEnd type="none" w="sm" len="sm"/>
            <a:tailEnd type="none" w="sm" len="sm"/>
          </a:ln>
        </p:spPr>
      </p:sp>
      <p:sp>
        <p:nvSpPr>
          <p:cNvPr id="33" name="Freeform 33"/>
          <p:cNvSpPr/>
          <p:nvPr/>
        </p:nvSpPr>
        <p:spPr>
          <a:xfrm>
            <a:off x="3434696" y="253900"/>
            <a:ext cx="1377360" cy="1323411"/>
          </a:xfrm>
          <a:custGeom>
            <a:avLst/>
            <a:gdLst/>
            <a:ahLst/>
            <a:cxnLst/>
            <a:rect l="l" t="t" r="r" b="b"/>
            <a:pathLst>
              <a:path w="1203399" h="1273439">
                <a:moveTo>
                  <a:pt x="0" y="0"/>
                </a:moveTo>
                <a:lnTo>
                  <a:pt x="1203400" y="0"/>
                </a:lnTo>
                <a:lnTo>
                  <a:pt x="1203400" y="1273438"/>
                </a:lnTo>
                <a:lnTo>
                  <a:pt x="0" y="127343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grpSp>
        <p:nvGrpSpPr>
          <p:cNvPr id="34" name="Group 34"/>
          <p:cNvGrpSpPr/>
          <p:nvPr/>
        </p:nvGrpSpPr>
        <p:grpSpPr>
          <a:xfrm>
            <a:off x="685801" y="3339921"/>
            <a:ext cx="3816499" cy="1051523"/>
            <a:chOff x="0" y="0"/>
            <a:chExt cx="1300650" cy="358355"/>
          </a:xfrm>
        </p:grpSpPr>
        <p:sp>
          <p:nvSpPr>
            <p:cNvPr id="35" name="Freeform 35"/>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F94C66"/>
              </a:solidFill>
              <a:prstDash val="solid"/>
              <a:miter/>
            </a:ln>
          </p:spPr>
        </p:sp>
        <p:sp>
          <p:nvSpPr>
            <p:cNvPr id="36" name="TextBox 36"/>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37" name="Group 37"/>
          <p:cNvGrpSpPr/>
          <p:nvPr/>
        </p:nvGrpSpPr>
        <p:grpSpPr>
          <a:xfrm>
            <a:off x="671079" y="5088892"/>
            <a:ext cx="3816499" cy="1051523"/>
            <a:chOff x="0" y="0"/>
            <a:chExt cx="1300650" cy="358355"/>
          </a:xfrm>
        </p:grpSpPr>
        <p:sp>
          <p:nvSpPr>
            <p:cNvPr id="38" name="Freeform 38"/>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9F7ACE"/>
              </a:solidFill>
              <a:prstDash val="solid"/>
              <a:miter/>
            </a:ln>
          </p:spPr>
        </p:sp>
        <p:sp>
          <p:nvSpPr>
            <p:cNvPr id="39" name="TextBox 39"/>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a:off x="5944497" y="5251991"/>
            <a:ext cx="1488295" cy="0"/>
          </a:xfrm>
          <a:prstGeom prst="line">
            <a:avLst/>
          </a:prstGeom>
          <a:ln w="38100" cap="flat">
            <a:solidFill>
              <a:srgbClr val="000000"/>
            </a:solidFill>
            <a:prstDash val="solid"/>
            <a:headEnd type="none" w="sm" len="sm"/>
            <a:tailEnd type="none" w="sm" len="sm"/>
          </a:ln>
        </p:spPr>
      </p:sp>
      <p:sp>
        <p:nvSpPr>
          <p:cNvPr id="42" name="Freeform 42"/>
          <p:cNvSpPr/>
          <p:nvPr/>
        </p:nvSpPr>
        <p:spPr>
          <a:xfrm>
            <a:off x="6096000" y="5506936"/>
            <a:ext cx="849759" cy="604391"/>
          </a:xfrm>
          <a:custGeom>
            <a:avLst/>
            <a:gdLst/>
            <a:ahLst/>
            <a:cxnLst/>
            <a:rect l="l" t="t" r="r" b="b"/>
            <a:pathLst>
              <a:path w="1274638" h="906586">
                <a:moveTo>
                  <a:pt x="0" y="0"/>
                </a:moveTo>
                <a:lnTo>
                  <a:pt x="1274638" y="0"/>
                </a:lnTo>
                <a:lnTo>
                  <a:pt x="1274638" y="906586"/>
                </a:lnTo>
                <a:lnTo>
                  <a:pt x="0" y="906586"/>
                </a:lnTo>
                <a:lnTo>
                  <a:pt x="0" y="0"/>
                </a:lnTo>
                <a:close/>
              </a:path>
            </a:pathLst>
          </a:custGeom>
          <a:blipFill>
            <a:blip r:embed="rId14"/>
            <a:stretch>
              <a:fillRect/>
            </a:stretch>
          </a:blipFill>
        </p:spPr>
      </p:sp>
      <p:sp>
        <p:nvSpPr>
          <p:cNvPr id="43" name="Freeform 43"/>
          <p:cNvSpPr/>
          <p:nvPr/>
        </p:nvSpPr>
        <p:spPr>
          <a:xfrm>
            <a:off x="6096000" y="1655300"/>
            <a:ext cx="663971" cy="829211"/>
          </a:xfrm>
          <a:custGeom>
            <a:avLst/>
            <a:gdLst/>
            <a:ahLst/>
            <a:cxnLst/>
            <a:rect l="l" t="t" r="r" b="b"/>
            <a:pathLst>
              <a:path w="1199503" h="1447364">
                <a:moveTo>
                  <a:pt x="0" y="0"/>
                </a:moveTo>
                <a:lnTo>
                  <a:pt x="1199503" y="0"/>
                </a:lnTo>
                <a:lnTo>
                  <a:pt x="1199503" y="1447364"/>
                </a:lnTo>
                <a:lnTo>
                  <a:pt x="0" y="1447364"/>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44" name="TextBox 44"/>
          <p:cNvSpPr txBox="1"/>
          <p:nvPr/>
        </p:nvSpPr>
        <p:spPr>
          <a:xfrm>
            <a:off x="685800" y="334545"/>
            <a:ext cx="4632329" cy="1856727"/>
          </a:xfrm>
          <a:prstGeom prst="rect">
            <a:avLst/>
          </a:prstGeom>
          <a:noFill/>
        </p:spPr>
        <p:txBody>
          <a:bodyPr lIns="0" tIns="0" rIns="0" bIns="0" rtlCol="0" anchor="t">
            <a:spAutoFit/>
          </a:bodyPr>
          <a:lstStyle/>
          <a:p>
            <a:pPr>
              <a:lnSpc>
                <a:spcPts val="3733"/>
              </a:lnSpc>
            </a:pPr>
            <a:r>
              <a:rPr lang="en-US" sz="2650" b="1" spc="111">
                <a:solidFill>
                  <a:srgbClr val="000000"/>
                </a:solidFill>
                <a:latin typeface="Barlow Bold"/>
              </a:rPr>
              <a:t>DRIVER 4: </a:t>
            </a:r>
          </a:p>
          <a:p>
            <a:pPr>
              <a:lnSpc>
                <a:spcPts val="3733"/>
              </a:lnSpc>
            </a:pPr>
            <a:r>
              <a:rPr lang="en-US" sz="2650" b="1" spc="111">
                <a:solidFill>
                  <a:srgbClr val="000000"/>
                </a:solidFill>
                <a:latin typeface="Barlow Bold"/>
              </a:rPr>
              <a:t>COMMUNITY PARTNERSHIPS </a:t>
            </a:r>
            <a:r>
              <a:rPr lang="en-US" sz="2650" spc="111">
                <a:solidFill>
                  <a:srgbClr val="000000"/>
                </a:solidFill>
                <a:latin typeface="Barlow Bold"/>
              </a:rPr>
              <a:t> </a:t>
            </a:r>
          </a:p>
          <a:p>
            <a:pPr>
              <a:lnSpc>
                <a:spcPts val="3733"/>
              </a:lnSpc>
            </a:pPr>
            <a:r>
              <a:rPr lang="en-US" sz="2650" spc="111">
                <a:solidFill>
                  <a:srgbClr val="000000"/>
                </a:solidFill>
                <a:latin typeface="Barlow Bold"/>
              </a:rPr>
              <a:t>​</a:t>
            </a:r>
          </a:p>
        </p:txBody>
      </p:sp>
      <p:sp>
        <p:nvSpPr>
          <p:cNvPr id="45" name="TextBox 45"/>
          <p:cNvSpPr txBox="1"/>
          <p:nvPr/>
        </p:nvSpPr>
        <p:spPr>
          <a:xfrm>
            <a:off x="7002505" y="369410"/>
            <a:ext cx="4084512" cy="217239"/>
          </a:xfrm>
          <a:prstGeom prst="rect">
            <a:avLst/>
          </a:prstGeom>
        </p:spPr>
        <p:txBody>
          <a:bodyPr lIns="0" tIns="0" rIns="0" bIns="0" rtlCol="0" anchor="t">
            <a:spAutoFit/>
          </a:bodyPr>
          <a:lstStyle/>
          <a:p>
            <a:pPr marL="0" lvl="1">
              <a:lnSpc>
                <a:spcPts val="1882"/>
              </a:lnSpc>
              <a:spcBef>
                <a:spcPct val="0"/>
              </a:spcBef>
            </a:pPr>
            <a:r>
              <a:rPr lang="en-US" sz="1344" spc="43">
                <a:solidFill>
                  <a:srgbClr val="FFFFFF"/>
                </a:solidFill>
                <a:latin typeface="Barlow Bold"/>
              </a:rPr>
              <a:t>Complete local and online resource mapping</a:t>
            </a:r>
          </a:p>
        </p:txBody>
      </p:sp>
      <p:sp>
        <p:nvSpPr>
          <p:cNvPr id="46" name="TextBox 46"/>
          <p:cNvSpPr txBox="1"/>
          <p:nvPr/>
        </p:nvSpPr>
        <p:spPr>
          <a:xfrm>
            <a:off x="7247530" y="1916779"/>
            <a:ext cx="4054625" cy="228268"/>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Complete local and online resource mapping </a:t>
            </a:r>
            <a:endParaRPr lang="en-US" sz="1344" spc="43">
              <a:solidFill>
                <a:srgbClr val="FFFFFF"/>
              </a:solidFill>
              <a:latin typeface="Barlow Semi-Bold"/>
            </a:endParaRPr>
          </a:p>
        </p:txBody>
      </p:sp>
      <p:sp>
        <p:nvSpPr>
          <p:cNvPr id="47" name="TextBox 47"/>
          <p:cNvSpPr txBox="1"/>
          <p:nvPr/>
        </p:nvSpPr>
        <p:spPr>
          <a:xfrm>
            <a:off x="7184900" y="5574065"/>
            <a:ext cx="3770521" cy="470385"/>
          </a:xfrm>
          <a:prstGeom prst="rect">
            <a:avLst/>
          </a:prstGeom>
        </p:spPr>
        <p:txBody>
          <a:bodyPr wrap="square" lIns="0" tIns="0" rIns="0" bIns="0" rtlCol="0" anchor="t">
            <a:spAutoFit/>
          </a:bodyPr>
          <a:lstStyle/>
          <a:p>
            <a:pPr>
              <a:lnSpc>
                <a:spcPts val="1882"/>
              </a:lnSpc>
            </a:pPr>
            <a:r>
              <a:rPr lang="en-US" sz="1300" b="1" spc="43">
                <a:solidFill>
                  <a:srgbClr val="FFFFFF"/>
                </a:solidFill>
                <a:latin typeface="Barlow Semi-Bold"/>
              </a:rPr>
              <a:t>Coordinate ESSI Newborn Care Plan and initiate warm handoff to community provider</a:t>
            </a:r>
          </a:p>
        </p:txBody>
      </p:sp>
      <p:sp>
        <p:nvSpPr>
          <p:cNvPr id="48" name="TextBox 48"/>
          <p:cNvSpPr txBox="1"/>
          <p:nvPr/>
        </p:nvSpPr>
        <p:spPr>
          <a:xfrm>
            <a:off x="851889" y="2030669"/>
            <a:ext cx="3454879" cy="265714"/>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Resource Mapping</a:t>
            </a:r>
          </a:p>
        </p:txBody>
      </p:sp>
      <p:sp>
        <p:nvSpPr>
          <p:cNvPr id="49" name="TextBox 49"/>
          <p:cNvSpPr txBox="1"/>
          <p:nvPr/>
        </p:nvSpPr>
        <p:spPr>
          <a:xfrm>
            <a:off x="715243" y="3428803"/>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Building Relationships with Community Organizations</a:t>
            </a:r>
          </a:p>
        </p:txBody>
      </p:sp>
      <p:sp>
        <p:nvSpPr>
          <p:cNvPr id="50" name="TextBox 50"/>
          <p:cNvSpPr txBox="1"/>
          <p:nvPr/>
        </p:nvSpPr>
        <p:spPr>
          <a:xfrm>
            <a:off x="7293419" y="3157947"/>
            <a:ext cx="4080559" cy="714042"/>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Partner with local community agencies, organizations, and champions to understand challenges/barriers to a safe sleep environment </a:t>
            </a:r>
            <a:endParaRPr lang="en-US" sz="1300" spc="43">
              <a:solidFill>
                <a:srgbClr val="FFFFFF"/>
              </a:solidFill>
              <a:latin typeface="Barlow Semi-Bold"/>
            </a:endParaRPr>
          </a:p>
        </p:txBody>
      </p:sp>
      <p:sp>
        <p:nvSpPr>
          <p:cNvPr id="51" name="TextBox 51"/>
          <p:cNvSpPr txBox="1"/>
          <p:nvPr/>
        </p:nvSpPr>
        <p:spPr>
          <a:xfrm>
            <a:off x="715243" y="5301822"/>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Transfer of Care</a:t>
            </a:r>
          </a:p>
          <a:p>
            <a:pPr algn="ctr">
              <a:lnSpc>
                <a:spcPts val="2239"/>
              </a:lnSpc>
              <a:spcBef>
                <a:spcPct val="0"/>
              </a:spcBef>
            </a:pPr>
            <a:r>
              <a:rPr lang="en-US" sz="1600" spc="51">
                <a:solidFill>
                  <a:srgbClr val="000000"/>
                </a:solidFill>
                <a:latin typeface="Barlow Semi-Bold"/>
              </a:rPr>
              <a:t>to Community Providers</a:t>
            </a:r>
          </a:p>
        </p:txBody>
      </p:sp>
      <p:sp>
        <p:nvSpPr>
          <p:cNvPr id="56" name="TextBox 55">
            <a:extLst>
              <a:ext uri="{FF2B5EF4-FFF2-40B4-BE49-F238E27FC236}">
                <a16:creationId xmlns:a16="http://schemas.microsoft.com/office/drawing/2014/main" id="{AB0F7BDF-C613-8BB0-BFCB-8F26B40EC06E}"/>
              </a:ext>
            </a:extLst>
          </p:cNvPr>
          <p:cNvSpPr txBox="1"/>
          <p:nvPr/>
        </p:nvSpPr>
        <p:spPr>
          <a:xfrm>
            <a:off x="7146908" y="1121434"/>
            <a:ext cx="2667520" cy="523220"/>
          </a:xfrm>
          <a:prstGeom prst="rect">
            <a:avLst/>
          </a:prstGeom>
          <a:noFill/>
        </p:spPr>
        <p:txBody>
          <a:bodyPr wrap="square" lIns="91440" tIns="45720" rIns="91440" bIns="45720" rtlCol="0" anchor="t">
            <a:spAutoFit/>
          </a:bodyPr>
          <a:lstStyle/>
          <a:p>
            <a:r>
              <a:rPr lang="en-US" sz="2800" b="1">
                <a:latin typeface="Arial"/>
                <a:ea typeface="MS PGothic"/>
                <a:cs typeface="Arial"/>
              </a:rPr>
              <a:t>Change Ideas</a:t>
            </a:r>
          </a:p>
        </p:txBody>
      </p:sp>
      <p:grpSp>
        <p:nvGrpSpPr>
          <p:cNvPr id="52" name="Group 7">
            <a:extLst>
              <a:ext uri="{FF2B5EF4-FFF2-40B4-BE49-F238E27FC236}">
                <a16:creationId xmlns:a16="http://schemas.microsoft.com/office/drawing/2014/main" id="{8A92A364-B996-B49C-BDA0-BAA1F5A15866}"/>
              </a:ext>
            </a:extLst>
          </p:cNvPr>
          <p:cNvGrpSpPr/>
          <p:nvPr/>
        </p:nvGrpSpPr>
        <p:grpSpPr>
          <a:xfrm>
            <a:off x="5927702" y="4141709"/>
            <a:ext cx="5447408" cy="894497"/>
            <a:chOff x="0" y="-38100"/>
            <a:chExt cx="2156186" cy="531081"/>
          </a:xfrm>
        </p:grpSpPr>
        <p:sp>
          <p:nvSpPr>
            <p:cNvPr id="57" name="Freeform 8">
              <a:extLst>
                <a:ext uri="{FF2B5EF4-FFF2-40B4-BE49-F238E27FC236}">
                  <a16:creationId xmlns:a16="http://schemas.microsoft.com/office/drawing/2014/main" id="{00246169-A4F3-5ED8-8A94-4557BB21D7AB}"/>
                </a:ext>
              </a:extLst>
            </p:cNvPr>
            <p:cNvSpPr/>
            <p:nvPr/>
          </p:nvSpPr>
          <p:spPr>
            <a:xfrm>
              <a:off x="0" y="0"/>
              <a:ext cx="2156186" cy="492981"/>
            </a:xfrm>
            <a:custGeom>
              <a:avLst/>
              <a:gdLst/>
              <a:ahLst/>
              <a:cxnLst/>
              <a:rect l="l" t="t" r="r" b="b"/>
              <a:pathLst>
                <a:path w="2156186" h="492981">
                  <a:moveTo>
                    <a:pt x="28370" y="0"/>
                  </a:moveTo>
                  <a:lnTo>
                    <a:pt x="2127816" y="0"/>
                  </a:lnTo>
                  <a:cubicBezTo>
                    <a:pt x="2143484" y="0"/>
                    <a:pt x="2156186" y="12702"/>
                    <a:pt x="2156186" y="28370"/>
                  </a:cubicBezTo>
                  <a:lnTo>
                    <a:pt x="2156186" y="464611"/>
                  </a:lnTo>
                  <a:cubicBezTo>
                    <a:pt x="2156186" y="480279"/>
                    <a:pt x="2143484" y="492981"/>
                    <a:pt x="2127816" y="492981"/>
                  </a:cubicBezTo>
                  <a:lnTo>
                    <a:pt x="28370" y="492981"/>
                  </a:lnTo>
                  <a:cubicBezTo>
                    <a:pt x="12702" y="492981"/>
                    <a:pt x="0" y="480279"/>
                    <a:pt x="0" y="464611"/>
                  </a:cubicBezTo>
                  <a:lnTo>
                    <a:pt x="0" y="28370"/>
                  </a:lnTo>
                  <a:cubicBezTo>
                    <a:pt x="0" y="12702"/>
                    <a:pt x="12702" y="0"/>
                    <a:pt x="28370" y="0"/>
                  </a:cubicBezTo>
                  <a:close/>
                </a:path>
              </a:pathLst>
            </a:custGeom>
            <a:solidFill>
              <a:srgbClr val="F5668F"/>
            </a:solidFill>
          </p:spPr>
        </p:sp>
        <p:sp>
          <p:nvSpPr>
            <p:cNvPr id="58" name="TextBox 9">
              <a:extLst>
                <a:ext uri="{FF2B5EF4-FFF2-40B4-BE49-F238E27FC236}">
                  <a16:creationId xmlns:a16="http://schemas.microsoft.com/office/drawing/2014/main" id="{5DE913D1-6F60-94B9-10FF-534A5E538AB8}"/>
                </a:ext>
              </a:extLst>
            </p:cNvPr>
            <p:cNvSpPr txBox="1"/>
            <p:nvPr/>
          </p:nvSpPr>
          <p:spPr>
            <a:xfrm>
              <a:off x="0" y="-38100"/>
              <a:ext cx="2156186" cy="531081"/>
            </a:xfrm>
            <a:prstGeom prst="rect">
              <a:avLst/>
            </a:prstGeom>
            <a:solidFill>
              <a:srgbClr val="F5668F"/>
            </a:solidFill>
          </p:spPr>
          <p:txBody>
            <a:bodyPr lIns="33867" tIns="33867" rIns="33867" bIns="33867" rtlCol="0" anchor="ctr"/>
            <a:lstStyle/>
            <a:p>
              <a:pPr algn="ctr">
                <a:lnSpc>
                  <a:spcPts val="1882"/>
                </a:lnSpc>
              </a:pPr>
              <a:endParaRPr sz="800" b="1"/>
            </a:p>
          </p:txBody>
        </p:sp>
      </p:grpSp>
      <p:cxnSp>
        <p:nvCxnSpPr>
          <p:cNvPr id="59" name="Straight Arrow Connector 58">
            <a:extLst>
              <a:ext uri="{FF2B5EF4-FFF2-40B4-BE49-F238E27FC236}">
                <a16:creationId xmlns:a16="http://schemas.microsoft.com/office/drawing/2014/main" id="{6AB28071-935B-166B-0CEE-EC97EB10FF51}"/>
              </a:ext>
            </a:extLst>
          </p:cNvPr>
          <p:cNvCxnSpPr>
            <a:cxnSpLocks/>
          </p:cNvCxnSpPr>
          <p:nvPr/>
        </p:nvCxnSpPr>
        <p:spPr>
          <a:xfrm>
            <a:off x="4513168" y="3911173"/>
            <a:ext cx="1405107" cy="72366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0" name="AutoShape 11">
            <a:extLst>
              <a:ext uri="{FF2B5EF4-FFF2-40B4-BE49-F238E27FC236}">
                <a16:creationId xmlns:a16="http://schemas.microsoft.com/office/drawing/2014/main" id="{A85E379C-4C1C-B6B4-A543-3DF6B25DACF8}"/>
              </a:ext>
            </a:extLst>
          </p:cNvPr>
          <p:cNvSpPr/>
          <p:nvPr/>
        </p:nvSpPr>
        <p:spPr>
          <a:xfrm flipV="1">
            <a:off x="7103235" y="4314817"/>
            <a:ext cx="0" cy="570703"/>
          </a:xfrm>
          <a:prstGeom prst="line">
            <a:avLst/>
          </a:prstGeom>
          <a:ln w="38100" cap="flat">
            <a:solidFill>
              <a:srgbClr val="FFFFFF"/>
            </a:solidFill>
            <a:prstDash val="solid"/>
            <a:headEnd type="none" w="sm" len="sm"/>
            <a:tailEnd type="none" w="sm" len="sm"/>
          </a:ln>
        </p:spPr>
      </p:sp>
      <p:sp>
        <p:nvSpPr>
          <p:cNvPr id="61" name="TextBox 60">
            <a:extLst>
              <a:ext uri="{FF2B5EF4-FFF2-40B4-BE49-F238E27FC236}">
                <a16:creationId xmlns:a16="http://schemas.microsoft.com/office/drawing/2014/main" id="{24C1FDA7-3400-B267-F027-73B2E0675C53}"/>
              </a:ext>
            </a:extLst>
          </p:cNvPr>
          <p:cNvSpPr txBox="1"/>
          <p:nvPr/>
        </p:nvSpPr>
        <p:spPr>
          <a:xfrm>
            <a:off x="7229605" y="4369496"/>
            <a:ext cx="4131501"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spc="43">
                <a:solidFill>
                  <a:srgbClr val="FFFFFF"/>
                </a:solidFill>
                <a:latin typeface="Barlow Semi-Bold"/>
              </a:rPr>
              <a:t>Endorse consistent safe sleep environment messaging and education</a:t>
            </a:r>
            <a:endParaRPr lang="en-US">
              <a:latin typeface="WordVisi_MSFontService"/>
            </a:endParaRPr>
          </a:p>
        </p:txBody>
      </p:sp>
      <p:sp>
        <p:nvSpPr>
          <p:cNvPr id="41" name="Freeform 41"/>
          <p:cNvSpPr/>
          <p:nvPr/>
        </p:nvSpPr>
        <p:spPr>
          <a:xfrm>
            <a:off x="6009818" y="4370622"/>
            <a:ext cx="998565" cy="457064"/>
          </a:xfrm>
          <a:custGeom>
            <a:avLst/>
            <a:gdLst/>
            <a:ahLst/>
            <a:cxnLst/>
            <a:rect l="l" t="t" r="r" b="b"/>
            <a:pathLst>
              <a:path w="1497847" h="685596">
                <a:moveTo>
                  <a:pt x="0" y="0"/>
                </a:moveTo>
                <a:lnTo>
                  <a:pt x="1497848" y="0"/>
                </a:lnTo>
                <a:lnTo>
                  <a:pt x="1497848" y="685596"/>
                </a:lnTo>
                <a:lnTo>
                  <a:pt x="0" y="685596"/>
                </a:lnTo>
                <a:lnTo>
                  <a:pt x="0" y="0"/>
                </a:lnTo>
                <a:close/>
              </a:path>
            </a:pathLst>
          </a:custGeom>
          <a:blipFill>
            <a:blip r:embed="rId17"/>
            <a:stretch>
              <a:fillRect l="-5505" t="-5280" r="-1688" b="-5202"/>
            </a:stretch>
          </a:blipFill>
        </p:spPr>
      </p:sp>
      <p:sp>
        <p:nvSpPr>
          <p:cNvPr id="63" name="Freeform 54">
            <a:extLst>
              <a:ext uri="{FF2B5EF4-FFF2-40B4-BE49-F238E27FC236}">
                <a16:creationId xmlns:a16="http://schemas.microsoft.com/office/drawing/2014/main" id="{76FF9F61-EDF0-6510-36D2-8E579D614428}"/>
              </a:ext>
            </a:extLst>
          </p:cNvPr>
          <p:cNvSpPr/>
          <p:nvPr/>
        </p:nvSpPr>
        <p:spPr>
          <a:xfrm>
            <a:off x="6204050" y="3194952"/>
            <a:ext cx="603775" cy="580379"/>
          </a:xfrm>
          <a:custGeom>
            <a:avLst/>
            <a:gdLst/>
            <a:ahLst/>
            <a:cxnLst/>
            <a:rect l="l" t="t" r="r" b="b"/>
            <a:pathLst>
              <a:path w="905663" h="870569">
                <a:moveTo>
                  <a:pt x="0" y="0"/>
                </a:moveTo>
                <a:lnTo>
                  <a:pt x="905664" y="0"/>
                </a:lnTo>
                <a:lnTo>
                  <a:pt x="905664" y="870568"/>
                </a:lnTo>
                <a:lnTo>
                  <a:pt x="0" y="870568"/>
                </a:lnTo>
                <a:lnTo>
                  <a:pt x="0" y="0"/>
                </a:lnTo>
                <a:close/>
              </a:path>
            </a:pathLst>
          </a:custGeom>
          <a:blipFill>
            <a:blip r:embed="rId18"/>
            <a:stretch>
              <a:fillRect/>
            </a:stretch>
          </a:blipFill>
        </p:spPr>
      </p:sp>
    </p:spTree>
    <p:extLst>
      <p:ext uri="{BB962C8B-B14F-4D97-AF65-F5344CB8AC3E}">
        <p14:creationId xmlns:p14="http://schemas.microsoft.com/office/powerpoint/2010/main" val="30304493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300455" y="450529"/>
            <a:ext cx="3291325" cy="559525"/>
          </a:xfrm>
          <a:custGeom>
            <a:avLst/>
            <a:gdLst/>
            <a:ahLst/>
            <a:cxnLst/>
            <a:rect l="l" t="t" r="r" b="b"/>
            <a:pathLst>
              <a:path w="4936988" h="839288">
                <a:moveTo>
                  <a:pt x="0" y="0"/>
                </a:moveTo>
                <a:lnTo>
                  <a:pt x="4936988" y="0"/>
                </a:lnTo>
                <a:lnTo>
                  <a:pt x="4936988" y="839288"/>
                </a:lnTo>
                <a:lnTo>
                  <a:pt x="0" y="83928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 name="Freeform 3"/>
          <p:cNvSpPr/>
          <p:nvPr/>
        </p:nvSpPr>
        <p:spPr>
          <a:xfrm>
            <a:off x="2369867" y="19610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5" name="Group 5"/>
          <p:cNvGrpSpPr/>
          <p:nvPr/>
        </p:nvGrpSpPr>
        <p:grpSpPr>
          <a:xfrm>
            <a:off x="432451" y="2543505"/>
            <a:ext cx="3458949" cy="3666361"/>
            <a:chOff x="0" y="0"/>
            <a:chExt cx="1421979" cy="1507247"/>
          </a:xfrm>
        </p:grpSpPr>
        <p:sp>
          <p:nvSpPr>
            <p:cNvPr id="6" name="Freeform 6"/>
            <p:cNvSpPr/>
            <p:nvPr/>
          </p:nvSpPr>
          <p:spPr>
            <a:xfrm>
              <a:off x="0" y="0"/>
              <a:ext cx="1421979" cy="1507247"/>
            </a:xfrm>
            <a:custGeom>
              <a:avLst/>
              <a:gdLst/>
              <a:ahLst/>
              <a:cxnLst/>
              <a:rect l="l" t="t" r="r" b="b"/>
              <a:pathLst>
                <a:path w="1421979" h="1507247">
                  <a:moveTo>
                    <a:pt x="44765" y="0"/>
                  </a:moveTo>
                  <a:lnTo>
                    <a:pt x="1377214" y="0"/>
                  </a:lnTo>
                  <a:cubicBezTo>
                    <a:pt x="1401937" y="0"/>
                    <a:pt x="1421979" y="20042"/>
                    <a:pt x="1421979" y="44765"/>
                  </a:cubicBezTo>
                  <a:lnTo>
                    <a:pt x="1421979" y="1462482"/>
                  </a:lnTo>
                  <a:cubicBezTo>
                    <a:pt x="1421979" y="1487205"/>
                    <a:pt x="1401937" y="1507247"/>
                    <a:pt x="1377214" y="1507247"/>
                  </a:cubicBezTo>
                  <a:lnTo>
                    <a:pt x="44765" y="1507247"/>
                  </a:lnTo>
                  <a:cubicBezTo>
                    <a:pt x="20042" y="1507247"/>
                    <a:pt x="0" y="1487205"/>
                    <a:pt x="0" y="1462482"/>
                  </a:cubicBezTo>
                  <a:lnTo>
                    <a:pt x="0" y="44765"/>
                  </a:lnTo>
                  <a:cubicBezTo>
                    <a:pt x="0" y="20042"/>
                    <a:pt x="20042" y="0"/>
                    <a:pt x="44765" y="0"/>
                  </a:cubicBezTo>
                  <a:close/>
                </a:path>
              </a:pathLst>
            </a:custGeom>
            <a:solidFill>
              <a:srgbClr val="000000">
                <a:alpha val="0"/>
              </a:srgbClr>
            </a:solidFill>
            <a:ln w="38100" cap="rnd">
              <a:solidFill>
                <a:srgbClr val="F87171"/>
              </a:solidFill>
              <a:prstDash val="lgDash"/>
              <a:round/>
            </a:ln>
          </p:spPr>
        </p:sp>
        <p:sp>
          <p:nvSpPr>
            <p:cNvPr id="7" name="TextBox 7"/>
            <p:cNvSpPr txBox="1"/>
            <p:nvPr/>
          </p:nvSpPr>
          <p:spPr>
            <a:xfrm>
              <a:off x="0" y="-38100"/>
              <a:ext cx="1421979" cy="1545347"/>
            </a:xfrm>
            <a:prstGeom prst="rect">
              <a:avLst/>
            </a:prstGeom>
          </p:spPr>
          <p:txBody>
            <a:bodyPr lIns="33867" tIns="33867" rIns="33867" bIns="33867" rtlCol="0" anchor="ctr"/>
            <a:lstStyle/>
            <a:p>
              <a:pPr algn="ctr">
                <a:lnSpc>
                  <a:spcPts val="1882"/>
                </a:lnSpc>
              </a:pPr>
              <a:endParaRPr sz="800"/>
            </a:p>
          </p:txBody>
        </p:sp>
      </p:grpSp>
      <p:grpSp>
        <p:nvGrpSpPr>
          <p:cNvPr id="8" name="Group 8"/>
          <p:cNvGrpSpPr/>
          <p:nvPr/>
        </p:nvGrpSpPr>
        <p:grpSpPr>
          <a:xfrm>
            <a:off x="1179183" y="2666984"/>
            <a:ext cx="1898683" cy="1898683"/>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87171"/>
            </a:solidFill>
          </p:spPr>
        </p:sp>
        <p:sp>
          <p:nvSpPr>
            <p:cNvPr id="10" name="TextBox 10"/>
            <p:cNvSpPr txBox="1"/>
            <p:nvPr/>
          </p:nvSpPr>
          <p:spPr>
            <a:xfrm>
              <a:off x="76200" y="38100"/>
              <a:ext cx="660400" cy="698500"/>
            </a:xfrm>
            <a:prstGeom prst="rect">
              <a:avLst/>
            </a:prstGeom>
          </p:spPr>
          <p:txBody>
            <a:bodyPr lIns="33867" tIns="33867" rIns="33867" bIns="33867" rtlCol="0" anchor="ctr"/>
            <a:lstStyle/>
            <a:p>
              <a:pPr algn="ctr">
                <a:lnSpc>
                  <a:spcPts val="1882"/>
                </a:lnSpc>
              </a:pPr>
              <a:endParaRPr sz="800"/>
            </a:p>
          </p:txBody>
        </p:sp>
      </p:grpSp>
      <p:grpSp>
        <p:nvGrpSpPr>
          <p:cNvPr id="11" name="Group 11"/>
          <p:cNvGrpSpPr/>
          <p:nvPr/>
        </p:nvGrpSpPr>
        <p:grpSpPr>
          <a:xfrm>
            <a:off x="4074816" y="2543505"/>
            <a:ext cx="4282670" cy="3666361"/>
            <a:chOff x="0" y="0"/>
            <a:chExt cx="1760612" cy="1507247"/>
          </a:xfrm>
        </p:grpSpPr>
        <p:sp>
          <p:nvSpPr>
            <p:cNvPr id="12" name="Freeform 12"/>
            <p:cNvSpPr/>
            <p:nvPr/>
          </p:nvSpPr>
          <p:spPr>
            <a:xfrm>
              <a:off x="0" y="0"/>
              <a:ext cx="1760612" cy="1507247"/>
            </a:xfrm>
            <a:custGeom>
              <a:avLst/>
              <a:gdLst/>
              <a:ahLst/>
              <a:cxnLst/>
              <a:rect l="l" t="t" r="r" b="b"/>
              <a:pathLst>
                <a:path w="1760612" h="1507247">
                  <a:moveTo>
                    <a:pt x="36155" y="0"/>
                  </a:moveTo>
                  <a:lnTo>
                    <a:pt x="1724458" y="0"/>
                  </a:lnTo>
                  <a:cubicBezTo>
                    <a:pt x="1744425" y="0"/>
                    <a:pt x="1760612" y="16187"/>
                    <a:pt x="1760612" y="36155"/>
                  </a:cubicBezTo>
                  <a:lnTo>
                    <a:pt x="1760612" y="1471092"/>
                  </a:lnTo>
                  <a:cubicBezTo>
                    <a:pt x="1760612" y="1480681"/>
                    <a:pt x="1756803" y="1489877"/>
                    <a:pt x="1750023" y="1496657"/>
                  </a:cubicBezTo>
                  <a:cubicBezTo>
                    <a:pt x="1743242" y="1503437"/>
                    <a:pt x="1734046" y="1507247"/>
                    <a:pt x="1724458" y="1507247"/>
                  </a:cubicBezTo>
                  <a:lnTo>
                    <a:pt x="36155" y="1507247"/>
                  </a:lnTo>
                  <a:cubicBezTo>
                    <a:pt x="26566" y="1507247"/>
                    <a:pt x="17370" y="1503437"/>
                    <a:pt x="10589" y="1496657"/>
                  </a:cubicBezTo>
                  <a:cubicBezTo>
                    <a:pt x="3809" y="1489877"/>
                    <a:pt x="0" y="1480681"/>
                    <a:pt x="0" y="1471092"/>
                  </a:cubicBezTo>
                  <a:lnTo>
                    <a:pt x="0" y="36155"/>
                  </a:lnTo>
                  <a:cubicBezTo>
                    <a:pt x="0" y="26566"/>
                    <a:pt x="3809" y="17370"/>
                    <a:pt x="10589" y="10589"/>
                  </a:cubicBezTo>
                  <a:cubicBezTo>
                    <a:pt x="17370" y="3809"/>
                    <a:pt x="26566" y="0"/>
                    <a:pt x="36155" y="0"/>
                  </a:cubicBezTo>
                  <a:close/>
                </a:path>
              </a:pathLst>
            </a:custGeom>
            <a:solidFill>
              <a:srgbClr val="000000">
                <a:alpha val="0"/>
              </a:srgbClr>
            </a:solidFill>
            <a:ln w="38100" cap="rnd">
              <a:solidFill>
                <a:srgbClr val="F58366"/>
              </a:solidFill>
              <a:prstDash val="lgDash"/>
              <a:round/>
            </a:ln>
          </p:spPr>
        </p:sp>
        <p:sp>
          <p:nvSpPr>
            <p:cNvPr id="13" name="TextBox 13"/>
            <p:cNvSpPr txBox="1"/>
            <p:nvPr/>
          </p:nvSpPr>
          <p:spPr>
            <a:xfrm>
              <a:off x="0" y="-38100"/>
              <a:ext cx="1760612" cy="1545347"/>
            </a:xfrm>
            <a:prstGeom prst="rect">
              <a:avLst/>
            </a:prstGeom>
          </p:spPr>
          <p:txBody>
            <a:bodyPr lIns="33867" tIns="33867" rIns="33867" bIns="33867" rtlCol="0" anchor="ctr"/>
            <a:lstStyle/>
            <a:p>
              <a:pPr algn="ctr">
                <a:lnSpc>
                  <a:spcPts val="1882"/>
                </a:lnSpc>
              </a:pPr>
              <a:endParaRPr sz="800"/>
            </a:p>
          </p:txBody>
        </p:sp>
      </p:grpSp>
      <p:grpSp>
        <p:nvGrpSpPr>
          <p:cNvPr id="14" name="Group 14"/>
          <p:cNvGrpSpPr/>
          <p:nvPr/>
        </p:nvGrpSpPr>
        <p:grpSpPr>
          <a:xfrm>
            <a:off x="8681336" y="2543505"/>
            <a:ext cx="3283921" cy="3666361"/>
            <a:chOff x="0" y="0"/>
            <a:chExt cx="1310868" cy="1507247"/>
          </a:xfrm>
        </p:grpSpPr>
        <p:sp>
          <p:nvSpPr>
            <p:cNvPr id="15" name="Freeform 15"/>
            <p:cNvSpPr/>
            <p:nvPr/>
          </p:nvSpPr>
          <p:spPr>
            <a:xfrm>
              <a:off x="0" y="0"/>
              <a:ext cx="1310868" cy="1507247"/>
            </a:xfrm>
            <a:custGeom>
              <a:avLst/>
              <a:gdLst/>
              <a:ahLst/>
              <a:cxnLst/>
              <a:rect l="l" t="t" r="r" b="b"/>
              <a:pathLst>
                <a:path w="1310868" h="1507247">
                  <a:moveTo>
                    <a:pt x="48559" y="0"/>
                  </a:moveTo>
                  <a:lnTo>
                    <a:pt x="1262309" y="0"/>
                  </a:lnTo>
                  <a:cubicBezTo>
                    <a:pt x="1289127" y="0"/>
                    <a:pt x="1310868" y="21741"/>
                    <a:pt x="1310868" y="48559"/>
                  </a:cubicBezTo>
                  <a:lnTo>
                    <a:pt x="1310868" y="1458688"/>
                  </a:lnTo>
                  <a:cubicBezTo>
                    <a:pt x="1310868" y="1485506"/>
                    <a:pt x="1289127" y="1507247"/>
                    <a:pt x="1262309" y="1507247"/>
                  </a:cubicBezTo>
                  <a:lnTo>
                    <a:pt x="48559" y="1507247"/>
                  </a:lnTo>
                  <a:cubicBezTo>
                    <a:pt x="21741" y="1507247"/>
                    <a:pt x="0" y="1485506"/>
                    <a:pt x="0" y="1458688"/>
                  </a:cubicBezTo>
                  <a:lnTo>
                    <a:pt x="0" y="48559"/>
                  </a:lnTo>
                  <a:cubicBezTo>
                    <a:pt x="0" y="21741"/>
                    <a:pt x="21741" y="0"/>
                    <a:pt x="48559" y="0"/>
                  </a:cubicBezTo>
                  <a:close/>
                </a:path>
              </a:pathLst>
            </a:custGeom>
            <a:solidFill>
              <a:srgbClr val="000000">
                <a:alpha val="0"/>
              </a:srgbClr>
            </a:solidFill>
            <a:ln w="38100" cap="rnd">
              <a:solidFill>
                <a:srgbClr val="FFC54D"/>
              </a:solidFill>
              <a:prstDash val="lgDash"/>
              <a:round/>
            </a:ln>
          </p:spPr>
        </p:sp>
        <p:sp>
          <p:nvSpPr>
            <p:cNvPr id="16" name="TextBox 16"/>
            <p:cNvSpPr txBox="1"/>
            <p:nvPr/>
          </p:nvSpPr>
          <p:spPr>
            <a:xfrm>
              <a:off x="0" y="-38100"/>
              <a:ext cx="1310868" cy="1545347"/>
            </a:xfrm>
            <a:prstGeom prst="rect">
              <a:avLst/>
            </a:prstGeom>
          </p:spPr>
          <p:txBody>
            <a:bodyPr lIns="33867" tIns="33867" rIns="33867" bIns="33867" rtlCol="0" anchor="ctr"/>
            <a:lstStyle/>
            <a:p>
              <a:pPr algn="ctr">
                <a:lnSpc>
                  <a:spcPts val="1882"/>
                </a:lnSpc>
              </a:pPr>
              <a:endParaRPr sz="800"/>
            </a:p>
          </p:txBody>
        </p:sp>
      </p:grpSp>
      <p:grpSp>
        <p:nvGrpSpPr>
          <p:cNvPr id="17" name="Group 17"/>
          <p:cNvGrpSpPr/>
          <p:nvPr/>
        </p:nvGrpSpPr>
        <p:grpSpPr>
          <a:xfrm>
            <a:off x="809833" y="1704332"/>
            <a:ext cx="2853828" cy="712173"/>
            <a:chOff x="0" y="0"/>
            <a:chExt cx="1920925" cy="526953"/>
          </a:xfrm>
        </p:grpSpPr>
        <p:sp>
          <p:nvSpPr>
            <p:cNvPr id="18" name="Freeform 18"/>
            <p:cNvSpPr/>
            <p:nvPr/>
          </p:nvSpPr>
          <p:spPr>
            <a:xfrm>
              <a:off x="0" y="0"/>
              <a:ext cx="1920925" cy="526953"/>
            </a:xfrm>
            <a:custGeom>
              <a:avLst/>
              <a:gdLst/>
              <a:ahLst/>
              <a:cxnLst/>
              <a:rect l="l" t="t" r="r" b="b"/>
              <a:pathLst>
                <a:path w="1920925" h="526953">
                  <a:moveTo>
                    <a:pt x="1717725" y="0"/>
                  </a:moveTo>
                  <a:cubicBezTo>
                    <a:pt x="1829949" y="0"/>
                    <a:pt x="1920925" y="117962"/>
                    <a:pt x="1920925" y="263476"/>
                  </a:cubicBezTo>
                  <a:cubicBezTo>
                    <a:pt x="1920925" y="408990"/>
                    <a:pt x="1829949" y="526953"/>
                    <a:pt x="1717725" y="526953"/>
                  </a:cubicBezTo>
                  <a:lnTo>
                    <a:pt x="203200" y="526953"/>
                  </a:lnTo>
                  <a:cubicBezTo>
                    <a:pt x="90976" y="526953"/>
                    <a:pt x="0" y="408990"/>
                    <a:pt x="0" y="263476"/>
                  </a:cubicBezTo>
                  <a:cubicBezTo>
                    <a:pt x="0" y="117962"/>
                    <a:pt x="90976" y="0"/>
                    <a:pt x="203200" y="0"/>
                  </a:cubicBezTo>
                  <a:close/>
                </a:path>
              </a:pathLst>
            </a:custGeom>
            <a:solidFill>
              <a:srgbClr val="F87171"/>
            </a:solidFill>
          </p:spPr>
        </p:sp>
        <p:sp>
          <p:nvSpPr>
            <p:cNvPr id="19" name="TextBox 19"/>
            <p:cNvSpPr txBox="1"/>
            <p:nvPr/>
          </p:nvSpPr>
          <p:spPr>
            <a:xfrm>
              <a:off x="0" y="-57150"/>
              <a:ext cx="1920925" cy="584103"/>
            </a:xfrm>
            <a:prstGeom prst="rect">
              <a:avLst/>
            </a:prstGeom>
          </p:spPr>
          <p:txBody>
            <a:bodyPr lIns="33867" tIns="33867" rIns="33867" bIns="33867" rtlCol="0" anchor="ctr"/>
            <a:lstStyle/>
            <a:p>
              <a:pPr algn="ctr">
                <a:lnSpc>
                  <a:spcPts val="2239"/>
                </a:lnSpc>
              </a:pPr>
              <a:endParaRPr sz="800"/>
            </a:p>
          </p:txBody>
        </p:sp>
      </p:grpSp>
      <p:grpSp>
        <p:nvGrpSpPr>
          <p:cNvPr id="20" name="Group 20"/>
          <p:cNvGrpSpPr/>
          <p:nvPr/>
        </p:nvGrpSpPr>
        <p:grpSpPr>
          <a:xfrm>
            <a:off x="3756223" y="1706803"/>
            <a:ext cx="4804838" cy="709702"/>
            <a:chOff x="0" y="0"/>
            <a:chExt cx="3036370" cy="526953"/>
          </a:xfrm>
        </p:grpSpPr>
        <p:sp>
          <p:nvSpPr>
            <p:cNvPr id="21" name="Freeform 21"/>
            <p:cNvSpPr/>
            <p:nvPr/>
          </p:nvSpPr>
          <p:spPr>
            <a:xfrm>
              <a:off x="0" y="0"/>
              <a:ext cx="3036370" cy="526953"/>
            </a:xfrm>
            <a:custGeom>
              <a:avLst/>
              <a:gdLst/>
              <a:ahLst/>
              <a:cxnLst/>
              <a:rect l="l" t="t" r="r" b="b"/>
              <a:pathLst>
                <a:path w="3036370" h="526953">
                  <a:moveTo>
                    <a:pt x="2833170" y="0"/>
                  </a:moveTo>
                  <a:cubicBezTo>
                    <a:pt x="2945395" y="0"/>
                    <a:pt x="3036370" y="117962"/>
                    <a:pt x="3036370" y="263476"/>
                  </a:cubicBezTo>
                  <a:cubicBezTo>
                    <a:pt x="3036370" y="408990"/>
                    <a:pt x="2945395" y="526953"/>
                    <a:pt x="2833170" y="526953"/>
                  </a:cubicBezTo>
                  <a:lnTo>
                    <a:pt x="203200" y="526953"/>
                  </a:lnTo>
                  <a:cubicBezTo>
                    <a:pt x="90976" y="526953"/>
                    <a:pt x="0" y="408990"/>
                    <a:pt x="0" y="263476"/>
                  </a:cubicBezTo>
                  <a:cubicBezTo>
                    <a:pt x="0" y="117962"/>
                    <a:pt x="90976" y="0"/>
                    <a:pt x="203200" y="0"/>
                  </a:cubicBezTo>
                  <a:close/>
                </a:path>
              </a:pathLst>
            </a:custGeom>
            <a:solidFill>
              <a:srgbClr val="F58366"/>
            </a:solidFill>
          </p:spPr>
        </p:sp>
        <p:sp>
          <p:nvSpPr>
            <p:cNvPr id="22" name="TextBox 22"/>
            <p:cNvSpPr txBox="1"/>
            <p:nvPr/>
          </p:nvSpPr>
          <p:spPr>
            <a:xfrm>
              <a:off x="0" y="-57150"/>
              <a:ext cx="3036370" cy="584103"/>
            </a:xfrm>
            <a:prstGeom prst="rect">
              <a:avLst/>
            </a:prstGeom>
          </p:spPr>
          <p:txBody>
            <a:bodyPr lIns="33867" tIns="33867" rIns="33867" bIns="33867" rtlCol="0" anchor="ctr"/>
            <a:lstStyle/>
            <a:p>
              <a:pPr algn="ctr">
                <a:lnSpc>
                  <a:spcPts val="2239"/>
                </a:lnSpc>
              </a:pPr>
              <a:endParaRPr sz="800"/>
            </a:p>
          </p:txBody>
        </p:sp>
      </p:grpSp>
      <p:grpSp>
        <p:nvGrpSpPr>
          <p:cNvPr id="23" name="Group 23"/>
          <p:cNvGrpSpPr/>
          <p:nvPr/>
        </p:nvGrpSpPr>
        <p:grpSpPr>
          <a:xfrm>
            <a:off x="8711398" y="1692426"/>
            <a:ext cx="3395017" cy="724079"/>
            <a:chOff x="0" y="0"/>
            <a:chExt cx="2470746" cy="526953"/>
          </a:xfrm>
        </p:grpSpPr>
        <p:sp>
          <p:nvSpPr>
            <p:cNvPr id="24" name="Freeform 24"/>
            <p:cNvSpPr/>
            <p:nvPr/>
          </p:nvSpPr>
          <p:spPr>
            <a:xfrm>
              <a:off x="0" y="0"/>
              <a:ext cx="2470746" cy="526953"/>
            </a:xfrm>
            <a:custGeom>
              <a:avLst/>
              <a:gdLst/>
              <a:ahLst/>
              <a:cxnLst/>
              <a:rect l="l" t="t" r="r" b="b"/>
              <a:pathLst>
                <a:path w="2470746" h="526953">
                  <a:moveTo>
                    <a:pt x="2267546" y="0"/>
                  </a:moveTo>
                  <a:cubicBezTo>
                    <a:pt x="2379770" y="0"/>
                    <a:pt x="2470746" y="117962"/>
                    <a:pt x="2470746" y="263476"/>
                  </a:cubicBezTo>
                  <a:cubicBezTo>
                    <a:pt x="2470746" y="408990"/>
                    <a:pt x="2379770" y="526953"/>
                    <a:pt x="2267546" y="526953"/>
                  </a:cubicBezTo>
                  <a:lnTo>
                    <a:pt x="203200" y="526953"/>
                  </a:lnTo>
                  <a:cubicBezTo>
                    <a:pt x="90976" y="526953"/>
                    <a:pt x="0" y="408990"/>
                    <a:pt x="0" y="263476"/>
                  </a:cubicBezTo>
                  <a:cubicBezTo>
                    <a:pt x="0" y="117962"/>
                    <a:pt x="90976" y="0"/>
                    <a:pt x="203200" y="0"/>
                  </a:cubicBezTo>
                  <a:close/>
                </a:path>
              </a:pathLst>
            </a:custGeom>
            <a:solidFill>
              <a:srgbClr val="FFC54D"/>
            </a:solidFill>
          </p:spPr>
        </p:sp>
        <p:sp>
          <p:nvSpPr>
            <p:cNvPr id="25" name="TextBox 25"/>
            <p:cNvSpPr txBox="1"/>
            <p:nvPr/>
          </p:nvSpPr>
          <p:spPr>
            <a:xfrm>
              <a:off x="0" y="-57150"/>
              <a:ext cx="2470746" cy="584103"/>
            </a:xfrm>
            <a:prstGeom prst="rect">
              <a:avLst/>
            </a:prstGeom>
          </p:spPr>
          <p:txBody>
            <a:bodyPr lIns="33867" tIns="33867" rIns="33867" bIns="33867" rtlCol="0" anchor="ctr"/>
            <a:lstStyle/>
            <a:p>
              <a:pPr algn="ctr">
                <a:lnSpc>
                  <a:spcPts val="2239"/>
                </a:lnSpc>
              </a:pPr>
              <a:endParaRPr sz="800"/>
            </a:p>
          </p:txBody>
        </p:sp>
      </p:grpSp>
      <p:grpSp>
        <p:nvGrpSpPr>
          <p:cNvPr id="26" name="Group 26"/>
          <p:cNvGrpSpPr/>
          <p:nvPr/>
        </p:nvGrpSpPr>
        <p:grpSpPr>
          <a:xfrm>
            <a:off x="5146659" y="2666984"/>
            <a:ext cx="1898683" cy="1898683"/>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sp>
        <p:sp>
          <p:nvSpPr>
            <p:cNvPr id="28" name="TextBox 28"/>
            <p:cNvSpPr txBox="1"/>
            <p:nvPr/>
          </p:nvSpPr>
          <p:spPr>
            <a:xfrm>
              <a:off x="76200" y="38100"/>
              <a:ext cx="660400" cy="698500"/>
            </a:xfrm>
            <a:prstGeom prst="rect">
              <a:avLst/>
            </a:prstGeom>
          </p:spPr>
          <p:txBody>
            <a:bodyPr lIns="33867" tIns="33867" rIns="33867" bIns="33867" rtlCol="0" anchor="ctr"/>
            <a:lstStyle/>
            <a:p>
              <a:pPr algn="ctr">
                <a:lnSpc>
                  <a:spcPts val="1882"/>
                </a:lnSpc>
              </a:pPr>
              <a:endParaRPr sz="800"/>
            </a:p>
          </p:txBody>
        </p:sp>
      </p:grpSp>
      <p:grpSp>
        <p:nvGrpSpPr>
          <p:cNvPr id="29" name="Group 29"/>
          <p:cNvGrpSpPr/>
          <p:nvPr/>
        </p:nvGrpSpPr>
        <p:grpSpPr>
          <a:xfrm>
            <a:off x="9354437" y="2666984"/>
            <a:ext cx="1898683" cy="1898683"/>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9C041"/>
            </a:solidFill>
          </p:spPr>
        </p:sp>
        <p:sp>
          <p:nvSpPr>
            <p:cNvPr id="31" name="TextBox 31"/>
            <p:cNvSpPr txBox="1"/>
            <p:nvPr/>
          </p:nvSpPr>
          <p:spPr>
            <a:xfrm>
              <a:off x="76200" y="38100"/>
              <a:ext cx="660400" cy="698500"/>
            </a:xfrm>
            <a:prstGeom prst="rect">
              <a:avLst/>
            </a:prstGeom>
          </p:spPr>
          <p:txBody>
            <a:bodyPr lIns="33867" tIns="33867" rIns="33867" bIns="33867" rtlCol="0" anchor="ctr"/>
            <a:lstStyle/>
            <a:p>
              <a:pPr algn="ctr">
                <a:lnSpc>
                  <a:spcPts val="1882"/>
                </a:lnSpc>
              </a:pPr>
              <a:endParaRPr sz="800"/>
            </a:p>
          </p:txBody>
        </p:sp>
      </p:grpSp>
      <p:sp>
        <p:nvSpPr>
          <p:cNvPr id="32" name="Freeform 32"/>
          <p:cNvSpPr/>
          <p:nvPr/>
        </p:nvSpPr>
        <p:spPr>
          <a:xfrm>
            <a:off x="1440671" y="2907693"/>
            <a:ext cx="1442509" cy="1417265"/>
          </a:xfrm>
          <a:custGeom>
            <a:avLst/>
            <a:gdLst/>
            <a:ahLst/>
            <a:cxnLst/>
            <a:rect l="l" t="t" r="r" b="b"/>
            <a:pathLst>
              <a:path w="2163763" h="2125897">
                <a:moveTo>
                  <a:pt x="0" y="0"/>
                </a:moveTo>
                <a:lnTo>
                  <a:pt x="2163763" y="0"/>
                </a:lnTo>
                <a:lnTo>
                  <a:pt x="2163763" y="2125897"/>
                </a:lnTo>
                <a:lnTo>
                  <a:pt x="0" y="2125897"/>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33" name="Freeform 33"/>
          <p:cNvSpPr/>
          <p:nvPr/>
        </p:nvSpPr>
        <p:spPr>
          <a:xfrm>
            <a:off x="5437068" y="2957393"/>
            <a:ext cx="1317865" cy="1317865"/>
          </a:xfrm>
          <a:custGeom>
            <a:avLst/>
            <a:gdLst/>
            <a:ahLst/>
            <a:cxnLst/>
            <a:rect l="l" t="t" r="r" b="b"/>
            <a:pathLst>
              <a:path w="1976797" h="1976797">
                <a:moveTo>
                  <a:pt x="0" y="0"/>
                </a:moveTo>
                <a:lnTo>
                  <a:pt x="1976798" y="0"/>
                </a:lnTo>
                <a:lnTo>
                  <a:pt x="1976798" y="1976797"/>
                </a:lnTo>
                <a:lnTo>
                  <a:pt x="0" y="1976797"/>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34" name="Freeform 34"/>
          <p:cNvSpPr/>
          <p:nvPr/>
        </p:nvSpPr>
        <p:spPr>
          <a:xfrm>
            <a:off x="9614786" y="2843275"/>
            <a:ext cx="1546099" cy="1546099"/>
          </a:xfrm>
          <a:custGeom>
            <a:avLst/>
            <a:gdLst/>
            <a:ahLst/>
            <a:cxnLst/>
            <a:rect l="l" t="t" r="r" b="b"/>
            <a:pathLst>
              <a:path w="2319148" h="2319148">
                <a:moveTo>
                  <a:pt x="0" y="0"/>
                </a:moveTo>
                <a:lnTo>
                  <a:pt x="2319149" y="0"/>
                </a:lnTo>
                <a:lnTo>
                  <a:pt x="2319149" y="2319149"/>
                </a:lnTo>
                <a:lnTo>
                  <a:pt x="0" y="231914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35" name="TextBox 35"/>
          <p:cNvSpPr txBox="1"/>
          <p:nvPr/>
        </p:nvSpPr>
        <p:spPr>
          <a:xfrm>
            <a:off x="602775" y="57260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36" name="TextBox 36"/>
          <p:cNvSpPr txBox="1"/>
          <p:nvPr/>
        </p:nvSpPr>
        <p:spPr>
          <a:xfrm>
            <a:off x="3591780" y="390353"/>
            <a:ext cx="2743205" cy="721159"/>
          </a:xfrm>
          <a:prstGeom prst="rect">
            <a:avLst/>
          </a:prstGeom>
        </p:spPr>
        <p:txBody>
          <a:bodyPr lIns="0" tIns="0" rIns="0" bIns="0" rtlCol="0" anchor="t">
            <a:spAutoFit/>
          </a:bodyPr>
          <a:lstStyle/>
          <a:p>
            <a:pPr algn="ctr">
              <a:lnSpc>
                <a:spcPts val="2787"/>
              </a:lnSpc>
            </a:pPr>
            <a:r>
              <a:rPr lang="en-US" sz="2500" b="1">
                <a:solidFill>
                  <a:srgbClr val="545454"/>
                </a:solidFill>
                <a:latin typeface="DM Sans"/>
              </a:rPr>
              <a:t>Community Partnerships</a:t>
            </a:r>
          </a:p>
        </p:txBody>
      </p:sp>
      <p:sp>
        <p:nvSpPr>
          <p:cNvPr id="38" name="TextBox 38"/>
          <p:cNvSpPr txBox="1"/>
          <p:nvPr/>
        </p:nvSpPr>
        <p:spPr>
          <a:xfrm>
            <a:off x="1150435" y="1753571"/>
            <a:ext cx="2172625" cy="620554"/>
          </a:xfrm>
          <a:prstGeom prst="rect">
            <a:avLst/>
          </a:prstGeom>
        </p:spPr>
        <p:txBody>
          <a:bodyPr lIns="0" tIns="0" rIns="0" bIns="0" rtlCol="0" anchor="t">
            <a:spAutoFit/>
          </a:bodyPr>
          <a:lstStyle/>
          <a:p>
            <a:pPr marL="0" lvl="1" algn="ctr">
              <a:lnSpc>
                <a:spcPts val="2462"/>
              </a:lnSpc>
              <a:spcBef>
                <a:spcPct val="0"/>
              </a:spcBef>
            </a:pPr>
            <a:r>
              <a:rPr lang="en-US" sz="1758" spc="56">
                <a:solidFill>
                  <a:srgbClr val="000000"/>
                </a:solidFill>
                <a:latin typeface="Barlow Semi-Bold"/>
              </a:rPr>
              <a:t>Secondary Driver 1: Resource Mapping</a:t>
            </a:r>
          </a:p>
        </p:txBody>
      </p:sp>
      <p:sp>
        <p:nvSpPr>
          <p:cNvPr id="39" name="TextBox 39"/>
          <p:cNvSpPr txBox="1"/>
          <p:nvPr/>
        </p:nvSpPr>
        <p:spPr>
          <a:xfrm>
            <a:off x="3901962" y="1769371"/>
            <a:ext cx="4542238" cy="644366"/>
          </a:xfrm>
          <a:prstGeom prst="rect">
            <a:avLst/>
          </a:prstGeom>
        </p:spPr>
        <p:txBody>
          <a:bodyPr wrap="square" lIns="0" tIns="0" rIns="0" bIns="0" rtlCol="0" anchor="t">
            <a:spAutoFit/>
          </a:bodyPr>
          <a:lstStyle/>
          <a:p>
            <a:pPr marL="0" lvl="1" algn="ctr">
              <a:lnSpc>
                <a:spcPts val="2462"/>
              </a:lnSpc>
              <a:spcBef>
                <a:spcPct val="0"/>
              </a:spcBef>
            </a:pPr>
            <a:r>
              <a:rPr lang="en-US" sz="1750" spc="56">
                <a:solidFill>
                  <a:srgbClr val="000000"/>
                </a:solidFill>
                <a:latin typeface="Barlow Semi-Bold"/>
              </a:rPr>
              <a:t>Secondary Driver 2: Building Relationships with Community Organization</a:t>
            </a:r>
            <a:endParaRPr lang="en-US" sz="1758" spc="56">
              <a:solidFill>
                <a:srgbClr val="000000"/>
              </a:solidFill>
              <a:latin typeface="Barlow Semi-Bold"/>
            </a:endParaRPr>
          </a:p>
        </p:txBody>
      </p:sp>
      <p:sp>
        <p:nvSpPr>
          <p:cNvPr id="40" name="TextBox 40"/>
          <p:cNvSpPr txBox="1"/>
          <p:nvPr/>
        </p:nvSpPr>
        <p:spPr>
          <a:xfrm>
            <a:off x="8851841" y="1757713"/>
            <a:ext cx="3196760" cy="595869"/>
          </a:xfrm>
          <a:prstGeom prst="rect">
            <a:avLst/>
          </a:prstGeom>
        </p:spPr>
        <p:txBody>
          <a:bodyPr lIns="0" tIns="0" rIns="0" bIns="0" rtlCol="0" anchor="t">
            <a:spAutoFit/>
          </a:bodyPr>
          <a:lstStyle/>
          <a:p>
            <a:pPr marL="0" lvl="1" algn="ctr">
              <a:lnSpc>
                <a:spcPts val="2369"/>
              </a:lnSpc>
              <a:spcBef>
                <a:spcPct val="0"/>
              </a:spcBef>
            </a:pPr>
            <a:r>
              <a:rPr lang="en-US" sz="1691" spc="54">
                <a:solidFill>
                  <a:srgbClr val="000000"/>
                </a:solidFill>
                <a:latin typeface="Barlow Semi-Bold"/>
              </a:rPr>
              <a:t>Secondary Driver 3: Transfer of Care to Community Providers</a:t>
            </a:r>
          </a:p>
        </p:txBody>
      </p:sp>
      <p:sp>
        <p:nvSpPr>
          <p:cNvPr id="41" name="TextBox 41"/>
          <p:cNvSpPr txBox="1"/>
          <p:nvPr/>
        </p:nvSpPr>
        <p:spPr>
          <a:xfrm>
            <a:off x="507745" y="4670442"/>
            <a:ext cx="3383393" cy="1320233"/>
          </a:xfrm>
          <a:prstGeom prst="rect">
            <a:avLst/>
          </a:prstGeom>
        </p:spPr>
        <p:txBody>
          <a:bodyPr wrap="square" lIns="0" tIns="0" rIns="0" bIns="0" rtlCol="0" anchor="t">
            <a:spAutoFit/>
          </a:bodyPr>
          <a:lstStyle/>
          <a:p>
            <a:pPr marL="316230" lvl="1" indent="-158115">
              <a:lnSpc>
                <a:spcPts val="2053"/>
              </a:lnSpc>
              <a:buFont typeface="Arial"/>
              <a:buChar char="•"/>
            </a:pPr>
            <a:r>
              <a:rPr lang="en-US" sz="1600">
                <a:solidFill>
                  <a:srgbClr val="63696F"/>
                </a:solidFill>
                <a:latin typeface="Barlow Bold"/>
              </a:rPr>
              <a:t>FindHelp.org</a:t>
            </a:r>
          </a:p>
          <a:p>
            <a:pPr marL="316230" lvl="1" indent="-158115">
              <a:lnSpc>
                <a:spcPts val="2053"/>
              </a:lnSpc>
              <a:buFont typeface="Arial"/>
              <a:buChar char="•"/>
            </a:pPr>
            <a:r>
              <a:rPr lang="en-US" sz="1600" err="1">
                <a:solidFill>
                  <a:srgbClr val="63696F"/>
                </a:solidFill>
                <a:latin typeface="Barlow Bold"/>
              </a:rPr>
              <a:t>NowPow</a:t>
            </a:r>
            <a:endParaRPr lang="en-US" sz="1600">
              <a:solidFill>
                <a:srgbClr val="63696F"/>
              </a:solidFill>
              <a:latin typeface="Barlow Bold"/>
            </a:endParaRPr>
          </a:p>
          <a:p>
            <a:pPr marL="316230" lvl="1" indent="-158115">
              <a:lnSpc>
                <a:spcPts val="2053"/>
              </a:lnSpc>
              <a:buFont typeface="Arial"/>
              <a:buChar char="•"/>
            </a:pPr>
            <a:r>
              <a:rPr lang="en-US" sz="1600">
                <a:solidFill>
                  <a:srgbClr val="63696F"/>
                </a:solidFill>
                <a:latin typeface="Barlow Bold"/>
              </a:rPr>
              <a:t>ILPQC SDOH Mapping Tool</a:t>
            </a:r>
          </a:p>
          <a:p>
            <a:pPr marL="316230" lvl="1" indent="-158115">
              <a:lnSpc>
                <a:spcPts val="2053"/>
              </a:lnSpc>
              <a:buFont typeface="Arial"/>
              <a:buChar char="•"/>
            </a:pPr>
            <a:r>
              <a:rPr lang="en-US" sz="1600">
                <a:solidFill>
                  <a:srgbClr val="63696F"/>
                </a:solidFill>
                <a:latin typeface="Barlow Bold"/>
              </a:rPr>
              <a:t>ILPQC SDOH Health Resource Tool</a:t>
            </a:r>
          </a:p>
          <a:p>
            <a:pPr marL="316230" lvl="1" indent="-158115">
              <a:lnSpc>
                <a:spcPts val="2053"/>
              </a:lnSpc>
              <a:buFont typeface="Arial"/>
              <a:buChar char="•"/>
            </a:pPr>
            <a:r>
              <a:rPr lang="en-US" sz="1600">
                <a:solidFill>
                  <a:srgbClr val="63696F"/>
                </a:solidFill>
                <a:latin typeface="Barlow Bold"/>
              </a:rPr>
              <a:t>ILPQC Tip Sheets</a:t>
            </a:r>
          </a:p>
        </p:txBody>
      </p:sp>
      <p:sp>
        <p:nvSpPr>
          <p:cNvPr id="42" name="TextBox 42"/>
          <p:cNvSpPr txBox="1"/>
          <p:nvPr/>
        </p:nvSpPr>
        <p:spPr>
          <a:xfrm>
            <a:off x="4130034" y="4583399"/>
            <a:ext cx="4416650" cy="1585690"/>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Bold"/>
              </a:rPr>
              <a:t>Bridging out to your community  </a:t>
            </a:r>
            <a:endParaRPr lang="en-US"/>
          </a:p>
          <a:p>
            <a:pPr marL="633095" lvl="2" indent="-210820">
              <a:lnSpc>
                <a:spcPts val="2053"/>
              </a:lnSpc>
              <a:buFont typeface="Arial"/>
              <a:buChar char="⚬"/>
            </a:pPr>
            <a:r>
              <a:rPr lang="en-US" sz="1450">
                <a:solidFill>
                  <a:srgbClr val="63696F"/>
                </a:solidFill>
                <a:latin typeface="Barlow Bold"/>
              </a:rPr>
              <a:t>NYSPQC Promoting Safe Sleep in the Community </a:t>
            </a:r>
          </a:p>
          <a:p>
            <a:pPr marL="633095" lvl="2" indent="-210820">
              <a:lnSpc>
                <a:spcPts val="2053"/>
              </a:lnSpc>
              <a:buFont typeface="Arial"/>
              <a:buChar char="⚬"/>
            </a:pPr>
            <a:r>
              <a:rPr lang="en-US" sz="1450">
                <a:solidFill>
                  <a:srgbClr val="63696F"/>
                </a:solidFill>
                <a:latin typeface="Barlow Bold"/>
              </a:rPr>
              <a:t>Community-based Approaches to Safe Sleep and Breastfeeding</a:t>
            </a:r>
          </a:p>
          <a:p>
            <a:pPr marL="633095" lvl="2" indent="-210820">
              <a:lnSpc>
                <a:spcPts val="2053"/>
              </a:lnSpc>
              <a:buFont typeface="Arial"/>
              <a:buChar char="⚬"/>
            </a:pPr>
            <a:r>
              <a:rPr lang="en-US" sz="1450">
                <a:solidFill>
                  <a:srgbClr val="63696F"/>
                </a:solidFill>
                <a:latin typeface="Barlow Bold"/>
              </a:rPr>
              <a:t>Cribs for Kids Third-Party Funding Document</a:t>
            </a:r>
          </a:p>
        </p:txBody>
      </p:sp>
      <p:sp>
        <p:nvSpPr>
          <p:cNvPr id="43" name="TextBox 43"/>
          <p:cNvSpPr txBox="1"/>
          <p:nvPr/>
        </p:nvSpPr>
        <p:spPr>
          <a:xfrm>
            <a:off x="8904687" y="4876817"/>
            <a:ext cx="2944377" cy="778226"/>
          </a:xfrm>
          <a:prstGeom prst="rect">
            <a:avLst/>
          </a:prstGeom>
        </p:spPr>
        <p:txBody>
          <a:bodyPr wrap="square" lIns="0" tIns="0" rIns="0" bIns="0" rtlCol="0" anchor="t">
            <a:spAutoFit/>
          </a:bodyPr>
          <a:lstStyle/>
          <a:p>
            <a:pPr marL="316673" lvl="1" indent="-158337">
              <a:lnSpc>
                <a:spcPts val="2053"/>
              </a:lnSpc>
              <a:buFont typeface="Arial"/>
              <a:buChar char="•"/>
            </a:pPr>
            <a:r>
              <a:rPr lang="en-US" sz="1467">
                <a:solidFill>
                  <a:srgbClr val="63696F"/>
                </a:solidFill>
                <a:latin typeface="Barlow Bold"/>
              </a:rPr>
              <a:t>ESSI Newborn Care Plan for transition of care to pediatrician</a:t>
            </a:r>
          </a:p>
        </p:txBody>
      </p:sp>
      <p:sp>
        <p:nvSpPr>
          <p:cNvPr id="45" name="Freeform 4">
            <a:extLst>
              <a:ext uri="{FF2B5EF4-FFF2-40B4-BE49-F238E27FC236}">
                <a16:creationId xmlns:a16="http://schemas.microsoft.com/office/drawing/2014/main" id="{C77E478B-4FF6-99F3-8EF6-9EC4CBF20CDC}"/>
              </a:ext>
            </a:extLst>
          </p:cNvPr>
          <p:cNvSpPr/>
          <p:nvPr/>
        </p:nvSpPr>
        <p:spPr>
          <a:xfrm>
            <a:off x="7286602" y="99607"/>
            <a:ext cx="1490133" cy="1300733"/>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47" name="TextBox 19">
            <a:extLst>
              <a:ext uri="{FF2B5EF4-FFF2-40B4-BE49-F238E27FC236}">
                <a16:creationId xmlns:a16="http://schemas.microsoft.com/office/drawing/2014/main" id="{B8E0B5F5-B6A2-711D-2F6F-422E5E01B221}"/>
              </a:ext>
            </a:extLst>
          </p:cNvPr>
          <p:cNvSpPr txBox="1"/>
          <p:nvPr/>
        </p:nvSpPr>
        <p:spPr>
          <a:xfrm>
            <a:off x="9074296" y="1013815"/>
            <a:ext cx="1963993"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49" name="Freeform 21">
            <a:extLst>
              <a:ext uri="{FF2B5EF4-FFF2-40B4-BE49-F238E27FC236}">
                <a16:creationId xmlns:a16="http://schemas.microsoft.com/office/drawing/2014/main" id="{725D5EF5-B77D-B401-7AC5-22CFBF1AA913}"/>
              </a:ext>
            </a:extLst>
          </p:cNvPr>
          <p:cNvSpPr/>
          <p:nvPr/>
        </p:nvSpPr>
        <p:spPr>
          <a:xfrm>
            <a:off x="10266940" y="209244"/>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5"/>
            <a:stretch>
              <a:fillRect/>
            </a:stretch>
          </a:blipFill>
        </p:spPr>
      </p:sp>
    </p:spTree>
    <p:extLst>
      <p:ext uri="{BB962C8B-B14F-4D97-AF65-F5344CB8AC3E}">
        <p14:creationId xmlns:p14="http://schemas.microsoft.com/office/powerpoint/2010/main" val="3809547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a:ea typeface="Lato Medium"/>
                <a:cs typeface="Lato Medium"/>
              </a:rPr>
              <a:t>Key Driver Diagram</a:t>
            </a:r>
            <a:endParaRPr lang="en-US"/>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36</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05089" y="4517199"/>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32D43D21-12EB-57B8-92CD-FBCBE656C832}"/>
              </a:ext>
            </a:extLst>
          </p:cNvPr>
          <p:cNvSpPr/>
          <p:nvPr/>
        </p:nvSpPr>
        <p:spPr>
          <a:xfrm>
            <a:off x="4297993" y="4318869"/>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ea typeface="Calibri"/>
                <a:cs typeface="Calibri"/>
              </a:rPr>
              <a:t>5</a:t>
            </a:r>
          </a:p>
        </p:txBody>
      </p:sp>
    </p:spTree>
    <p:extLst>
      <p:ext uri="{BB962C8B-B14F-4D97-AF65-F5344CB8AC3E}">
        <p14:creationId xmlns:p14="http://schemas.microsoft.com/office/powerpoint/2010/main" val="3999708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Arrow Connector 56">
            <a:extLst>
              <a:ext uri="{FF2B5EF4-FFF2-40B4-BE49-F238E27FC236}">
                <a16:creationId xmlns:a16="http://schemas.microsoft.com/office/drawing/2014/main" id="{20BA68FA-6BDE-2EDB-723C-CD601AB032C2}"/>
              </a:ext>
            </a:extLst>
          </p:cNvPr>
          <p:cNvCxnSpPr>
            <a:cxnSpLocks/>
          </p:cNvCxnSpPr>
          <p:nvPr/>
        </p:nvCxnSpPr>
        <p:spPr>
          <a:xfrm>
            <a:off x="4521006" y="5717282"/>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7B5C048-F156-0D3C-D55F-4D731E35FA2E}"/>
              </a:ext>
            </a:extLst>
          </p:cNvPr>
          <p:cNvCxnSpPr>
            <a:cxnSpLocks/>
          </p:cNvCxnSpPr>
          <p:nvPr/>
        </p:nvCxnSpPr>
        <p:spPr>
          <a:xfrm>
            <a:off x="4514380" y="2419699"/>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352D6FE-962F-E499-92FF-86F2420A2EA5}"/>
              </a:ext>
            </a:extLst>
          </p:cNvPr>
          <p:cNvCxnSpPr>
            <a:cxnSpLocks/>
          </p:cNvCxnSpPr>
          <p:nvPr/>
        </p:nvCxnSpPr>
        <p:spPr>
          <a:xfrm>
            <a:off x="4501128" y="3952534"/>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3" name="Group 3"/>
          <p:cNvGrpSpPr/>
          <p:nvPr/>
        </p:nvGrpSpPr>
        <p:grpSpPr>
          <a:xfrm>
            <a:off x="5916567" y="5088892"/>
            <a:ext cx="5457846" cy="1085844"/>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53BF9D"/>
            </a:solidFill>
          </p:spPr>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sp>
        <p:nvSpPr>
          <p:cNvPr id="7" name="Freeform 7"/>
          <p:cNvSpPr/>
          <p:nvPr/>
        </p:nvSpPr>
        <p:spPr>
          <a:xfrm>
            <a:off x="5938142" y="2359430"/>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sp>
        <p:nvSpPr>
          <p:cNvPr id="8" name="AutoShape 8"/>
          <p:cNvSpPr/>
          <p:nvPr/>
        </p:nvSpPr>
        <p:spPr>
          <a:xfrm flipV="1">
            <a:off x="7053305" y="5350862"/>
            <a:ext cx="0" cy="570703"/>
          </a:xfrm>
          <a:prstGeom prst="line">
            <a:avLst/>
          </a:prstGeom>
          <a:ln w="38100" cap="flat">
            <a:solidFill>
              <a:srgbClr val="FFFFFF"/>
            </a:solidFill>
            <a:prstDash val="solid"/>
            <a:headEnd type="none" w="sm" len="sm"/>
            <a:tailEnd type="none" w="sm" len="sm"/>
          </a:ln>
        </p:spPr>
      </p:sp>
      <p:sp>
        <p:nvSpPr>
          <p:cNvPr id="9" name="AutoShape 9"/>
          <p:cNvSpPr/>
          <p:nvPr/>
        </p:nvSpPr>
        <p:spPr>
          <a:xfrm>
            <a:off x="5916567" y="3113273"/>
            <a:ext cx="1488295" cy="0"/>
          </a:xfrm>
          <a:prstGeom prst="line">
            <a:avLst/>
          </a:prstGeom>
          <a:ln w="38100" cap="flat">
            <a:solidFill>
              <a:srgbClr val="000000"/>
            </a:solidFill>
            <a:prstDash val="solid"/>
            <a:headEnd type="none" w="sm" len="sm"/>
            <a:tailEnd type="none" w="sm" len="sm"/>
          </a:ln>
        </p:spPr>
      </p:sp>
      <p:sp>
        <p:nvSpPr>
          <p:cNvPr id="10" name="Freeform 10"/>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11" name="Freeform 11"/>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2" name="Group 12"/>
          <p:cNvGrpSpPr/>
          <p:nvPr/>
        </p:nvGrpSpPr>
        <p:grpSpPr>
          <a:xfrm>
            <a:off x="11377921" y="6168748"/>
            <a:ext cx="1368800" cy="1368800"/>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4" name="TextBox 1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5" name="Group 15"/>
          <p:cNvGrpSpPr/>
          <p:nvPr/>
        </p:nvGrpSpPr>
        <p:grpSpPr>
          <a:xfrm>
            <a:off x="-415216" y="-654827"/>
            <a:ext cx="1368800" cy="1368800"/>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7" name="TextBox 1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18" name="Freeform 18"/>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19" name="Freeform 19"/>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0" name="Freeform 20"/>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1" name="Freeform 21"/>
          <p:cNvSpPr/>
          <p:nvPr/>
        </p:nvSpPr>
        <p:spPr>
          <a:xfrm>
            <a:off x="9783982" y="595611"/>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grpSp>
        <p:nvGrpSpPr>
          <p:cNvPr id="22" name="Group 22"/>
          <p:cNvGrpSpPr/>
          <p:nvPr/>
        </p:nvGrpSpPr>
        <p:grpSpPr>
          <a:xfrm>
            <a:off x="685801" y="1820761"/>
            <a:ext cx="3816499" cy="1051523"/>
            <a:chOff x="0" y="0"/>
            <a:chExt cx="1300650" cy="358355"/>
          </a:xfrm>
        </p:grpSpPr>
        <p:sp>
          <p:nvSpPr>
            <p:cNvPr id="23" name="Freeform 23"/>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0CC0DF"/>
              </a:solidFill>
              <a:prstDash val="solid"/>
              <a:miter/>
            </a:ln>
          </p:spPr>
        </p:sp>
        <p:sp>
          <p:nvSpPr>
            <p:cNvPr id="24" name="TextBox 24"/>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25" name="Group 25"/>
          <p:cNvGrpSpPr/>
          <p:nvPr/>
        </p:nvGrpSpPr>
        <p:grpSpPr>
          <a:xfrm>
            <a:off x="5892306" y="1803600"/>
            <a:ext cx="5457846" cy="1085844"/>
            <a:chOff x="0" y="0"/>
            <a:chExt cx="2156186" cy="428975"/>
          </a:xfrm>
        </p:grpSpPr>
        <p:sp>
          <p:nvSpPr>
            <p:cNvPr id="26" name="Freeform 26"/>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sp>
        <p:sp>
          <p:nvSpPr>
            <p:cNvPr id="27" name="TextBox 27"/>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28" name="AutoShape 28"/>
          <p:cNvSpPr/>
          <p:nvPr/>
        </p:nvSpPr>
        <p:spPr>
          <a:xfrm flipV="1">
            <a:off x="7040605" y="2042498"/>
            <a:ext cx="0" cy="570703"/>
          </a:xfrm>
          <a:prstGeom prst="line">
            <a:avLst/>
          </a:prstGeom>
          <a:ln w="38100" cap="flat">
            <a:solidFill>
              <a:srgbClr val="FFFFFF"/>
            </a:solidFill>
            <a:prstDash val="solid"/>
            <a:headEnd type="none" w="sm" len="sm"/>
            <a:tailEnd type="none" w="sm" len="sm"/>
          </a:ln>
        </p:spPr>
      </p:sp>
      <p:grpSp>
        <p:nvGrpSpPr>
          <p:cNvPr id="29" name="Group 29"/>
          <p:cNvGrpSpPr/>
          <p:nvPr/>
        </p:nvGrpSpPr>
        <p:grpSpPr>
          <a:xfrm>
            <a:off x="685801" y="3339921"/>
            <a:ext cx="3816499" cy="1051523"/>
            <a:chOff x="0" y="0"/>
            <a:chExt cx="1300650" cy="358355"/>
          </a:xfrm>
        </p:grpSpPr>
        <p:sp>
          <p:nvSpPr>
            <p:cNvPr id="30" name="Freeform 30"/>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8299CE"/>
              </a:solidFill>
              <a:prstDash val="solid"/>
              <a:miter/>
            </a:ln>
          </p:spPr>
        </p:sp>
        <p:sp>
          <p:nvSpPr>
            <p:cNvPr id="31" name="TextBox 31"/>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32" name="Group 32"/>
          <p:cNvGrpSpPr/>
          <p:nvPr/>
        </p:nvGrpSpPr>
        <p:grpSpPr>
          <a:xfrm>
            <a:off x="671079" y="5088892"/>
            <a:ext cx="3816499" cy="1051523"/>
            <a:chOff x="0" y="0"/>
            <a:chExt cx="1300650" cy="358355"/>
          </a:xfrm>
        </p:grpSpPr>
        <p:sp>
          <p:nvSpPr>
            <p:cNvPr id="33" name="Freeform 33"/>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BD4291"/>
              </a:solidFill>
              <a:prstDash val="solid"/>
              <a:miter/>
            </a:ln>
          </p:spPr>
        </p:sp>
        <p:sp>
          <p:nvSpPr>
            <p:cNvPr id="34" name="TextBox 34"/>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sp>
        <p:nvSpPr>
          <p:cNvPr id="35" name="AutoShape 35"/>
          <p:cNvSpPr/>
          <p:nvPr/>
        </p:nvSpPr>
        <p:spPr>
          <a:xfrm>
            <a:off x="5892305" y="4803142"/>
            <a:ext cx="1488295" cy="0"/>
          </a:xfrm>
          <a:prstGeom prst="line">
            <a:avLst/>
          </a:prstGeom>
          <a:ln w="38100" cap="flat">
            <a:solidFill>
              <a:srgbClr val="000000"/>
            </a:solidFill>
            <a:prstDash val="solid"/>
            <a:headEnd type="none" w="sm" len="sm"/>
            <a:tailEnd type="none" w="sm" len="sm"/>
          </a:ln>
        </p:spPr>
      </p:sp>
      <p:sp>
        <p:nvSpPr>
          <p:cNvPr id="36" name="Freeform 36"/>
          <p:cNvSpPr/>
          <p:nvPr/>
        </p:nvSpPr>
        <p:spPr>
          <a:xfrm>
            <a:off x="6055631" y="595612"/>
            <a:ext cx="1060559" cy="1068573"/>
          </a:xfrm>
          <a:custGeom>
            <a:avLst/>
            <a:gdLst/>
            <a:ahLst/>
            <a:cxnLst/>
            <a:rect l="l" t="t" r="r" b="b"/>
            <a:pathLst>
              <a:path w="1590838" h="1602859">
                <a:moveTo>
                  <a:pt x="0" y="0"/>
                </a:moveTo>
                <a:lnTo>
                  <a:pt x="1590838" y="0"/>
                </a:lnTo>
                <a:lnTo>
                  <a:pt x="1590838" y="1602859"/>
                </a:lnTo>
                <a:lnTo>
                  <a:pt x="0" y="160285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37" name="Group 37"/>
          <p:cNvGrpSpPr/>
          <p:nvPr/>
        </p:nvGrpSpPr>
        <p:grpSpPr>
          <a:xfrm>
            <a:off x="5938142" y="3322761"/>
            <a:ext cx="5457846" cy="1085844"/>
            <a:chOff x="0" y="0"/>
            <a:chExt cx="2156186" cy="428975"/>
          </a:xfrm>
        </p:grpSpPr>
        <p:sp>
          <p:nvSpPr>
            <p:cNvPr id="38" name="Freeform 3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914D"/>
            </a:solidFill>
          </p:spPr>
        </p:sp>
        <p:sp>
          <p:nvSpPr>
            <p:cNvPr id="39" name="TextBox 3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flipV="1">
            <a:off x="7027905" y="3552560"/>
            <a:ext cx="0" cy="570703"/>
          </a:xfrm>
          <a:prstGeom prst="line">
            <a:avLst/>
          </a:prstGeom>
          <a:ln w="38100" cap="flat">
            <a:solidFill>
              <a:srgbClr val="FFFFFF"/>
            </a:solidFill>
            <a:prstDash val="solid"/>
            <a:headEnd type="none" w="sm" len="sm"/>
            <a:tailEnd type="none" w="sm" len="sm"/>
          </a:ln>
        </p:spPr>
      </p:sp>
      <p:sp>
        <p:nvSpPr>
          <p:cNvPr id="41" name="Freeform 41"/>
          <p:cNvSpPr/>
          <p:nvPr/>
        </p:nvSpPr>
        <p:spPr>
          <a:xfrm>
            <a:off x="6096000" y="3429000"/>
            <a:ext cx="859376" cy="880283"/>
          </a:xfrm>
          <a:custGeom>
            <a:avLst/>
            <a:gdLst/>
            <a:ahLst/>
            <a:cxnLst/>
            <a:rect l="l" t="t" r="r" b="b"/>
            <a:pathLst>
              <a:path w="1289064" h="1320424">
                <a:moveTo>
                  <a:pt x="0" y="0"/>
                </a:moveTo>
                <a:lnTo>
                  <a:pt x="1289064" y="0"/>
                </a:lnTo>
                <a:lnTo>
                  <a:pt x="1289064" y="1320424"/>
                </a:lnTo>
                <a:lnTo>
                  <a:pt x="0" y="1320424"/>
                </a:lnTo>
                <a:lnTo>
                  <a:pt x="0" y="0"/>
                </a:lnTo>
                <a:close/>
              </a:path>
            </a:pathLst>
          </a:custGeom>
          <a:blipFill>
            <a:blip r:embed="rId13"/>
            <a:stretch>
              <a:fillRect/>
            </a:stretch>
          </a:blipFill>
        </p:spPr>
      </p:sp>
      <p:sp>
        <p:nvSpPr>
          <p:cNvPr id="42" name="Freeform 42"/>
          <p:cNvSpPr/>
          <p:nvPr/>
        </p:nvSpPr>
        <p:spPr>
          <a:xfrm>
            <a:off x="6196718" y="1897837"/>
            <a:ext cx="657942" cy="897936"/>
          </a:xfrm>
          <a:custGeom>
            <a:avLst/>
            <a:gdLst/>
            <a:ahLst/>
            <a:cxnLst/>
            <a:rect l="l" t="t" r="r" b="b"/>
            <a:pathLst>
              <a:path w="986913" h="1346904">
                <a:moveTo>
                  <a:pt x="0" y="0"/>
                </a:moveTo>
                <a:lnTo>
                  <a:pt x="986913" y="0"/>
                </a:lnTo>
                <a:lnTo>
                  <a:pt x="986913" y="1346904"/>
                </a:lnTo>
                <a:lnTo>
                  <a:pt x="0" y="1346904"/>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43" name="Freeform 43"/>
          <p:cNvSpPr/>
          <p:nvPr/>
        </p:nvSpPr>
        <p:spPr>
          <a:xfrm>
            <a:off x="6161160" y="5280010"/>
            <a:ext cx="758794" cy="703609"/>
          </a:xfrm>
          <a:custGeom>
            <a:avLst/>
            <a:gdLst/>
            <a:ahLst/>
            <a:cxnLst/>
            <a:rect l="l" t="t" r="r" b="b"/>
            <a:pathLst>
              <a:path w="1138191" h="1055414">
                <a:moveTo>
                  <a:pt x="0" y="0"/>
                </a:moveTo>
                <a:lnTo>
                  <a:pt x="1138192" y="0"/>
                </a:lnTo>
                <a:lnTo>
                  <a:pt x="1138192" y="1055414"/>
                </a:lnTo>
                <a:lnTo>
                  <a:pt x="0" y="1055414"/>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44" name="TextBox 44"/>
          <p:cNvSpPr txBox="1"/>
          <p:nvPr/>
        </p:nvSpPr>
        <p:spPr>
          <a:xfrm>
            <a:off x="685800" y="538462"/>
            <a:ext cx="5974914" cy="908197"/>
          </a:xfrm>
          <a:prstGeom prst="rect">
            <a:avLst/>
          </a:prstGeom>
        </p:spPr>
        <p:txBody>
          <a:bodyPr lIns="0" tIns="0" rIns="0" bIns="0" rtlCol="0" anchor="t">
            <a:spAutoFit/>
          </a:bodyPr>
          <a:lstStyle/>
          <a:p>
            <a:pPr>
              <a:lnSpc>
                <a:spcPts val="3733"/>
              </a:lnSpc>
            </a:pPr>
            <a:r>
              <a:rPr lang="en-US" sz="2666" spc="111">
                <a:solidFill>
                  <a:srgbClr val="000000"/>
                </a:solidFill>
                <a:latin typeface="Barlow Bold"/>
              </a:rPr>
              <a:t>DRIVER 5: </a:t>
            </a:r>
          </a:p>
          <a:p>
            <a:pPr>
              <a:lnSpc>
                <a:spcPts val="3733"/>
              </a:lnSpc>
            </a:pPr>
            <a:r>
              <a:rPr lang="en-US" sz="2666" spc="111">
                <a:solidFill>
                  <a:srgbClr val="000000"/>
                </a:solidFill>
                <a:latin typeface="Barlow Bold"/>
              </a:rPr>
              <a:t>HEALTHCARE DATA UTILIZATION​</a:t>
            </a:r>
          </a:p>
        </p:txBody>
      </p:sp>
      <p:sp>
        <p:nvSpPr>
          <p:cNvPr id="45" name="TextBox 45"/>
          <p:cNvSpPr txBox="1"/>
          <p:nvPr/>
        </p:nvSpPr>
        <p:spPr>
          <a:xfrm>
            <a:off x="7002505" y="369410"/>
            <a:ext cx="4084512" cy="217239"/>
          </a:xfrm>
          <a:prstGeom prst="rect">
            <a:avLst/>
          </a:prstGeom>
        </p:spPr>
        <p:txBody>
          <a:bodyPr lIns="0" tIns="0" rIns="0" bIns="0" rtlCol="0" anchor="t">
            <a:spAutoFit/>
          </a:bodyPr>
          <a:lstStyle/>
          <a:p>
            <a:pPr marL="0" lvl="1">
              <a:lnSpc>
                <a:spcPts val="1882"/>
              </a:lnSpc>
              <a:spcBef>
                <a:spcPct val="0"/>
              </a:spcBef>
            </a:pPr>
            <a:r>
              <a:rPr lang="en-US" sz="1344" spc="43">
                <a:solidFill>
                  <a:srgbClr val="FFFFFF"/>
                </a:solidFill>
                <a:latin typeface="Barlow Bold"/>
              </a:rPr>
              <a:t>Complete local and online resource mapping</a:t>
            </a:r>
          </a:p>
        </p:txBody>
      </p:sp>
      <p:sp>
        <p:nvSpPr>
          <p:cNvPr id="46" name="TextBox 46"/>
          <p:cNvSpPr txBox="1"/>
          <p:nvPr/>
        </p:nvSpPr>
        <p:spPr>
          <a:xfrm>
            <a:off x="7184900" y="1967099"/>
            <a:ext cx="4054625"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Implement processes and protocols for improving the collection and accuracy of reported race and ethnicity data </a:t>
            </a:r>
            <a:endParaRPr lang="en-US" sz="1344" spc="43">
              <a:solidFill>
                <a:srgbClr val="FFFFFF"/>
              </a:solidFill>
              <a:latin typeface="Barlow Semi-Bold"/>
            </a:endParaRPr>
          </a:p>
        </p:txBody>
      </p:sp>
      <p:sp>
        <p:nvSpPr>
          <p:cNvPr id="47" name="TextBox 47"/>
          <p:cNvSpPr txBox="1"/>
          <p:nvPr/>
        </p:nvSpPr>
        <p:spPr>
          <a:xfrm>
            <a:off x="7184900" y="5392938"/>
            <a:ext cx="3770521"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strategies to address bias, inequities, and disparities </a:t>
            </a:r>
            <a:endParaRPr lang="en-US" sz="1344" spc="43">
              <a:solidFill>
                <a:srgbClr val="FFFFFF"/>
              </a:solidFill>
              <a:latin typeface="Barlow Semi-Bold"/>
            </a:endParaRPr>
          </a:p>
        </p:txBody>
      </p:sp>
      <p:sp>
        <p:nvSpPr>
          <p:cNvPr id="48" name="TextBox 48"/>
          <p:cNvSpPr txBox="1"/>
          <p:nvPr/>
        </p:nvSpPr>
        <p:spPr>
          <a:xfrm>
            <a:off x="851889" y="2030669"/>
            <a:ext cx="345487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a:t>
            </a:r>
          </a:p>
          <a:p>
            <a:pPr algn="ctr">
              <a:lnSpc>
                <a:spcPts val="2239"/>
              </a:lnSpc>
              <a:spcBef>
                <a:spcPct val="0"/>
              </a:spcBef>
            </a:pPr>
            <a:r>
              <a:rPr lang="en-US" sz="1600" spc="51">
                <a:solidFill>
                  <a:srgbClr val="000000"/>
                </a:solidFill>
                <a:latin typeface="Barlow Semi-Bold"/>
              </a:rPr>
              <a:t>Healthcare Data Utilization</a:t>
            </a:r>
          </a:p>
        </p:txBody>
      </p:sp>
      <p:sp>
        <p:nvSpPr>
          <p:cNvPr id="49" name="TextBox 49"/>
          <p:cNvSpPr txBox="1"/>
          <p:nvPr/>
        </p:nvSpPr>
        <p:spPr>
          <a:xfrm>
            <a:off x="715243" y="3540731"/>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a:t>
            </a:r>
          </a:p>
          <a:p>
            <a:pPr algn="ctr">
              <a:lnSpc>
                <a:spcPts val="2239"/>
              </a:lnSpc>
              <a:spcBef>
                <a:spcPct val="0"/>
              </a:spcBef>
            </a:pPr>
            <a:r>
              <a:rPr lang="en-US" sz="1600" spc="51">
                <a:solidFill>
                  <a:srgbClr val="000000"/>
                </a:solidFill>
                <a:latin typeface="Barlow Semi-Bold"/>
              </a:rPr>
              <a:t>Dissemination of Stratified Data</a:t>
            </a:r>
          </a:p>
        </p:txBody>
      </p:sp>
      <p:sp>
        <p:nvSpPr>
          <p:cNvPr id="50" name="TextBox 50"/>
          <p:cNvSpPr txBox="1"/>
          <p:nvPr/>
        </p:nvSpPr>
        <p:spPr>
          <a:xfrm>
            <a:off x="7184900" y="3477160"/>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and implement a process to review, analyze, and share data stratified by race, ethnicity and insurance status </a:t>
            </a:r>
            <a:endParaRPr lang="en-US" sz="1344" spc="43">
              <a:solidFill>
                <a:srgbClr val="FFFFFF"/>
              </a:solidFill>
              <a:latin typeface="Barlow Semi-Bold"/>
            </a:endParaRPr>
          </a:p>
        </p:txBody>
      </p:sp>
      <p:sp>
        <p:nvSpPr>
          <p:cNvPr id="51" name="TextBox 51"/>
          <p:cNvSpPr txBox="1"/>
          <p:nvPr/>
        </p:nvSpPr>
        <p:spPr>
          <a:xfrm>
            <a:off x="700522" y="5177773"/>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a:t>
            </a:r>
          </a:p>
          <a:p>
            <a:pPr algn="ctr">
              <a:lnSpc>
                <a:spcPts val="2239"/>
              </a:lnSpc>
              <a:spcBef>
                <a:spcPct val="0"/>
              </a:spcBef>
            </a:pPr>
            <a:r>
              <a:rPr lang="en-US" sz="1600" spc="51">
                <a:solidFill>
                  <a:srgbClr val="000000"/>
                </a:solidFill>
                <a:latin typeface="Barlow Semi-Bold"/>
              </a:rPr>
              <a:t>Application of Data to Address Inequities</a:t>
            </a:r>
          </a:p>
        </p:txBody>
      </p:sp>
      <p:sp>
        <p:nvSpPr>
          <p:cNvPr id="54" name="TextBox 53">
            <a:extLst>
              <a:ext uri="{FF2B5EF4-FFF2-40B4-BE49-F238E27FC236}">
                <a16:creationId xmlns:a16="http://schemas.microsoft.com/office/drawing/2014/main" id="{3719DC3C-330E-96DC-F3E0-D6B8EE5E5A3C}"/>
              </a:ext>
            </a:extLst>
          </p:cNvPr>
          <p:cNvSpPr txBox="1"/>
          <p:nvPr/>
        </p:nvSpPr>
        <p:spPr>
          <a:xfrm>
            <a:off x="7340117" y="1280767"/>
            <a:ext cx="2667520" cy="523220"/>
          </a:xfrm>
          <a:prstGeom prst="rect">
            <a:avLst/>
          </a:prstGeom>
          <a:noFill/>
        </p:spPr>
        <p:txBody>
          <a:bodyPr wrap="square" lIns="91440" tIns="45720" rIns="91440" bIns="45720" rtlCol="0" anchor="t">
            <a:spAutoFit/>
          </a:bodyPr>
          <a:lstStyle/>
          <a:p>
            <a:r>
              <a:rPr lang="en-US" sz="2800" b="1">
                <a:latin typeface="Arial"/>
                <a:ea typeface="MS PGothic"/>
                <a:cs typeface="Arial"/>
              </a:rPr>
              <a:t>Change Ideas</a:t>
            </a:r>
          </a:p>
        </p:txBody>
      </p:sp>
    </p:spTree>
    <p:extLst>
      <p:ext uri="{BB962C8B-B14F-4D97-AF65-F5344CB8AC3E}">
        <p14:creationId xmlns:p14="http://schemas.microsoft.com/office/powerpoint/2010/main" val="7851159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39914" y="582031"/>
            <a:ext cx="3356796" cy="570655"/>
          </a:xfrm>
          <a:custGeom>
            <a:avLst/>
            <a:gdLst/>
            <a:ahLst/>
            <a:cxnLst/>
            <a:rect l="l" t="t" r="r" b="b"/>
            <a:pathLst>
              <a:path w="5035194" h="855983">
                <a:moveTo>
                  <a:pt x="0" y="0"/>
                </a:moveTo>
                <a:lnTo>
                  <a:pt x="5035194" y="0"/>
                </a:lnTo>
                <a:lnTo>
                  <a:pt x="5035194" y="855983"/>
                </a:lnTo>
                <a:lnTo>
                  <a:pt x="0" y="85598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 name="Freeform 3"/>
          <p:cNvSpPr/>
          <p:nvPr/>
        </p:nvSpPr>
        <p:spPr>
          <a:xfrm>
            <a:off x="2255343" y="359359"/>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4" name="Freeform 4"/>
          <p:cNvSpPr/>
          <p:nvPr/>
        </p:nvSpPr>
        <p:spPr>
          <a:xfrm>
            <a:off x="6591564" y="196309"/>
            <a:ext cx="1088355" cy="950951"/>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grpSp>
        <p:nvGrpSpPr>
          <p:cNvPr id="5" name="Group 5"/>
          <p:cNvGrpSpPr/>
          <p:nvPr/>
        </p:nvGrpSpPr>
        <p:grpSpPr>
          <a:xfrm>
            <a:off x="360781" y="2216382"/>
            <a:ext cx="5255663" cy="1285881"/>
            <a:chOff x="0" y="-47625"/>
            <a:chExt cx="2076311" cy="508002"/>
          </a:xfrm>
        </p:grpSpPr>
        <p:sp>
          <p:nvSpPr>
            <p:cNvPr id="6" name="Freeform 6"/>
            <p:cNvSpPr/>
            <p:nvPr/>
          </p:nvSpPr>
          <p:spPr>
            <a:xfrm>
              <a:off x="0" y="0"/>
              <a:ext cx="2076311" cy="460377"/>
            </a:xfrm>
            <a:custGeom>
              <a:avLst/>
              <a:gdLst/>
              <a:ahLst/>
              <a:cxnLst/>
              <a:rect l="l" t="t" r="r" b="b"/>
              <a:pathLst>
                <a:path w="2076311" h="460377">
                  <a:moveTo>
                    <a:pt x="50084" y="0"/>
                  </a:moveTo>
                  <a:lnTo>
                    <a:pt x="2026227" y="0"/>
                  </a:lnTo>
                  <a:cubicBezTo>
                    <a:pt x="2053888" y="0"/>
                    <a:pt x="2076311" y="22423"/>
                    <a:pt x="2076311" y="50084"/>
                  </a:cubicBezTo>
                  <a:lnTo>
                    <a:pt x="2076311" y="410293"/>
                  </a:lnTo>
                  <a:cubicBezTo>
                    <a:pt x="2076311" y="437954"/>
                    <a:pt x="2053888" y="460377"/>
                    <a:pt x="2026227" y="460377"/>
                  </a:cubicBezTo>
                  <a:lnTo>
                    <a:pt x="50084" y="460377"/>
                  </a:lnTo>
                  <a:cubicBezTo>
                    <a:pt x="22423" y="460377"/>
                    <a:pt x="0" y="437954"/>
                    <a:pt x="0" y="410293"/>
                  </a:cubicBezTo>
                  <a:lnTo>
                    <a:pt x="0" y="50084"/>
                  </a:lnTo>
                  <a:cubicBezTo>
                    <a:pt x="0" y="22423"/>
                    <a:pt x="22423" y="0"/>
                    <a:pt x="50084" y="0"/>
                  </a:cubicBezTo>
                  <a:close/>
                </a:path>
              </a:pathLst>
            </a:custGeom>
            <a:solidFill>
              <a:srgbClr val="F5668F"/>
            </a:solidFill>
          </p:spPr>
        </p:sp>
        <p:sp>
          <p:nvSpPr>
            <p:cNvPr id="7" name="TextBox 7"/>
            <p:cNvSpPr txBox="1"/>
            <p:nvPr/>
          </p:nvSpPr>
          <p:spPr>
            <a:xfrm>
              <a:off x="0" y="-47625"/>
              <a:ext cx="2076311" cy="508002"/>
            </a:xfrm>
            <a:prstGeom prst="rect">
              <a:avLst/>
            </a:prstGeom>
          </p:spPr>
          <p:txBody>
            <a:bodyPr lIns="33867" tIns="33867" rIns="33867" bIns="33867" rtlCol="0" anchor="ctr"/>
            <a:lstStyle/>
            <a:p>
              <a:pPr algn="ctr">
                <a:lnSpc>
                  <a:spcPts val="2799"/>
                </a:lnSpc>
                <a:spcBef>
                  <a:spcPct val="0"/>
                </a:spcBef>
              </a:pPr>
              <a:r>
                <a:rPr lang="en-US" sz="1950">
                  <a:solidFill>
                    <a:srgbClr val="FFFFFF"/>
                  </a:solidFill>
                  <a:latin typeface="Canva Sans Bold"/>
                </a:rPr>
                <a:t>Staff training to optimize Race, Ethnicity and Language (</a:t>
              </a:r>
              <a:r>
                <a:rPr lang="en-US" sz="1950" err="1">
                  <a:solidFill>
                    <a:srgbClr val="FFFFFF"/>
                  </a:solidFill>
                  <a:latin typeface="Canva Sans Bold"/>
                </a:rPr>
                <a:t>REaL</a:t>
              </a:r>
              <a:r>
                <a:rPr lang="en-US" sz="1950">
                  <a:solidFill>
                    <a:srgbClr val="FFFFFF"/>
                  </a:solidFill>
                  <a:latin typeface="Canva Sans Bold"/>
                </a:rPr>
                <a:t>) data collection</a:t>
              </a:r>
            </a:p>
          </p:txBody>
        </p:sp>
      </p:grpSp>
      <p:grpSp>
        <p:nvGrpSpPr>
          <p:cNvPr id="8" name="Group 8"/>
          <p:cNvGrpSpPr/>
          <p:nvPr/>
        </p:nvGrpSpPr>
        <p:grpSpPr>
          <a:xfrm>
            <a:off x="6414568" y="1375359"/>
            <a:ext cx="5412523" cy="1254789"/>
            <a:chOff x="0" y="0"/>
            <a:chExt cx="2138281" cy="495719"/>
          </a:xfrm>
        </p:grpSpPr>
        <p:sp>
          <p:nvSpPr>
            <p:cNvPr id="9" name="Freeform 9"/>
            <p:cNvSpPr/>
            <p:nvPr/>
          </p:nvSpPr>
          <p:spPr>
            <a:xfrm>
              <a:off x="0" y="0"/>
              <a:ext cx="2138281" cy="495719"/>
            </a:xfrm>
            <a:custGeom>
              <a:avLst/>
              <a:gdLst/>
              <a:ahLst/>
              <a:cxnLst/>
              <a:rect l="l" t="t" r="r" b="b"/>
              <a:pathLst>
                <a:path w="2138281" h="495719">
                  <a:moveTo>
                    <a:pt x="48633" y="0"/>
                  </a:moveTo>
                  <a:lnTo>
                    <a:pt x="2089648" y="0"/>
                  </a:lnTo>
                  <a:cubicBezTo>
                    <a:pt x="2116507" y="0"/>
                    <a:pt x="2138281" y="21774"/>
                    <a:pt x="2138281" y="48633"/>
                  </a:cubicBezTo>
                  <a:lnTo>
                    <a:pt x="2138281" y="447086"/>
                  </a:lnTo>
                  <a:cubicBezTo>
                    <a:pt x="2138281" y="459985"/>
                    <a:pt x="2133157" y="472354"/>
                    <a:pt x="2124037" y="481475"/>
                  </a:cubicBezTo>
                  <a:cubicBezTo>
                    <a:pt x="2114916" y="490595"/>
                    <a:pt x="2102546" y="495719"/>
                    <a:pt x="2089648" y="495719"/>
                  </a:cubicBezTo>
                  <a:lnTo>
                    <a:pt x="48633" y="495719"/>
                  </a:lnTo>
                  <a:cubicBezTo>
                    <a:pt x="21774" y="495719"/>
                    <a:pt x="0" y="473945"/>
                    <a:pt x="0" y="447086"/>
                  </a:cubicBezTo>
                  <a:lnTo>
                    <a:pt x="0" y="48633"/>
                  </a:lnTo>
                  <a:cubicBezTo>
                    <a:pt x="0" y="21774"/>
                    <a:pt x="21774" y="0"/>
                    <a:pt x="48633" y="0"/>
                  </a:cubicBezTo>
                  <a:close/>
                </a:path>
              </a:pathLst>
            </a:custGeom>
            <a:solidFill>
              <a:srgbClr val="F58366"/>
            </a:solidFill>
          </p:spPr>
        </p:sp>
        <p:sp>
          <p:nvSpPr>
            <p:cNvPr id="10" name="TextBox 10"/>
            <p:cNvSpPr txBox="1"/>
            <p:nvPr/>
          </p:nvSpPr>
          <p:spPr>
            <a:xfrm>
              <a:off x="0" y="-47625"/>
              <a:ext cx="2138281" cy="543344"/>
            </a:xfrm>
            <a:prstGeom prst="rect">
              <a:avLst/>
            </a:prstGeom>
          </p:spPr>
          <p:txBody>
            <a:bodyPr lIns="33867" tIns="33867" rIns="33867" bIns="33867" rtlCol="0" anchor="ctr"/>
            <a:lstStyle/>
            <a:p>
              <a:pPr algn="ctr">
                <a:lnSpc>
                  <a:spcPts val="2799"/>
                </a:lnSpc>
                <a:spcBef>
                  <a:spcPct val="0"/>
                </a:spcBef>
              </a:pPr>
              <a:r>
                <a:rPr lang="en-US" sz="1950">
                  <a:solidFill>
                    <a:srgbClr val="FFFFFF"/>
                  </a:solidFill>
                  <a:latin typeface="Canva Sans Bold"/>
                </a:rPr>
                <a:t>Scripts to optimize </a:t>
              </a:r>
              <a:r>
                <a:rPr lang="en-US" sz="1950" err="1">
                  <a:solidFill>
                    <a:srgbClr val="FFFFFF"/>
                  </a:solidFill>
                  <a:latin typeface="Canva Sans Bold"/>
                </a:rPr>
                <a:t>REaL</a:t>
              </a:r>
              <a:r>
                <a:rPr lang="en-US" sz="1950">
                  <a:solidFill>
                    <a:srgbClr val="FFFFFF"/>
                  </a:solidFill>
                  <a:latin typeface="Canva Sans Bold"/>
                </a:rPr>
                <a:t> data collection </a:t>
              </a:r>
              <a:endParaRPr lang="en-US" sz="1999">
                <a:solidFill>
                  <a:srgbClr val="FFFFFF"/>
                </a:solidFill>
                <a:latin typeface="Canva Sans Bold"/>
              </a:endParaRPr>
            </a:p>
          </p:txBody>
        </p:sp>
      </p:grpSp>
      <p:grpSp>
        <p:nvGrpSpPr>
          <p:cNvPr id="11" name="Group 11"/>
          <p:cNvGrpSpPr/>
          <p:nvPr/>
        </p:nvGrpSpPr>
        <p:grpSpPr>
          <a:xfrm>
            <a:off x="6371651" y="4158415"/>
            <a:ext cx="5498358" cy="1269772"/>
            <a:chOff x="0" y="0"/>
            <a:chExt cx="2172191" cy="501638"/>
          </a:xfrm>
        </p:grpSpPr>
        <p:sp>
          <p:nvSpPr>
            <p:cNvPr id="12" name="Freeform 12"/>
            <p:cNvSpPr/>
            <p:nvPr/>
          </p:nvSpPr>
          <p:spPr>
            <a:xfrm>
              <a:off x="0" y="0"/>
              <a:ext cx="2172191" cy="501638"/>
            </a:xfrm>
            <a:custGeom>
              <a:avLst/>
              <a:gdLst/>
              <a:ahLst/>
              <a:cxnLst/>
              <a:rect l="l" t="t" r="r" b="b"/>
              <a:pathLst>
                <a:path w="2172191" h="501638">
                  <a:moveTo>
                    <a:pt x="47873" y="0"/>
                  </a:moveTo>
                  <a:lnTo>
                    <a:pt x="2124317" y="0"/>
                  </a:lnTo>
                  <a:cubicBezTo>
                    <a:pt x="2150757" y="0"/>
                    <a:pt x="2172191" y="21434"/>
                    <a:pt x="2172191" y="47873"/>
                  </a:cubicBezTo>
                  <a:lnTo>
                    <a:pt x="2172191" y="453765"/>
                  </a:lnTo>
                  <a:cubicBezTo>
                    <a:pt x="2172191" y="466462"/>
                    <a:pt x="2167147" y="478638"/>
                    <a:pt x="2158169" y="487616"/>
                  </a:cubicBezTo>
                  <a:cubicBezTo>
                    <a:pt x="2149191" y="496594"/>
                    <a:pt x="2137014" y="501638"/>
                    <a:pt x="2124317" y="501638"/>
                  </a:cubicBezTo>
                  <a:lnTo>
                    <a:pt x="47873" y="501638"/>
                  </a:lnTo>
                  <a:cubicBezTo>
                    <a:pt x="21434" y="501638"/>
                    <a:pt x="0" y="480205"/>
                    <a:pt x="0" y="453765"/>
                  </a:cubicBezTo>
                  <a:lnTo>
                    <a:pt x="0" y="47873"/>
                  </a:lnTo>
                  <a:cubicBezTo>
                    <a:pt x="0" y="21434"/>
                    <a:pt x="21434" y="0"/>
                    <a:pt x="47873" y="0"/>
                  </a:cubicBezTo>
                  <a:close/>
                </a:path>
              </a:pathLst>
            </a:custGeom>
            <a:solidFill>
              <a:srgbClr val="6B95FD"/>
            </a:solidFill>
          </p:spPr>
        </p:sp>
        <p:sp>
          <p:nvSpPr>
            <p:cNvPr id="13" name="TextBox 13"/>
            <p:cNvSpPr txBox="1"/>
            <p:nvPr/>
          </p:nvSpPr>
          <p:spPr>
            <a:xfrm>
              <a:off x="0" y="-57150"/>
              <a:ext cx="2172191" cy="558788"/>
            </a:xfrm>
            <a:prstGeom prst="rect">
              <a:avLst/>
            </a:prstGeom>
          </p:spPr>
          <p:txBody>
            <a:bodyPr lIns="33867" tIns="33867" rIns="33867" bIns="33867" rtlCol="0" anchor="ctr"/>
            <a:lstStyle/>
            <a:p>
              <a:pPr algn="ctr">
                <a:lnSpc>
                  <a:spcPts val="2800"/>
                </a:lnSpc>
              </a:pPr>
              <a:r>
                <a:rPr lang="en-US" sz="2000">
                  <a:solidFill>
                    <a:srgbClr val="FFFFFF"/>
                  </a:solidFill>
                  <a:latin typeface="Canva Sans Bold"/>
                </a:rPr>
                <a:t>Standardized process to review, analyze and share data stratified by race, ethnicity and insurance status</a:t>
              </a:r>
            </a:p>
          </p:txBody>
        </p:sp>
      </p:grpSp>
      <p:sp>
        <p:nvSpPr>
          <p:cNvPr id="14" name="Freeform 14"/>
          <p:cNvSpPr/>
          <p:nvPr/>
        </p:nvSpPr>
        <p:spPr>
          <a:xfrm>
            <a:off x="6598334" y="5568880"/>
            <a:ext cx="1206641" cy="1206641"/>
          </a:xfrm>
          <a:custGeom>
            <a:avLst/>
            <a:gdLst/>
            <a:ahLst/>
            <a:cxnLst/>
            <a:rect l="l" t="t" r="r" b="b"/>
            <a:pathLst>
              <a:path w="1809962" h="1809962">
                <a:moveTo>
                  <a:pt x="0" y="0"/>
                </a:moveTo>
                <a:lnTo>
                  <a:pt x="1809963" y="0"/>
                </a:lnTo>
                <a:lnTo>
                  <a:pt x="1809963" y="1809962"/>
                </a:lnTo>
                <a:lnTo>
                  <a:pt x="0" y="1809962"/>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15" name="Freeform 15"/>
          <p:cNvSpPr/>
          <p:nvPr/>
        </p:nvSpPr>
        <p:spPr>
          <a:xfrm>
            <a:off x="6686809" y="2811648"/>
            <a:ext cx="1118167" cy="1118167"/>
          </a:xfrm>
          <a:custGeom>
            <a:avLst/>
            <a:gdLst/>
            <a:ahLst/>
            <a:cxnLst/>
            <a:rect l="l" t="t" r="r" b="b"/>
            <a:pathLst>
              <a:path w="1677250" h="1677250">
                <a:moveTo>
                  <a:pt x="0" y="0"/>
                </a:moveTo>
                <a:lnTo>
                  <a:pt x="1677250" y="0"/>
                </a:lnTo>
                <a:lnTo>
                  <a:pt x="1677250" y="1677250"/>
                </a:lnTo>
                <a:lnTo>
                  <a:pt x="0" y="167725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16" name="Freeform 16"/>
          <p:cNvSpPr/>
          <p:nvPr/>
        </p:nvSpPr>
        <p:spPr>
          <a:xfrm>
            <a:off x="239914" y="4232182"/>
            <a:ext cx="1122238" cy="1122238"/>
          </a:xfrm>
          <a:custGeom>
            <a:avLst/>
            <a:gdLst/>
            <a:ahLst/>
            <a:cxnLst/>
            <a:rect l="l" t="t" r="r" b="b"/>
            <a:pathLst>
              <a:path w="1683357" h="1683357">
                <a:moveTo>
                  <a:pt x="0" y="0"/>
                </a:moveTo>
                <a:lnTo>
                  <a:pt x="1683356" y="0"/>
                </a:lnTo>
                <a:lnTo>
                  <a:pt x="1683356" y="1683357"/>
                </a:lnTo>
                <a:lnTo>
                  <a:pt x="0" y="1683357"/>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17" name="TextBox 17"/>
          <p:cNvSpPr txBox="1"/>
          <p:nvPr/>
        </p:nvSpPr>
        <p:spPr>
          <a:xfrm>
            <a:off x="468961" y="709667"/>
            <a:ext cx="1786382"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18" name="TextBox 18"/>
          <p:cNvSpPr txBox="1"/>
          <p:nvPr/>
        </p:nvSpPr>
        <p:spPr>
          <a:xfrm>
            <a:off x="3596711" y="527421"/>
            <a:ext cx="2947383" cy="721159"/>
          </a:xfrm>
          <a:prstGeom prst="rect">
            <a:avLst/>
          </a:prstGeom>
        </p:spPr>
        <p:txBody>
          <a:bodyPr lIns="0" tIns="0" rIns="0" bIns="0" rtlCol="0" anchor="t">
            <a:spAutoFit/>
          </a:bodyPr>
          <a:lstStyle/>
          <a:p>
            <a:pPr algn="ctr">
              <a:lnSpc>
                <a:spcPts val="2787"/>
              </a:lnSpc>
            </a:pPr>
            <a:r>
              <a:rPr lang="en-US" sz="2500" b="1">
                <a:solidFill>
                  <a:srgbClr val="545454"/>
                </a:solidFill>
                <a:latin typeface="DM Sans"/>
              </a:rPr>
              <a:t>Healthcare Data Utilization</a:t>
            </a:r>
          </a:p>
        </p:txBody>
      </p:sp>
      <p:sp>
        <p:nvSpPr>
          <p:cNvPr id="19" name="TextBox 19"/>
          <p:cNvSpPr txBox="1"/>
          <p:nvPr/>
        </p:nvSpPr>
        <p:spPr>
          <a:xfrm>
            <a:off x="7616512" y="517087"/>
            <a:ext cx="2704723"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20" name="TextBox 20"/>
          <p:cNvSpPr txBox="1"/>
          <p:nvPr/>
        </p:nvSpPr>
        <p:spPr>
          <a:xfrm>
            <a:off x="1379866" y="3743743"/>
            <a:ext cx="4433689" cy="1980350"/>
          </a:xfrm>
          <a:prstGeom prst="rect">
            <a:avLst/>
          </a:prstGeom>
        </p:spPr>
        <p:txBody>
          <a:bodyPr lIns="0" tIns="0" rIns="0" bIns="0" rtlCol="0" anchor="t">
            <a:spAutoFit/>
          </a:bodyPr>
          <a:lstStyle/>
          <a:p>
            <a:pPr>
              <a:lnSpc>
                <a:spcPts val="2613"/>
              </a:lnSpc>
            </a:pPr>
            <a:r>
              <a:rPr lang="en-US" sz="1850">
                <a:solidFill>
                  <a:srgbClr val="000000"/>
                </a:solidFill>
                <a:latin typeface="Barlow Semi-Bold"/>
              </a:rPr>
              <a:t>American Hospital Association</a:t>
            </a:r>
          </a:p>
          <a:p>
            <a:pPr marL="402590" lvl="1" indent="-201295">
              <a:lnSpc>
                <a:spcPts val="2613"/>
              </a:lnSpc>
              <a:buFont typeface="Arial"/>
              <a:buChar char="•"/>
            </a:pPr>
            <a:r>
              <a:rPr lang="en-US" sz="1850">
                <a:solidFill>
                  <a:srgbClr val="000000"/>
                </a:solidFill>
                <a:latin typeface="Barlow Semi-Bold"/>
              </a:rPr>
              <a:t>Optimizing </a:t>
            </a:r>
            <a:r>
              <a:rPr lang="en-US" sz="1850" err="1">
                <a:solidFill>
                  <a:srgbClr val="000000"/>
                </a:solidFill>
                <a:latin typeface="Barlow Semi-Bold"/>
              </a:rPr>
              <a:t>REaL</a:t>
            </a:r>
            <a:r>
              <a:rPr lang="en-US" sz="1850">
                <a:solidFill>
                  <a:srgbClr val="000000"/>
                </a:solidFill>
                <a:latin typeface="Barlow Semi-Bold"/>
              </a:rPr>
              <a:t> data collection</a:t>
            </a:r>
          </a:p>
          <a:p>
            <a:pPr marL="859790" lvl="2" indent="-201295">
              <a:lnSpc>
                <a:spcPts val="2613"/>
              </a:lnSpc>
              <a:buFont typeface="Arial"/>
              <a:buChar char="•"/>
            </a:pPr>
            <a:r>
              <a:rPr lang="en-US" sz="1850">
                <a:solidFill>
                  <a:srgbClr val="000000"/>
                </a:solidFill>
                <a:latin typeface="Barlow Semi-Bold"/>
              </a:rPr>
              <a:t>Developing a methodology for data collection</a:t>
            </a:r>
          </a:p>
          <a:p>
            <a:pPr marL="402590" lvl="1" indent="-201295">
              <a:lnSpc>
                <a:spcPts val="2613"/>
              </a:lnSpc>
              <a:buFont typeface="Arial"/>
              <a:buChar char="•"/>
            </a:pPr>
            <a:r>
              <a:rPr lang="en-US" sz="1850">
                <a:solidFill>
                  <a:srgbClr val="000000"/>
                </a:solidFill>
                <a:latin typeface="Barlow Semi-Bold"/>
              </a:rPr>
              <a:t>Equity Care Report</a:t>
            </a:r>
          </a:p>
          <a:p>
            <a:pPr>
              <a:lnSpc>
                <a:spcPts val="2613"/>
              </a:lnSpc>
            </a:pPr>
            <a:r>
              <a:rPr lang="en-US" sz="1850">
                <a:solidFill>
                  <a:srgbClr val="000000"/>
                </a:solidFill>
                <a:latin typeface="Barlow Semi-Bold"/>
              </a:rPr>
              <a:t>Newborn Race and Ethnicity Data Collection</a:t>
            </a:r>
          </a:p>
        </p:txBody>
      </p:sp>
      <p:sp>
        <p:nvSpPr>
          <p:cNvPr id="21" name="TextBox 21"/>
          <p:cNvSpPr txBox="1"/>
          <p:nvPr/>
        </p:nvSpPr>
        <p:spPr>
          <a:xfrm>
            <a:off x="7922933" y="2747857"/>
            <a:ext cx="4269067" cy="1313501"/>
          </a:xfrm>
          <a:prstGeom prst="rect">
            <a:avLst/>
          </a:prstGeom>
        </p:spPr>
        <p:txBody>
          <a:bodyPr lIns="0" tIns="0" rIns="0" bIns="0" rtlCol="0" anchor="t">
            <a:spAutoFit/>
          </a:bodyPr>
          <a:lstStyle/>
          <a:p>
            <a:pPr>
              <a:lnSpc>
                <a:spcPts val="2613"/>
              </a:lnSpc>
            </a:pPr>
            <a:r>
              <a:rPr lang="en-US" sz="1850">
                <a:solidFill>
                  <a:srgbClr val="000000"/>
                </a:solidFill>
                <a:latin typeface="Barlow Semi-Bold"/>
              </a:rPr>
              <a:t>American Hospital Association</a:t>
            </a:r>
          </a:p>
          <a:p>
            <a:pPr marL="402590" lvl="1" indent="-201295">
              <a:lnSpc>
                <a:spcPts val="2613"/>
              </a:lnSpc>
              <a:buFont typeface="Arial"/>
              <a:buChar char="•"/>
            </a:pPr>
            <a:r>
              <a:rPr lang="en-US" sz="1850">
                <a:solidFill>
                  <a:srgbClr val="000000"/>
                </a:solidFill>
                <a:latin typeface="Barlow Semi-Bold"/>
              </a:rPr>
              <a:t>Staff training and script examples</a:t>
            </a:r>
          </a:p>
          <a:p>
            <a:pPr marL="859790" lvl="2" indent="-201295">
              <a:lnSpc>
                <a:spcPts val="2613"/>
              </a:lnSpc>
              <a:buFont typeface="Arial"/>
              <a:buChar char="•"/>
            </a:pPr>
            <a:r>
              <a:rPr lang="en-US" sz="1850">
                <a:solidFill>
                  <a:srgbClr val="000000"/>
                </a:solidFill>
                <a:latin typeface="Barlow Semi-Bold"/>
              </a:rPr>
              <a:t>How to ask questions regarding race and ethnicity</a:t>
            </a:r>
          </a:p>
        </p:txBody>
      </p:sp>
      <p:sp>
        <p:nvSpPr>
          <p:cNvPr id="22" name="TextBox 22"/>
          <p:cNvSpPr txBox="1"/>
          <p:nvPr/>
        </p:nvSpPr>
        <p:spPr>
          <a:xfrm>
            <a:off x="7801439" y="5729991"/>
            <a:ext cx="4658255" cy="1312988"/>
          </a:xfrm>
          <a:prstGeom prst="rect">
            <a:avLst/>
          </a:prstGeom>
        </p:spPr>
        <p:txBody>
          <a:bodyPr wrap="square" lIns="0" tIns="0" rIns="0" bIns="0" rtlCol="0" anchor="t">
            <a:spAutoFit/>
          </a:bodyPr>
          <a:lstStyle/>
          <a:p>
            <a:pPr>
              <a:lnSpc>
                <a:spcPts val="2613"/>
              </a:lnSpc>
            </a:pPr>
            <a:r>
              <a:rPr lang="en-US" sz="1900">
                <a:solidFill>
                  <a:srgbClr val="000000"/>
                </a:solidFill>
                <a:latin typeface="Barlow SemiCondensed"/>
                <a:ea typeface="+mn-lt"/>
                <a:cs typeface="+mn-lt"/>
              </a:rPr>
              <a:t>American Hospital Association</a:t>
            </a:r>
          </a:p>
          <a:p>
            <a:pPr marL="402590" lvl="1" indent="-201295">
              <a:lnSpc>
                <a:spcPts val="2613"/>
              </a:lnSpc>
              <a:buFont typeface="Arial,Sans-Serif"/>
              <a:buChar char="•"/>
            </a:pPr>
            <a:r>
              <a:rPr lang="en-US" sz="1900">
                <a:latin typeface="Barlow SemiCondensed"/>
                <a:ea typeface="+mn-lt"/>
                <a:cs typeface="+mn-lt"/>
              </a:rPr>
              <a:t>Equity of Care: A Toolkit for Eliminating Health Care Disparities</a:t>
            </a:r>
            <a:endParaRPr lang="en-US" sz="1900">
              <a:latin typeface="Barlow SemiCondensed"/>
              <a:cs typeface="Arial"/>
            </a:endParaRPr>
          </a:p>
          <a:p>
            <a:pPr>
              <a:lnSpc>
                <a:spcPts val="2613"/>
              </a:lnSpc>
            </a:pPr>
            <a:endParaRPr lang="en-US" sz="1850">
              <a:solidFill>
                <a:srgbClr val="000000"/>
              </a:solidFill>
              <a:latin typeface="Barlow Semi-Bold"/>
            </a:endParaRPr>
          </a:p>
        </p:txBody>
      </p:sp>
      <p:sp>
        <p:nvSpPr>
          <p:cNvPr id="24" name="Freeform 21">
            <a:extLst>
              <a:ext uri="{FF2B5EF4-FFF2-40B4-BE49-F238E27FC236}">
                <a16:creationId xmlns:a16="http://schemas.microsoft.com/office/drawing/2014/main" id="{A8E8476A-44CA-2C4D-B3E7-31C44865373F}"/>
              </a:ext>
            </a:extLst>
          </p:cNvPr>
          <p:cNvSpPr/>
          <p:nvPr/>
        </p:nvSpPr>
        <p:spPr>
          <a:xfrm>
            <a:off x="10266940" y="209244"/>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5"/>
            <a:stretch>
              <a:fillRect/>
            </a:stretch>
          </a:blipFill>
        </p:spPr>
      </p:sp>
    </p:spTree>
    <p:extLst>
      <p:ext uri="{BB962C8B-B14F-4D97-AF65-F5344CB8AC3E}">
        <p14:creationId xmlns:p14="http://schemas.microsoft.com/office/powerpoint/2010/main" val="3561966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429CC-FC8C-ECA7-15C8-7563C27BFB95}"/>
              </a:ext>
            </a:extLst>
          </p:cNvPr>
          <p:cNvSpPr>
            <a:spLocks noGrp="1"/>
          </p:cNvSpPr>
          <p:nvPr>
            <p:ph type="title"/>
          </p:nvPr>
        </p:nvSpPr>
        <p:spPr/>
        <p:txBody>
          <a:bodyPr/>
          <a:lstStyle/>
          <a:p>
            <a:r>
              <a:rPr lang="en-US" sz="4800">
                <a:ea typeface="Lato Medium"/>
                <a:cs typeface="Lato Medium"/>
              </a:rPr>
              <a:t>ESSI 10 Steps to Getting Started</a:t>
            </a:r>
            <a:endParaRPr lang="en-US" sz="4800"/>
          </a:p>
        </p:txBody>
      </p:sp>
      <p:sp>
        <p:nvSpPr>
          <p:cNvPr id="3" name="Subtitle 2">
            <a:extLst>
              <a:ext uri="{FF2B5EF4-FFF2-40B4-BE49-F238E27FC236}">
                <a16:creationId xmlns:a16="http://schemas.microsoft.com/office/drawing/2014/main" id="{C0454086-94BF-0693-766D-F1659194519A}"/>
              </a:ext>
            </a:extLst>
          </p:cNvPr>
          <p:cNvSpPr>
            <a:spLocks noGrp="1"/>
          </p:cNvSpPr>
          <p:nvPr>
            <p:ph type="subTitle" idx="1"/>
          </p:nvPr>
        </p:nvSpPr>
        <p:spPr/>
        <p:txBody>
          <a:bodyPr vert="horz" lIns="91440" tIns="45720" rIns="91440" bIns="45720" rtlCol="0" anchor="t">
            <a:noAutofit/>
          </a:bodyPr>
          <a:lstStyle/>
          <a:p>
            <a:r>
              <a:rPr lang="en-US" sz="3200">
                <a:ea typeface="Lato"/>
                <a:cs typeface="Lato"/>
              </a:rPr>
              <a:t>The ESSI Road to Success </a:t>
            </a:r>
          </a:p>
        </p:txBody>
      </p:sp>
    </p:spTree>
    <p:extLst>
      <p:ext uri="{BB962C8B-B14F-4D97-AF65-F5344CB8AC3E}">
        <p14:creationId xmlns:p14="http://schemas.microsoft.com/office/powerpoint/2010/main" val="3745706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D5AD0-4A67-B828-DEC5-1146004A7755}"/>
              </a:ext>
            </a:extLst>
          </p:cNvPr>
          <p:cNvSpPr>
            <a:spLocks noGrp="1"/>
          </p:cNvSpPr>
          <p:nvPr>
            <p:ph type="title"/>
          </p:nvPr>
        </p:nvSpPr>
        <p:spPr/>
        <p:txBody>
          <a:bodyPr/>
          <a:lstStyle/>
          <a:p>
            <a:r>
              <a:rPr lang="en-US" sz="4800">
                <a:ea typeface="Lato Medium"/>
                <a:cs typeface="Lato Medium"/>
              </a:rPr>
              <a:t>ILPQC BINGO Rules</a:t>
            </a:r>
          </a:p>
        </p:txBody>
      </p:sp>
      <p:sp>
        <p:nvSpPr>
          <p:cNvPr id="3" name="Content Placeholder 2">
            <a:extLst>
              <a:ext uri="{FF2B5EF4-FFF2-40B4-BE49-F238E27FC236}">
                <a16:creationId xmlns:a16="http://schemas.microsoft.com/office/drawing/2014/main" id="{38BD8A99-C590-643F-CF50-2EEC68347C9C}"/>
              </a:ext>
            </a:extLst>
          </p:cNvPr>
          <p:cNvSpPr>
            <a:spLocks noGrp="1"/>
          </p:cNvSpPr>
          <p:nvPr>
            <p:ph idx="1"/>
          </p:nvPr>
        </p:nvSpPr>
        <p:spPr>
          <a:xfrm>
            <a:off x="570854" y="2135591"/>
            <a:ext cx="10972800" cy="4351338"/>
          </a:xfrm>
        </p:spPr>
        <p:txBody>
          <a:bodyPr vert="horz" lIns="91440" tIns="45720" rIns="91440" bIns="45720" rtlCol="0" anchor="t">
            <a:noAutofit/>
          </a:bodyPr>
          <a:lstStyle/>
          <a:p>
            <a:r>
              <a:rPr lang="en-US" sz="3200">
                <a:ea typeface="Lato"/>
                <a:cs typeface="Lato"/>
              </a:rPr>
              <a:t>Mark your square when you see the words on a slide</a:t>
            </a:r>
          </a:p>
          <a:p>
            <a:r>
              <a:rPr lang="en-US" sz="3200">
                <a:ea typeface="Lato"/>
                <a:cs typeface="Lato"/>
              </a:rPr>
              <a:t>Call out </a:t>
            </a:r>
            <a:r>
              <a:rPr lang="en-US" sz="3200" b="1">
                <a:ea typeface="Lato"/>
                <a:cs typeface="Lato"/>
              </a:rPr>
              <a:t>ILPQC! </a:t>
            </a:r>
            <a:r>
              <a:rPr lang="en-US" sz="3200">
                <a:ea typeface="Lato"/>
                <a:cs typeface="Lato"/>
              </a:rPr>
              <a:t>when you have 5 in a row - across, down, or diagonally to win road trip snacks for your travels home!</a:t>
            </a:r>
          </a:p>
          <a:p>
            <a:endParaRPr lang="en-US" sz="3200"/>
          </a:p>
          <a:p>
            <a:endParaRPr lang="en-US" sz="3200"/>
          </a:p>
          <a:p>
            <a:endParaRPr lang="en-US" sz="3200"/>
          </a:p>
        </p:txBody>
      </p:sp>
      <p:sp>
        <p:nvSpPr>
          <p:cNvPr id="4" name="Slide Number Placeholder 3">
            <a:extLst>
              <a:ext uri="{FF2B5EF4-FFF2-40B4-BE49-F238E27FC236}">
                <a16:creationId xmlns:a16="http://schemas.microsoft.com/office/drawing/2014/main" id="{8AB10D05-4CB1-414C-7726-2981EE1BFF23}"/>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223E8C27-A82F-C9E6-7CA4-6D8089506FB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719052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3">
                <a:extLst>
                  <a:ext uri="{96DAC541-7B7A-43D3-8B79-37D633B846F1}">
                    <asvg:svgBlip xmlns:asvg="http://schemas.microsoft.com/office/drawing/2016/SVG/main" r:embed="rId4"/>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376744" y="623754"/>
            <a:ext cx="13461234"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 </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1073259" y="4508640"/>
            <a:ext cx="1805395" cy="1302472"/>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Establish </a:t>
            </a:r>
            <a:r>
              <a:rPr lang="en-US" b="1">
                <a:solidFill>
                  <a:srgbClr val="000000"/>
                </a:solidFill>
                <a:latin typeface="Arial Nova"/>
              </a:rPr>
              <a:t>leadership commitment </a:t>
            </a:r>
            <a:r>
              <a:rPr lang="en-US">
                <a:solidFill>
                  <a:srgbClr val="000000"/>
                </a:solidFill>
                <a:latin typeface="Arial Nova"/>
              </a:rPr>
              <a:t>for ESSI</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1</a:t>
            </a:r>
          </a:p>
        </p:txBody>
      </p:sp>
      <p:sp>
        <p:nvSpPr>
          <p:cNvPr id="23" name="TextBox 23"/>
          <p:cNvSpPr txBox="1"/>
          <p:nvPr/>
        </p:nvSpPr>
        <p:spPr>
          <a:xfrm>
            <a:off x="5151615" y="4592145"/>
            <a:ext cx="1716524" cy="1007199"/>
          </a:xfrm>
          <a:prstGeom prst="rect">
            <a:avLst/>
          </a:prstGeom>
        </p:spPr>
        <p:txBody>
          <a:bodyPr wrap="square" lIns="0" tIns="0" rIns="0" bIns="0" rtlCol="0" anchor="t">
            <a:spAutoFit/>
          </a:bodyPr>
          <a:lstStyle/>
          <a:p>
            <a:pPr algn="ctr">
              <a:lnSpc>
                <a:spcPts val="2697"/>
              </a:lnSpc>
              <a:spcBef>
                <a:spcPct val="0"/>
              </a:spcBef>
            </a:pPr>
            <a:r>
              <a:rPr lang="en-US">
                <a:solidFill>
                  <a:srgbClr val="000000"/>
                </a:solidFill>
                <a:latin typeface="Arial Nova"/>
              </a:rPr>
              <a:t>Schedule regular </a:t>
            </a:r>
            <a:r>
              <a:rPr lang="en-US" b="1">
                <a:solidFill>
                  <a:srgbClr val="000000"/>
                </a:solidFill>
                <a:latin typeface="Arial Nova"/>
              </a:rPr>
              <a:t>ESSI QI team meetings</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3</a:t>
            </a:r>
          </a:p>
        </p:txBody>
      </p:sp>
      <p:sp>
        <p:nvSpPr>
          <p:cNvPr id="31" name="TextBox 31"/>
          <p:cNvSpPr txBox="1"/>
          <p:nvPr/>
        </p:nvSpPr>
        <p:spPr>
          <a:xfrm>
            <a:off x="9386131" y="4509026"/>
            <a:ext cx="1951532" cy="1574983"/>
          </a:xfrm>
          <a:prstGeom prst="rect">
            <a:avLst/>
          </a:prstGeom>
        </p:spPr>
        <p:txBody>
          <a:bodyPr wrap="square" lIns="0" tIns="0" rIns="0" bIns="0" rtlCol="0" anchor="t">
            <a:spAutoFit/>
          </a:bodyPr>
          <a:lstStyle/>
          <a:p>
            <a:pPr algn="ctr">
              <a:lnSpc>
                <a:spcPts val="2510"/>
              </a:lnSpc>
              <a:spcBef>
                <a:spcPct val="0"/>
              </a:spcBef>
            </a:pPr>
            <a:r>
              <a:rPr lang="en-US">
                <a:solidFill>
                  <a:srgbClr val="000000"/>
                </a:solidFill>
                <a:latin typeface="Arial Nova"/>
              </a:rPr>
              <a:t>Complete the</a:t>
            </a:r>
            <a:r>
              <a:rPr lang="en-US" b="1">
                <a:solidFill>
                  <a:srgbClr val="000000"/>
                </a:solidFill>
                <a:latin typeface="Arial Nova"/>
              </a:rPr>
              <a:t> ESSI Teams Readiness Survey</a:t>
            </a:r>
            <a:r>
              <a:rPr lang="en-US">
                <a:solidFill>
                  <a:srgbClr val="000000"/>
                </a:solidFill>
                <a:latin typeface="Arial Nova"/>
              </a:rPr>
              <a:t> if you have not done so already </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5</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042082"/>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2</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4</a:t>
            </a:r>
          </a:p>
        </p:txBody>
      </p:sp>
      <p:sp>
        <p:nvSpPr>
          <p:cNvPr id="51" name="TextBox 51"/>
          <p:cNvSpPr txBox="1"/>
          <p:nvPr/>
        </p:nvSpPr>
        <p:spPr>
          <a:xfrm>
            <a:off x="3119049" y="3663480"/>
            <a:ext cx="1964546" cy="1398653"/>
          </a:xfrm>
          <a:prstGeom prst="rect">
            <a:avLst/>
          </a:prstGeom>
        </p:spPr>
        <p:txBody>
          <a:bodyPr lIns="0" tIns="0" rIns="0" bIns="0" rtlCol="0" anchor="t">
            <a:spAutoFit/>
          </a:bodyPr>
          <a:lstStyle/>
          <a:p>
            <a:pPr algn="ctr">
              <a:lnSpc>
                <a:spcPts val="2790"/>
              </a:lnSpc>
              <a:spcBef>
                <a:spcPct val="0"/>
              </a:spcBef>
            </a:pPr>
            <a:r>
              <a:rPr lang="en-US">
                <a:solidFill>
                  <a:srgbClr val="000000"/>
                </a:solidFill>
                <a:latin typeface="Arial Nova"/>
              </a:rPr>
              <a:t>Confirm that your </a:t>
            </a:r>
            <a:r>
              <a:rPr lang="en-US" b="1">
                <a:solidFill>
                  <a:srgbClr val="000000"/>
                </a:solidFill>
                <a:latin typeface="Arial Nova"/>
              </a:rPr>
              <a:t>ESSI QI team roster</a:t>
            </a:r>
            <a:r>
              <a:rPr lang="en-US">
                <a:solidFill>
                  <a:srgbClr val="000000"/>
                </a:solidFill>
                <a:latin typeface="Arial Nova"/>
              </a:rPr>
              <a:t> is complete and up-to-date </a:t>
            </a:r>
          </a:p>
        </p:txBody>
      </p:sp>
      <p:sp>
        <p:nvSpPr>
          <p:cNvPr id="53" name="TextBox 53"/>
          <p:cNvSpPr txBox="1"/>
          <p:nvPr/>
        </p:nvSpPr>
        <p:spPr>
          <a:xfrm>
            <a:off x="7126034" y="3137056"/>
            <a:ext cx="2003723" cy="3059877"/>
          </a:xfrm>
          <a:prstGeom prst="rect">
            <a:avLst/>
          </a:prstGeom>
        </p:spPr>
        <p:txBody>
          <a:bodyPr wrap="square" lIns="0" tIns="0" rIns="0" bIns="0" rtlCol="0" anchor="t">
            <a:spAutoFit/>
          </a:bodyPr>
          <a:lstStyle/>
          <a:p>
            <a:pPr algn="ctr">
              <a:lnSpc>
                <a:spcPts val="2417"/>
              </a:lnSpc>
              <a:spcBef>
                <a:spcPct val="0"/>
              </a:spcBef>
            </a:pPr>
            <a:r>
              <a:rPr lang="en-US">
                <a:solidFill>
                  <a:srgbClr val="000000"/>
                </a:solidFill>
                <a:latin typeface="Arial Nova"/>
              </a:rPr>
              <a:t>Review the </a:t>
            </a:r>
            <a:endParaRPr lang="en-US">
              <a:cs typeface="Calibri"/>
            </a:endParaRPr>
          </a:p>
          <a:p>
            <a:pPr algn="ctr">
              <a:lnSpc>
                <a:spcPts val="2417"/>
              </a:lnSpc>
              <a:spcBef>
                <a:spcPct val="0"/>
              </a:spcBef>
            </a:pPr>
            <a:r>
              <a:rPr lang="en-US" b="1">
                <a:solidFill>
                  <a:srgbClr val="000000"/>
                </a:solidFill>
                <a:latin typeface="Arial Nova"/>
              </a:rPr>
              <a:t>ESSI Monthly Patient and Monthly Hospital Data Collection</a:t>
            </a:r>
            <a:r>
              <a:rPr lang="en-US">
                <a:solidFill>
                  <a:srgbClr val="000000"/>
                </a:solidFill>
                <a:latin typeface="Arial Nova"/>
              </a:rPr>
              <a:t> Forms with your team and discuss strategies for data collection </a:t>
            </a:r>
            <a:endParaRPr lang="en-US">
              <a:cs typeface="Calibri"/>
            </a:endParaRPr>
          </a:p>
        </p:txBody>
      </p:sp>
      <p:grpSp>
        <p:nvGrpSpPr>
          <p:cNvPr id="55" name="Group 55"/>
          <p:cNvGrpSpPr/>
          <p:nvPr/>
        </p:nvGrpSpPr>
        <p:grpSpPr>
          <a:xfrm>
            <a:off x="-446727" y="6199640"/>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25622830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2">
                <a:extLst>
                  <a:ext uri="{96DAC541-7B7A-43D3-8B79-37D633B846F1}">
                    <asvg:svgBlip xmlns:asvg="http://schemas.microsoft.com/office/drawing/2016/SVG/main" r:embed="rId3"/>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247940" y="638131"/>
            <a:ext cx="12460531"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973114" y="4445500"/>
            <a:ext cx="2070379" cy="1569148"/>
          </a:xfrm>
          <a:prstGeom prst="rect">
            <a:avLst/>
          </a:prstGeom>
        </p:spPr>
        <p:txBody>
          <a:bodyPr lIns="0" tIns="0" rIns="0" bIns="0" rtlCol="0" anchor="t">
            <a:spAutoFit/>
          </a:bodyPr>
          <a:lstStyle/>
          <a:p>
            <a:pPr algn="ctr">
              <a:lnSpc>
                <a:spcPts val="2510"/>
              </a:lnSpc>
              <a:spcBef>
                <a:spcPct val="0"/>
              </a:spcBef>
            </a:pPr>
            <a:r>
              <a:rPr lang="en-US">
                <a:solidFill>
                  <a:srgbClr val="000000"/>
                </a:solidFill>
                <a:latin typeface="Arial Nova"/>
              </a:rPr>
              <a:t>Review your current safe sleep and respectful care </a:t>
            </a:r>
            <a:r>
              <a:rPr lang="en-US" b="1">
                <a:solidFill>
                  <a:srgbClr val="000000"/>
                </a:solidFill>
                <a:latin typeface="Arial Nova"/>
              </a:rPr>
              <a:t>provider, nursing, and staff education</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6</a:t>
            </a:r>
          </a:p>
        </p:txBody>
      </p:sp>
      <p:sp>
        <p:nvSpPr>
          <p:cNvPr id="23" name="TextBox 23"/>
          <p:cNvSpPr txBox="1"/>
          <p:nvPr/>
        </p:nvSpPr>
        <p:spPr>
          <a:xfrm>
            <a:off x="5075340" y="4508640"/>
            <a:ext cx="1805395" cy="1303370"/>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Begin the QI work by drafting a </a:t>
            </a:r>
            <a:r>
              <a:rPr lang="en-US" b="1">
                <a:solidFill>
                  <a:srgbClr val="000000"/>
                </a:solidFill>
                <a:latin typeface="Arial Nova"/>
              </a:rPr>
              <a:t>30/60/90-day plan</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8</a:t>
            </a:r>
          </a:p>
        </p:txBody>
      </p:sp>
      <p:sp>
        <p:nvSpPr>
          <p:cNvPr id="31" name="TextBox 31"/>
          <p:cNvSpPr txBox="1"/>
          <p:nvPr/>
        </p:nvSpPr>
        <p:spPr>
          <a:xfrm>
            <a:off x="9386742" y="4506383"/>
            <a:ext cx="1805395" cy="1511183"/>
          </a:xfrm>
          <a:prstGeom prst="rect">
            <a:avLst/>
          </a:prstGeom>
        </p:spPr>
        <p:txBody>
          <a:bodyPr lIns="0" tIns="0" rIns="0" bIns="0" rtlCol="0" anchor="t">
            <a:spAutoFit/>
          </a:bodyPr>
          <a:lstStyle/>
          <a:p>
            <a:pPr algn="ctr">
              <a:lnSpc>
                <a:spcPts val="2417"/>
              </a:lnSpc>
              <a:spcBef>
                <a:spcPct val="0"/>
              </a:spcBef>
            </a:pPr>
            <a:r>
              <a:rPr lang="en-US" b="1">
                <a:solidFill>
                  <a:srgbClr val="000000"/>
                </a:solidFill>
                <a:latin typeface="Arial Nova"/>
              </a:rPr>
              <a:t>Energize and educate</a:t>
            </a:r>
            <a:r>
              <a:rPr lang="en-US">
                <a:solidFill>
                  <a:srgbClr val="000000"/>
                </a:solidFill>
                <a:latin typeface="Arial Nova"/>
              </a:rPr>
              <a:t> your hospital team members about ESSI</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10</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113969"/>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7</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9</a:t>
            </a:r>
          </a:p>
        </p:txBody>
      </p:sp>
      <p:sp>
        <p:nvSpPr>
          <p:cNvPr id="51" name="TextBox 51"/>
          <p:cNvSpPr txBox="1"/>
          <p:nvPr/>
        </p:nvSpPr>
        <p:spPr>
          <a:xfrm>
            <a:off x="3191562" y="3415633"/>
            <a:ext cx="1805395" cy="1894621"/>
          </a:xfrm>
          <a:prstGeom prst="rect">
            <a:avLst/>
          </a:prstGeom>
        </p:spPr>
        <p:txBody>
          <a:bodyPr lIns="0" tIns="0" rIns="0" bIns="0" rtlCol="0" anchor="t">
            <a:spAutoFit/>
          </a:bodyPr>
          <a:lstStyle/>
          <a:p>
            <a:pPr algn="ctr">
              <a:lnSpc>
                <a:spcPts val="2510"/>
              </a:lnSpc>
              <a:spcBef>
                <a:spcPct val="0"/>
              </a:spcBef>
            </a:pPr>
            <a:r>
              <a:rPr lang="en-US" sz="1750">
                <a:solidFill>
                  <a:srgbClr val="000000"/>
                </a:solidFill>
                <a:latin typeface="Arial Nova"/>
              </a:rPr>
              <a:t>Review </a:t>
            </a:r>
            <a:r>
              <a:rPr lang="en-US" sz="1750" b="1">
                <a:solidFill>
                  <a:srgbClr val="000000"/>
                </a:solidFill>
                <a:latin typeface="Arial Nova"/>
              </a:rPr>
              <a:t>key ESSI resources </a:t>
            </a:r>
            <a:r>
              <a:rPr lang="en-US" sz="1750">
                <a:solidFill>
                  <a:srgbClr val="000000"/>
                </a:solidFill>
                <a:latin typeface="Arial Nova"/>
              </a:rPr>
              <a:t>including the Key Driver Diagram and the ESSI Online Toolkit</a:t>
            </a:r>
          </a:p>
        </p:txBody>
      </p:sp>
      <p:sp>
        <p:nvSpPr>
          <p:cNvPr id="53" name="TextBox 53"/>
          <p:cNvSpPr txBox="1"/>
          <p:nvPr/>
        </p:nvSpPr>
        <p:spPr>
          <a:xfrm>
            <a:off x="6978614" y="3464490"/>
            <a:ext cx="2280297" cy="2423740"/>
          </a:xfrm>
          <a:prstGeom prst="rect">
            <a:avLst/>
          </a:prstGeom>
        </p:spPr>
        <p:txBody>
          <a:bodyPr wrap="square" lIns="0" tIns="0" rIns="0" bIns="0" rtlCol="0" anchor="t">
            <a:spAutoFit/>
          </a:bodyPr>
          <a:lstStyle/>
          <a:p>
            <a:pPr algn="ctr">
              <a:lnSpc>
                <a:spcPts val="2137"/>
              </a:lnSpc>
            </a:pPr>
            <a:r>
              <a:rPr lang="en-US">
                <a:solidFill>
                  <a:srgbClr val="000000"/>
                </a:solidFill>
                <a:latin typeface="Arial Nova"/>
              </a:rPr>
              <a:t>Attend the </a:t>
            </a:r>
            <a:endParaRPr lang="en-US"/>
          </a:p>
          <a:p>
            <a:pPr algn="ctr">
              <a:lnSpc>
                <a:spcPts val="2137"/>
              </a:lnSpc>
            </a:pPr>
            <a:r>
              <a:rPr lang="en-US" b="1">
                <a:solidFill>
                  <a:srgbClr val="000000"/>
                </a:solidFill>
                <a:latin typeface="Arial Nova"/>
              </a:rPr>
              <a:t>upcoming ESSI webinars:</a:t>
            </a:r>
            <a:endParaRPr lang="en-US"/>
          </a:p>
          <a:p>
            <a:pPr marL="328930" lvl="1" indent="-164465">
              <a:lnSpc>
                <a:spcPts val="2137"/>
              </a:lnSpc>
              <a:buFont typeface="Arial"/>
              <a:buChar char="•"/>
            </a:pPr>
            <a:r>
              <a:rPr lang="en-US">
                <a:solidFill>
                  <a:srgbClr val="000000"/>
                </a:solidFill>
                <a:latin typeface="Arial Nova"/>
              </a:rPr>
              <a:t>ESSI Initiative Launch call</a:t>
            </a:r>
          </a:p>
          <a:p>
            <a:pPr marL="328930" lvl="1" indent="-164465">
              <a:lnSpc>
                <a:spcPts val="2137"/>
              </a:lnSpc>
              <a:buFont typeface="Arial"/>
              <a:buChar char="•"/>
            </a:pPr>
            <a:r>
              <a:rPr lang="en-US">
                <a:solidFill>
                  <a:srgbClr val="000000"/>
                </a:solidFill>
                <a:latin typeface="Arial Nova"/>
              </a:rPr>
              <a:t> QI Team Leads Support Call</a:t>
            </a:r>
          </a:p>
          <a:p>
            <a:pPr marL="328930" lvl="1" indent="-164465">
              <a:lnSpc>
                <a:spcPts val="2137"/>
              </a:lnSpc>
              <a:buFont typeface="Arial"/>
              <a:buChar char="•"/>
            </a:pPr>
            <a:r>
              <a:rPr lang="en-US">
                <a:solidFill>
                  <a:srgbClr val="000000"/>
                </a:solidFill>
                <a:latin typeface="Arial Nova"/>
              </a:rPr>
              <a:t> ESSI Data Training Webinars </a:t>
            </a:r>
          </a:p>
        </p:txBody>
      </p:sp>
      <p:grpSp>
        <p:nvGrpSpPr>
          <p:cNvPr id="55" name="Group 55"/>
          <p:cNvGrpSpPr/>
          <p:nvPr/>
        </p:nvGrpSpPr>
        <p:grpSpPr>
          <a:xfrm>
            <a:off x="-655494" y="6084818"/>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3472964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descr="Clouds over a road">
            <a:extLst>
              <a:ext uri="{FF2B5EF4-FFF2-40B4-BE49-F238E27FC236}">
                <a16:creationId xmlns:a16="http://schemas.microsoft.com/office/drawing/2014/main" id="{4F03DE1D-DDB8-CDA0-8B03-FFAB4111BF40}"/>
              </a:ext>
            </a:extLst>
          </p:cNvPr>
          <p:cNvPicPr>
            <a:picLocks noChangeAspect="1"/>
          </p:cNvPicPr>
          <p:nvPr/>
        </p:nvPicPr>
        <p:blipFill rotWithShape="1">
          <a:blip r:embed="rId2"/>
          <a:srcRect t="205" r="-2" b="15398"/>
          <a:stretch/>
        </p:blipFill>
        <p:spPr>
          <a:xfrm>
            <a:off x="-3047" y="10"/>
            <a:ext cx="12191999" cy="6857990"/>
          </a:xfrm>
          <a:prstGeom prst="rect">
            <a:avLst/>
          </a:prstGeom>
        </p:spPr>
      </p:pic>
      <p:sp>
        <p:nvSpPr>
          <p:cNvPr id="25" name="Rectangle 24">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A51686-B2DC-CDBE-63AE-C97B6B0DBD66}"/>
              </a:ext>
            </a:extLst>
          </p:cNvPr>
          <p:cNvSpPr>
            <a:spLocks noGrp="1"/>
          </p:cNvSpPr>
          <p:nvPr>
            <p:ph type="title"/>
          </p:nvPr>
        </p:nvSpPr>
        <p:spPr>
          <a:xfrm>
            <a:off x="1097280" y="32555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lnSpc>
                <a:spcPct val="90000"/>
              </a:lnSpc>
            </a:pPr>
            <a:br>
              <a:rPr lang="en-US" sz="5200">
                <a:ea typeface="+mj-ea"/>
                <a:cs typeface="+mj-cs"/>
              </a:rPr>
            </a:br>
            <a:r>
              <a:rPr lang="en-US" sz="5200">
                <a:solidFill>
                  <a:srgbClr val="FFFFFF"/>
                </a:solidFill>
                <a:ea typeface="+mj-ea"/>
                <a:cs typeface="+mj-cs"/>
              </a:rPr>
              <a:t>10 Stops on the Road to ESSI</a:t>
            </a:r>
          </a:p>
        </p:txBody>
      </p:sp>
      <p:sp>
        <p:nvSpPr>
          <p:cNvPr id="3" name="Subtitle 2">
            <a:extLst>
              <a:ext uri="{FF2B5EF4-FFF2-40B4-BE49-F238E27FC236}">
                <a16:creationId xmlns:a16="http://schemas.microsoft.com/office/drawing/2014/main" id="{CBB95935-58B8-573E-DAFB-D9AE51F0FF09}"/>
              </a:ext>
            </a:extLst>
          </p:cNvPr>
          <p:cNvSpPr>
            <a:spLocks noGrp="1"/>
          </p:cNvSpPr>
          <p:nvPr>
            <p:ph type="subTitle" idx="1"/>
          </p:nvPr>
        </p:nvSpPr>
        <p:spPr>
          <a:xfrm>
            <a:off x="1100051" y="4072043"/>
            <a:ext cx="10058400" cy="1282707"/>
          </a:xfrm>
          <a:effectLst>
            <a:outerShdw blurRad="50800" dist="38100" dir="2700000" algn="tl" rotWithShape="0">
              <a:prstClr val="black">
                <a:alpha val="40000"/>
              </a:prstClr>
            </a:outerShdw>
          </a:effectLst>
        </p:spPr>
        <p:txBody>
          <a:bodyPr vert="horz" lIns="91440" tIns="45720" rIns="91440" bIns="45720" rtlCol="0">
            <a:normAutofit/>
          </a:bodyPr>
          <a:lstStyle/>
          <a:p>
            <a:pPr algn="ctr">
              <a:lnSpc>
                <a:spcPct val="90000"/>
              </a:lnSpc>
            </a:pPr>
            <a:endParaRPr lang="en-US">
              <a:solidFill>
                <a:srgbClr val="FFFFFF"/>
              </a:solidFill>
              <a:ea typeface="+mn-ea"/>
              <a:cs typeface="+mn-cs"/>
            </a:endParaRPr>
          </a:p>
        </p:txBody>
      </p:sp>
    </p:spTree>
    <p:extLst>
      <p:ext uri="{BB962C8B-B14F-4D97-AF65-F5344CB8AC3E}">
        <p14:creationId xmlns:p14="http://schemas.microsoft.com/office/powerpoint/2010/main" val="3962270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02686-DF06-3304-66CB-1E21F4D086DC}"/>
              </a:ext>
            </a:extLst>
          </p:cNvPr>
          <p:cNvSpPr>
            <a:spLocks noGrp="1"/>
          </p:cNvSpPr>
          <p:nvPr>
            <p:ph type="title"/>
          </p:nvPr>
        </p:nvSpPr>
        <p:spPr>
          <a:noFill/>
        </p:spPr>
        <p:txBody>
          <a:bodyPr/>
          <a:lstStyle/>
          <a:p>
            <a:r>
              <a:rPr lang="en-US" sz="4800">
                <a:ea typeface="Lato Medium"/>
                <a:cs typeface="Lato Medium"/>
              </a:rPr>
              <a:t>10 Stops on the Road to ESSI</a:t>
            </a:r>
            <a:r>
              <a:rPr lang="en-US">
                <a:ea typeface="Lato Medium"/>
                <a:cs typeface="Lato Medium"/>
              </a:rPr>
              <a:t> </a:t>
            </a:r>
            <a:endParaRPr lang="en-US"/>
          </a:p>
        </p:txBody>
      </p:sp>
      <p:sp>
        <p:nvSpPr>
          <p:cNvPr id="3" name="Content Placeholder 2">
            <a:extLst>
              <a:ext uri="{FF2B5EF4-FFF2-40B4-BE49-F238E27FC236}">
                <a16:creationId xmlns:a16="http://schemas.microsoft.com/office/drawing/2014/main" id="{E7ECD19B-85BC-6652-2856-676802964CFA}"/>
              </a:ext>
            </a:extLst>
          </p:cNvPr>
          <p:cNvSpPr>
            <a:spLocks noGrp="1"/>
          </p:cNvSpPr>
          <p:nvPr>
            <p:ph idx="1"/>
          </p:nvPr>
        </p:nvSpPr>
        <p:spPr>
          <a:xfrm>
            <a:off x="598556" y="1560581"/>
            <a:ext cx="10718382" cy="4381551"/>
          </a:xfrm>
        </p:spPr>
        <p:txBody>
          <a:bodyPr vert="horz" lIns="91440" tIns="45720" rIns="91440" bIns="45720" rtlCol="0" anchor="t">
            <a:noAutofit/>
          </a:bodyPr>
          <a:lstStyle/>
          <a:p>
            <a:r>
              <a:rPr lang="en-US">
                <a:ea typeface="Lato"/>
                <a:cs typeface="Lato"/>
              </a:rPr>
              <a:t>Introduce yourselves to others at your table!</a:t>
            </a:r>
          </a:p>
          <a:p>
            <a:pPr lvl="1">
              <a:buClr>
                <a:srgbClr val="1C498B"/>
              </a:buClr>
            </a:pPr>
            <a:r>
              <a:rPr lang="en-US">
                <a:ea typeface="Lato"/>
                <a:cs typeface="Lato"/>
              </a:rPr>
              <a:t>Name, Role, Institution</a:t>
            </a:r>
          </a:p>
          <a:p>
            <a:r>
              <a:rPr lang="en-US">
                <a:ea typeface="Lato"/>
                <a:cs typeface="Lato"/>
              </a:rPr>
              <a:t>Each table will be assigned one of the 10 steps to getting started</a:t>
            </a:r>
            <a:endParaRPr lang="en-US"/>
          </a:p>
          <a:p>
            <a:r>
              <a:rPr lang="en-US">
                <a:ea typeface="Lato"/>
                <a:cs typeface="Lato"/>
              </a:rPr>
              <a:t>Review the follow-up questions</a:t>
            </a:r>
          </a:p>
          <a:p>
            <a:r>
              <a:rPr lang="en-US">
                <a:ea typeface="Lato"/>
                <a:cs typeface="Lato"/>
              </a:rPr>
              <a:t>Spend </a:t>
            </a:r>
            <a:r>
              <a:rPr lang="en-US" b="1" u="sng">
                <a:ea typeface="Lato"/>
                <a:cs typeface="Lato"/>
              </a:rPr>
              <a:t>15 minutes</a:t>
            </a:r>
            <a:r>
              <a:rPr lang="en-US">
                <a:ea typeface="Lato"/>
                <a:cs typeface="Lato"/>
              </a:rPr>
              <a:t> going around the table and sharing what strategies/steps you will take to implement your assigned step</a:t>
            </a:r>
            <a:endParaRPr lang="en-US"/>
          </a:p>
          <a:p>
            <a:r>
              <a:rPr lang="en-US">
                <a:ea typeface="Lato"/>
                <a:cs typeface="Lato"/>
              </a:rPr>
              <a:t>Take notes</a:t>
            </a:r>
          </a:p>
        </p:txBody>
      </p:sp>
      <p:sp>
        <p:nvSpPr>
          <p:cNvPr id="4" name="Slide Number Placeholder 3">
            <a:extLst>
              <a:ext uri="{FF2B5EF4-FFF2-40B4-BE49-F238E27FC236}">
                <a16:creationId xmlns:a16="http://schemas.microsoft.com/office/drawing/2014/main" id="{40F5AD3A-4F91-A3D3-EA94-9570D38CD45E}"/>
              </a:ext>
            </a:extLst>
          </p:cNvPr>
          <p:cNvSpPr>
            <a:spLocks noGrp="1"/>
          </p:cNvSpPr>
          <p:nvPr>
            <p:ph type="sldNum" sz="quarter" idx="10"/>
          </p:nvPr>
        </p:nvSpPr>
        <p:spPr/>
        <p:txBody>
          <a:bodyPr/>
          <a:lstStyle/>
          <a:p>
            <a:fld id="{97033E4B-E3EB-3D46-B2D8-3159663620FA}" type="slidenum">
              <a:rPr lang="en-US" smtClean="0"/>
              <a:pPr/>
              <a:t>43</a:t>
            </a:fld>
            <a:endParaRPr lang="en-US"/>
          </a:p>
        </p:txBody>
      </p:sp>
      <p:sp>
        <p:nvSpPr>
          <p:cNvPr id="5" name="Footer Placeholder 4">
            <a:extLst>
              <a:ext uri="{FF2B5EF4-FFF2-40B4-BE49-F238E27FC236}">
                <a16:creationId xmlns:a16="http://schemas.microsoft.com/office/drawing/2014/main" id="{26A4BCC1-E735-26C5-1044-0E5747259AF4}"/>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4273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02686-DF06-3304-66CB-1E21F4D086DC}"/>
              </a:ext>
            </a:extLst>
          </p:cNvPr>
          <p:cNvSpPr>
            <a:spLocks noGrp="1"/>
          </p:cNvSpPr>
          <p:nvPr>
            <p:ph type="title"/>
          </p:nvPr>
        </p:nvSpPr>
        <p:spPr>
          <a:noFill/>
        </p:spPr>
        <p:txBody>
          <a:bodyPr/>
          <a:lstStyle/>
          <a:p>
            <a:r>
              <a:rPr lang="en-US" sz="4800">
                <a:ea typeface="Lato Medium"/>
                <a:cs typeface="Lato Medium"/>
              </a:rPr>
              <a:t>Put the Pedal to the Metal!</a:t>
            </a:r>
            <a:endParaRPr lang="en-US"/>
          </a:p>
        </p:txBody>
      </p:sp>
      <p:sp>
        <p:nvSpPr>
          <p:cNvPr id="3" name="Content Placeholder 2">
            <a:extLst>
              <a:ext uri="{FF2B5EF4-FFF2-40B4-BE49-F238E27FC236}">
                <a16:creationId xmlns:a16="http://schemas.microsoft.com/office/drawing/2014/main" id="{E7ECD19B-85BC-6652-2856-676802964CFA}"/>
              </a:ext>
            </a:extLst>
          </p:cNvPr>
          <p:cNvSpPr>
            <a:spLocks noGrp="1"/>
          </p:cNvSpPr>
          <p:nvPr>
            <p:ph idx="1"/>
          </p:nvPr>
        </p:nvSpPr>
        <p:spPr>
          <a:xfrm>
            <a:off x="2547734" y="1850356"/>
            <a:ext cx="6414693" cy="882790"/>
          </a:xfrm>
        </p:spPr>
        <p:txBody>
          <a:bodyPr vert="horz" lIns="91440" tIns="45720" rIns="91440" bIns="45720" rtlCol="0" anchor="t">
            <a:noAutofit/>
          </a:bodyPr>
          <a:lstStyle/>
          <a:p>
            <a:pPr marL="0" indent="0" algn="ctr">
              <a:buNone/>
            </a:pPr>
            <a:r>
              <a:rPr lang="en-US" sz="3600" b="1" dirty="0">
                <a:ea typeface="Lato"/>
                <a:cs typeface="Lato"/>
              </a:rPr>
              <a:t>Lightning McQueen Round</a:t>
            </a:r>
            <a:r>
              <a:rPr lang="en-US" sz="3600" dirty="0">
                <a:ea typeface="Lato"/>
                <a:cs typeface="Lato"/>
              </a:rPr>
              <a:t> </a:t>
            </a:r>
            <a:endParaRPr lang="en-US" sz="3600" dirty="0"/>
          </a:p>
          <a:p>
            <a:pPr marL="0" indent="0" algn="ctr">
              <a:buNone/>
            </a:pPr>
            <a:endParaRPr lang="en-US" sz="3600"/>
          </a:p>
        </p:txBody>
      </p:sp>
      <p:sp>
        <p:nvSpPr>
          <p:cNvPr id="4" name="Slide Number Placeholder 3">
            <a:extLst>
              <a:ext uri="{FF2B5EF4-FFF2-40B4-BE49-F238E27FC236}">
                <a16:creationId xmlns:a16="http://schemas.microsoft.com/office/drawing/2014/main" id="{40F5AD3A-4F91-A3D3-EA94-9570D38CD45E}"/>
              </a:ext>
            </a:extLst>
          </p:cNvPr>
          <p:cNvSpPr>
            <a:spLocks noGrp="1"/>
          </p:cNvSpPr>
          <p:nvPr>
            <p:ph type="sldNum" sz="quarter" idx="10"/>
          </p:nvPr>
        </p:nvSpPr>
        <p:spPr/>
        <p:txBody>
          <a:bodyPr/>
          <a:lstStyle/>
          <a:p>
            <a:fld id="{97033E4B-E3EB-3D46-B2D8-3159663620FA}" type="slidenum">
              <a:rPr lang="en-US" smtClean="0"/>
              <a:pPr/>
              <a:t>44</a:t>
            </a:fld>
            <a:endParaRPr lang="en-US"/>
          </a:p>
        </p:txBody>
      </p:sp>
      <p:sp>
        <p:nvSpPr>
          <p:cNvPr id="5" name="Footer Placeholder 4">
            <a:extLst>
              <a:ext uri="{FF2B5EF4-FFF2-40B4-BE49-F238E27FC236}">
                <a16:creationId xmlns:a16="http://schemas.microsoft.com/office/drawing/2014/main" id="{26A4BCC1-E735-26C5-1044-0E5747259AF4}"/>
              </a:ext>
            </a:extLst>
          </p:cNvPr>
          <p:cNvSpPr>
            <a:spLocks noGrp="1"/>
          </p:cNvSpPr>
          <p:nvPr>
            <p:ph type="ftr" sz="quarter" idx="11"/>
          </p:nvPr>
        </p:nvSpPr>
        <p:spPr/>
        <p:txBody>
          <a:bodyPr/>
          <a:lstStyle/>
          <a:p>
            <a:pPr algn="l"/>
            <a:r>
              <a:rPr lang="en-US"/>
              <a:t>Illinois Perinatal Quality Collaborative</a:t>
            </a:r>
          </a:p>
        </p:txBody>
      </p:sp>
      <p:pic>
        <p:nvPicPr>
          <p:cNvPr id="7" name="Graphic 6" descr="Lightning bolt with solid fill">
            <a:extLst>
              <a:ext uri="{FF2B5EF4-FFF2-40B4-BE49-F238E27FC236}">
                <a16:creationId xmlns:a16="http://schemas.microsoft.com/office/drawing/2014/main" id="{8561AC10-C045-61C5-C572-29E58C8EEF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46976" y="1341865"/>
            <a:ext cx="1676400" cy="1676401"/>
          </a:xfrm>
          <a:prstGeom prst="rect">
            <a:avLst/>
          </a:prstGeom>
        </p:spPr>
      </p:pic>
      <p:sp>
        <p:nvSpPr>
          <p:cNvPr id="10" name="TextBox 9">
            <a:extLst>
              <a:ext uri="{FF2B5EF4-FFF2-40B4-BE49-F238E27FC236}">
                <a16:creationId xmlns:a16="http://schemas.microsoft.com/office/drawing/2014/main" id="{F7DE78CF-32A6-61A0-EEC5-F837E089D3A4}"/>
              </a:ext>
            </a:extLst>
          </p:cNvPr>
          <p:cNvSpPr txBox="1"/>
          <p:nvPr/>
        </p:nvSpPr>
        <p:spPr>
          <a:xfrm>
            <a:off x="6334091" y="3528745"/>
            <a:ext cx="5763698" cy="23202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600"/>
              <a:t>Report to the group the top 2 headlight moments or pit stop strategies from your discussion</a:t>
            </a:r>
            <a:endParaRPr lang="en-US" sz="3600">
              <a:cs typeface="Calibri" panose="020F0502020204030204"/>
            </a:endParaRPr>
          </a:p>
        </p:txBody>
      </p:sp>
      <p:pic>
        <p:nvPicPr>
          <p:cNvPr id="12" name="Graphic 11" descr="Lightning bolt with solid fill">
            <a:extLst>
              <a:ext uri="{FF2B5EF4-FFF2-40B4-BE49-F238E27FC236}">
                <a16:creationId xmlns:a16="http://schemas.microsoft.com/office/drawing/2014/main" id="{9D8440DA-935D-14D8-8E90-E43A542C29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79088" y="1442506"/>
            <a:ext cx="1676400" cy="1676401"/>
          </a:xfrm>
          <a:prstGeom prst="rect">
            <a:avLst/>
          </a:prstGeom>
        </p:spPr>
      </p:pic>
    </p:spTree>
    <p:extLst>
      <p:ext uri="{BB962C8B-B14F-4D97-AF65-F5344CB8AC3E}">
        <p14:creationId xmlns:p14="http://schemas.microsoft.com/office/powerpoint/2010/main" val="24438925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FAC69-62AA-D40E-C4BD-DAD5BF599C69}"/>
              </a:ext>
            </a:extLst>
          </p:cNvPr>
          <p:cNvSpPr>
            <a:spLocks noGrp="1"/>
          </p:cNvSpPr>
          <p:nvPr>
            <p:ph type="title"/>
          </p:nvPr>
        </p:nvSpPr>
        <p:spPr>
          <a:xfrm>
            <a:off x="250167" y="264483"/>
            <a:ext cx="11763554" cy="1325563"/>
          </a:xfrm>
        </p:spPr>
        <p:txBody>
          <a:bodyPr/>
          <a:lstStyle/>
          <a:p>
            <a:r>
              <a:rPr lang="en-US" sz="4800">
                <a:ea typeface="Lato Medium"/>
                <a:cs typeface="Lato Medium"/>
              </a:rPr>
              <a:t>Are we there yet?</a:t>
            </a:r>
            <a:endParaRPr lang="en-US" sz="4800"/>
          </a:p>
        </p:txBody>
      </p:sp>
      <p:sp>
        <p:nvSpPr>
          <p:cNvPr id="4" name="Slide Number Placeholder 3">
            <a:extLst>
              <a:ext uri="{FF2B5EF4-FFF2-40B4-BE49-F238E27FC236}">
                <a16:creationId xmlns:a16="http://schemas.microsoft.com/office/drawing/2014/main" id="{A6804321-19C3-4E7A-6787-14BA1FA8B8B7}"/>
              </a:ext>
            </a:extLst>
          </p:cNvPr>
          <p:cNvSpPr>
            <a:spLocks noGrp="1"/>
          </p:cNvSpPr>
          <p:nvPr>
            <p:ph type="sldNum" sz="quarter" idx="10"/>
          </p:nvPr>
        </p:nvSpPr>
        <p:spPr/>
        <p:txBody>
          <a:bodyPr/>
          <a:lstStyle/>
          <a:p>
            <a:fld id="{97033E4B-E3EB-3D46-B2D8-3159663620FA}" type="slidenum">
              <a:rPr lang="en-US" dirty="0" smtClean="0"/>
              <a:pPr/>
              <a:t>45</a:t>
            </a:fld>
            <a:endParaRPr lang="en-US"/>
          </a:p>
        </p:txBody>
      </p:sp>
      <p:sp>
        <p:nvSpPr>
          <p:cNvPr id="5" name="Footer Placeholder 4">
            <a:extLst>
              <a:ext uri="{FF2B5EF4-FFF2-40B4-BE49-F238E27FC236}">
                <a16:creationId xmlns:a16="http://schemas.microsoft.com/office/drawing/2014/main" id="{8DE7F429-2A58-C1E6-E11A-1744A5DACB80}"/>
              </a:ext>
            </a:extLst>
          </p:cNvPr>
          <p:cNvSpPr>
            <a:spLocks noGrp="1"/>
          </p:cNvSpPr>
          <p:nvPr>
            <p:ph type="ftr" sz="quarter" idx="11"/>
          </p:nvPr>
        </p:nvSpPr>
        <p:spPr/>
        <p:txBody>
          <a:bodyPr/>
          <a:lstStyle/>
          <a:p>
            <a:pPr algn="l"/>
            <a:r>
              <a:rPr lang="en-US"/>
              <a:t>Illinois Perinatal Quality Collaborative</a:t>
            </a:r>
          </a:p>
        </p:txBody>
      </p:sp>
      <p:sp>
        <p:nvSpPr>
          <p:cNvPr id="7" name="Freeform 2">
            <a:extLst>
              <a:ext uri="{FF2B5EF4-FFF2-40B4-BE49-F238E27FC236}">
                <a16:creationId xmlns:a16="http://schemas.microsoft.com/office/drawing/2014/main" id="{34AC275E-5089-514E-9C9A-2E2AEA5984DC}"/>
              </a:ext>
            </a:extLst>
          </p:cNvPr>
          <p:cNvSpPr/>
          <p:nvPr/>
        </p:nvSpPr>
        <p:spPr>
          <a:xfrm>
            <a:off x="1413242" y="3217237"/>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3">
            <a:extLst>
              <a:ext uri="{FF2B5EF4-FFF2-40B4-BE49-F238E27FC236}">
                <a16:creationId xmlns:a16="http://schemas.microsoft.com/office/drawing/2014/main" id="{1E94A74E-F48D-9964-7DBC-266D53D79BD7}"/>
              </a:ext>
            </a:extLst>
          </p:cNvPr>
          <p:cNvSpPr/>
          <p:nvPr/>
        </p:nvSpPr>
        <p:spPr>
          <a:xfrm rot="10800000">
            <a:off x="2956120" y="4028641"/>
            <a:ext cx="1635941" cy="817970"/>
          </a:xfrm>
          <a:custGeom>
            <a:avLst/>
            <a:gdLst/>
            <a:ahLst/>
            <a:cxnLst/>
            <a:rect l="l" t="t" r="r" b="b"/>
            <a:pathLst>
              <a:path w="2453911" h="1226955">
                <a:moveTo>
                  <a:pt x="0" y="0"/>
                </a:moveTo>
                <a:lnTo>
                  <a:pt x="2453910" y="0"/>
                </a:lnTo>
                <a:lnTo>
                  <a:pt x="2453910"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11" name="Freeform 4">
            <a:extLst>
              <a:ext uri="{FF2B5EF4-FFF2-40B4-BE49-F238E27FC236}">
                <a16:creationId xmlns:a16="http://schemas.microsoft.com/office/drawing/2014/main" id="{354E5D08-CD9E-1C3A-A822-3CBB50E73276}"/>
              </a:ext>
            </a:extLst>
          </p:cNvPr>
          <p:cNvSpPr/>
          <p:nvPr/>
        </p:nvSpPr>
        <p:spPr>
          <a:xfrm>
            <a:off x="4502557" y="3217237"/>
            <a:ext cx="1642507" cy="821253"/>
          </a:xfrm>
          <a:custGeom>
            <a:avLst/>
            <a:gdLst/>
            <a:ahLst/>
            <a:cxnLst/>
            <a:rect l="l" t="t" r="r" b="b"/>
            <a:pathLst>
              <a:path w="2463760" h="1231880">
                <a:moveTo>
                  <a:pt x="0" y="0"/>
                </a:moveTo>
                <a:lnTo>
                  <a:pt x="2463760" y="0"/>
                </a:lnTo>
                <a:lnTo>
                  <a:pt x="2463760" y="1231880"/>
                </a:lnTo>
                <a:lnTo>
                  <a:pt x="0" y="123188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3" name="Freeform 5">
            <a:extLst>
              <a:ext uri="{FF2B5EF4-FFF2-40B4-BE49-F238E27FC236}">
                <a16:creationId xmlns:a16="http://schemas.microsoft.com/office/drawing/2014/main" id="{A9A9B183-D094-30AD-0D2B-7B5645C5E40B}"/>
              </a:ext>
            </a:extLst>
          </p:cNvPr>
          <p:cNvSpPr/>
          <p:nvPr/>
        </p:nvSpPr>
        <p:spPr>
          <a:xfrm rot="10800000">
            <a:off x="6061764"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5" name="Freeform 6">
            <a:extLst>
              <a:ext uri="{FF2B5EF4-FFF2-40B4-BE49-F238E27FC236}">
                <a16:creationId xmlns:a16="http://schemas.microsoft.com/office/drawing/2014/main" id="{894DB040-2BC8-265B-339B-5C68F24AE12F}"/>
              </a:ext>
            </a:extLst>
          </p:cNvPr>
          <p:cNvSpPr/>
          <p:nvPr/>
        </p:nvSpPr>
        <p:spPr>
          <a:xfrm>
            <a:off x="7608823" y="3220520"/>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17" name="Freeform 7">
            <a:extLst>
              <a:ext uri="{FF2B5EF4-FFF2-40B4-BE49-F238E27FC236}">
                <a16:creationId xmlns:a16="http://schemas.microsoft.com/office/drawing/2014/main" id="{2EACCEB5-D6C9-3D1D-8AEF-85B292D8DE79}"/>
              </a:ext>
            </a:extLst>
          </p:cNvPr>
          <p:cNvSpPr/>
          <p:nvPr/>
        </p:nvSpPr>
        <p:spPr>
          <a:xfrm rot="10800000">
            <a:off x="9164905"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21" name="Group 8">
            <a:extLst>
              <a:ext uri="{FF2B5EF4-FFF2-40B4-BE49-F238E27FC236}">
                <a16:creationId xmlns:a16="http://schemas.microsoft.com/office/drawing/2014/main" id="{9963B85D-33FB-DD61-B9B5-C10C10D00B65}"/>
              </a:ext>
            </a:extLst>
          </p:cNvPr>
          <p:cNvGrpSpPr/>
          <p:nvPr/>
        </p:nvGrpSpPr>
        <p:grpSpPr>
          <a:xfrm>
            <a:off x="471284" y="1815881"/>
            <a:ext cx="3764272" cy="1243837"/>
            <a:chOff x="-1261016" y="176355"/>
            <a:chExt cx="7528544" cy="2487674"/>
          </a:xfrm>
        </p:grpSpPr>
        <p:sp>
          <p:nvSpPr>
            <p:cNvPr id="19" name="TextBox 9">
              <a:extLst>
                <a:ext uri="{FF2B5EF4-FFF2-40B4-BE49-F238E27FC236}">
                  <a16:creationId xmlns:a16="http://schemas.microsoft.com/office/drawing/2014/main" id="{8F56D947-B18E-6292-FB32-17E6BBE1C7B7}"/>
                </a:ext>
              </a:extLst>
            </p:cNvPr>
            <p:cNvSpPr txBox="1"/>
            <p:nvPr/>
          </p:nvSpPr>
          <p:spPr>
            <a:xfrm>
              <a:off x="-1261016" y="940223"/>
              <a:ext cx="7528544" cy="1723806"/>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Why ESSI? - Understanding the importance of safe sleep and equity at ILPQC's Annual Conference </a:t>
              </a:r>
            </a:p>
          </p:txBody>
        </p:sp>
        <p:sp>
          <p:nvSpPr>
            <p:cNvPr id="20" name="TextBox 10">
              <a:extLst>
                <a:ext uri="{FF2B5EF4-FFF2-40B4-BE49-F238E27FC236}">
                  <a16:creationId xmlns:a16="http://schemas.microsoft.com/office/drawing/2014/main" id="{A9936A2B-2042-0897-3CCF-AC6DEB6DE9D0}"/>
                </a:ext>
              </a:extLst>
            </p:cNvPr>
            <p:cNvSpPr txBox="1"/>
            <p:nvPr/>
          </p:nvSpPr>
          <p:spPr>
            <a:xfrm>
              <a:off x="-757414" y="176355"/>
              <a:ext cx="5063558"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Fall 2022</a:t>
              </a:r>
            </a:p>
          </p:txBody>
        </p:sp>
      </p:grpSp>
      <p:grpSp>
        <p:nvGrpSpPr>
          <p:cNvPr id="25" name="Group 11">
            <a:extLst>
              <a:ext uri="{FF2B5EF4-FFF2-40B4-BE49-F238E27FC236}">
                <a16:creationId xmlns:a16="http://schemas.microsoft.com/office/drawing/2014/main" id="{84391E0C-4D3A-09E7-2ABA-36598B801C9B}"/>
              </a:ext>
            </a:extLst>
          </p:cNvPr>
          <p:cNvGrpSpPr/>
          <p:nvPr/>
        </p:nvGrpSpPr>
        <p:grpSpPr>
          <a:xfrm>
            <a:off x="4341990" y="1809890"/>
            <a:ext cx="2103630" cy="1324475"/>
            <a:chOff x="0" y="188487"/>
            <a:chExt cx="4207261" cy="2648950"/>
          </a:xfrm>
        </p:grpSpPr>
        <p:sp>
          <p:nvSpPr>
            <p:cNvPr id="23" name="TextBox 12">
              <a:extLst>
                <a:ext uri="{FF2B5EF4-FFF2-40B4-BE49-F238E27FC236}">
                  <a16:creationId xmlns:a16="http://schemas.microsoft.com/office/drawing/2014/main" id="{01161B8F-C665-1E6B-2E22-400EFC600810}"/>
                </a:ext>
              </a:extLst>
            </p:cNvPr>
            <p:cNvSpPr txBox="1"/>
            <p:nvPr/>
          </p:nvSpPr>
          <p:spPr>
            <a:xfrm>
              <a:off x="71278" y="1113631"/>
              <a:ext cx="4135983" cy="1723806"/>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Aims, Measures, and Key Driver Diagram development</a:t>
              </a:r>
            </a:p>
          </p:txBody>
        </p:sp>
        <p:sp>
          <p:nvSpPr>
            <p:cNvPr id="24" name="TextBox 13">
              <a:extLst>
                <a:ext uri="{FF2B5EF4-FFF2-40B4-BE49-F238E27FC236}">
                  <a16:creationId xmlns:a16="http://schemas.microsoft.com/office/drawing/2014/main" id="{378FB9EC-AB26-B1B0-02BD-AE745AFFB293}"/>
                </a:ext>
              </a:extLst>
            </p:cNvPr>
            <p:cNvSpPr txBox="1"/>
            <p:nvPr/>
          </p:nvSpPr>
          <p:spPr>
            <a:xfrm>
              <a:off x="0" y="188487"/>
              <a:ext cx="413598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Spring 2023</a:t>
              </a:r>
            </a:p>
          </p:txBody>
        </p:sp>
      </p:grpSp>
      <p:grpSp>
        <p:nvGrpSpPr>
          <p:cNvPr id="29" name="Group 14">
            <a:extLst>
              <a:ext uri="{FF2B5EF4-FFF2-40B4-BE49-F238E27FC236}">
                <a16:creationId xmlns:a16="http://schemas.microsoft.com/office/drawing/2014/main" id="{92440943-7A96-A0EC-DC0D-7F0D07EA8C64}"/>
              </a:ext>
            </a:extLst>
          </p:cNvPr>
          <p:cNvGrpSpPr/>
          <p:nvPr/>
        </p:nvGrpSpPr>
        <p:grpSpPr>
          <a:xfrm>
            <a:off x="7204287" y="1809890"/>
            <a:ext cx="2447522" cy="1325566"/>
            <a:chOff x="686874" y="188487"/>
            <a:chExt cx="6054141" cy="2627980"/>
          </a:xfrm>
        </p:grpSpPr>
        <p:sp>
          <p:nvSpPr>
            <p:cNvPr id="27" name="TextBox 15">
              <a:extLst>
                <a:ext uri="{FF2B5EF4-FFF2-40B4-BE49-F238E27FC236}">
                  <a16:creationId xmlns:a16="http://schemas.microsoft.com/office/drawing/2014/main" id="{5B87A825-28AC-19DC-186C-BA7D37E81650}"/>
                </a:ext>
              </a:extLst>
            </p:cNvPr>
            <p:cNvSpPr txBox="1"/>
            <p:nvPr/>
          </p:nvSpPr>
          <p:spPr>
            <a:xfrm>
              <a:off x="901521" y="1090483"/>
              <a:ext cx="5839494" cy="1725984"/>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Toolkit development with Neonatal CAB and ESSI Planning Group</a:t>
              </a:r>
            </a:p>
          </p:txBody>
        </p:sp>
        <p:sp>
          <p:nvSpPr>
            <p:cNvPr id="28" name="TextBox 16">
              <a:extLst>
                <a:ext uri="{FF2B5EF4-FFF2-40B4-BE49-F238E27FC236}">
                  <a16:creationId xmlns:a16="http://schemas.microsoft.com/office/drawing/2014/main" id="{0240693A-8F53-8305-D292-AD3FA691E14C}"/>
                </a:ext>
              </a:extLst>
            </p:cNvPr>
            <p:cNvSpPr txBox="1"/>
            <p:nvPr/>
          </p:nvSpPr>
          <p:spPr>
            <a:xfrm>
              <a:off x="686874" y="188487"/>
              <a:ext cx="583949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Fall 2023</a:t>
              </a:r>
              <a:endParaRPr lang="en-US" sz="2000" b="1">
                <a:ea typeface="Calibri"/>
                <a:cs typeface="Calibri"/>
              </a:endParaRPr>
            </a:p>
          </p:txBody>
        </p:sp>
      </p:grpSp>
      <p:grpSp>
        <p:nvGrpSpPr>
          <p:cNvPr id="33" name="Group 17">
            <a:extLst>
              <a:ext uri="{FF2B5EF4-FFF2-40B4-BE49-F238E27FC236}">
                <a16:creationId xmlns:a16="http://schemas.microsoft.com/office/drawing/2014/main" id="{F52E758F-ED55-139F-868B-B928D126A7EC}"/>
              </a:ext>
            </a:extLst>
          </p:cNvPr>
          <p:cNvGrpSpPr/>
          <p:nvPr/>
        </p:nvGrpSpPr>
        <p:grpSpPr>
          <a:xfrm>
            <a:off x="2371501" y="5053156"/>
            <a:ext cx="2805179" cy="798964"/>
            <a:chOff x="-590282" y="-348131"/>
            <a:chExt cx="5610357" cy="1597928"/>
          </a:xfrm>
        </p:grpSpPr>
        <p:sp>
          <p:nvSpPr>
            <p:cNvPr id="31" name="TextBox 18">
              <a:extLst>
                <a:ext uri="{FF2B5EF4-FFF2-40B4-BE49-F238E27FC236}">
                  <a16:creationId xmlns:a16="http://schemas.microsoft.com/office/drawing/2014/main" id="{B00CCD8F-9409-7F56-6C3B-CBD3C4B762FE}"/>
                </a:ext>
              </a:extLst>
            </p:cNvPr>
            <p:cNvSpPr txBox="1"/>
            <p:nvPr/>
          </p:nvSpPr>
          <p:spPr>
            <a:xfrm>
              <a:off x="0" y="705801"/>
              <a:ext cx="4086357" cy="543996"/>
            </a:xfrm>
            <a:prstGeom prst="rect">
              <a:avLst/>
            </a:prstGeom>
          </p:spPr>
          <p:txBody>
            <a:bodyPr lIns="0" tIns="0" rIns="0" bIns="0" rtlCol="0" anchor="t">
              <a:spAutoFit/>
            </a:bodyPr>
            <a:lstStyle/>
            <a:p>
              <a:pPr algn="ctr">
                <a:lnSpc>
                  <a:spcPts val="2299"/>
                </a:lnSpc>
              </a:pPr>
              <a:endParaRPr lang="en-US" sz="1500" spc="45">
                <a:solidFill>
                  <a:srgbClr val="191919"/>
                </a:solidFill>
                <a:latin typeface="Aileron"/>
              </a:endParaRPr>
            </a:p>
          </p:txBody>
        </p:sp>
        <p:sp>
          <p:nvSpPr>
            <p:cNvPr id="32" name="TextBox 19">
              <a:extLst>
                <a:ext uri="{FF2B5EF4-FFF2-40B4-BE49-F238E27FC236}">
                  <a16:creationId xmlns:a16="http://schemas.microsoft.com/office/drawing/2014/main" id="{CECEA562-D78B-7FC3-7F3F-C08CB7AF5614}"/>
                </a:ext>
              </a:extLst>
            </p:cNvPr>
            <p:cNvSpPr txBox="1"/>
            <p:nvPr/>
          </p:nvSpPr>
          <p:spPr>
            <a:xfrm>
              <a:off x="-590282" y="-348131"/>
              <a:ext cx="5610357"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Winter 2022/23</a:t>
              </a:r>
            </a:p>
          </p:txBody>
        </p:sp>
      </p:grpSp>
      <p:grpSp>
        <p:nvGrpSpPr>
          <p:cNvPr id="37" name="Group 20">
            <a:extLst>
              <a:ext uri="{FF2B5EF4-FFF2-40B4-BE49-F238E27FC236}">
                <a16:creationId xmlns:a16="http://schemas.microsoft.com/office/drawing/2014/main" id="{DE01A65F-5D1D-9A0E-9734-348694F860D1}"/>
              </a:ext>
            </a:extLst>
          </p:cNvPr>
          <p:cNvGrpSpPr/>
          <p:nvPr/>
        </p:nvGrpSpPr>
        <p:grpSpPr>
          <a:xfrm>
            <a:off x="5867695" y="5054389"/>
            <a:ext cx="2268000" cy="1104649"/>
            <a:chOff x="-62964" y="6069839"/>
            <a:chExt cx="4536000" cy="2209298"/>
          </a:xfrm>
        </p:grpSpPr>
        <p:sp>
          <p:nvSpPr>
            <p:cNvPr id="35" name="TextBox 21">
              <a:extLst>
                <a:ext uri="{FF2B5EF4-FFF2-40B4-BE49-F238E27FC236}">
                  <a16:creationId xmlns:a16="http://schemas.microsoft.com/office/drawing/2014/main" id="{53BCC135-7316-5956-0C96-6C92A1A248BB}"/>
                </a:ext>
              </a:extLst>
            </p:cNvPr>
            <p:cNvSpPr txBox="1"/>
            <p:nvPr/>
          </p:nvSpPr>
          <p:spPr>
            <a:xfrm>
              <a:off x="-62964" y="7123773"/>
              <a:ext cx="4536000" cy="1155364"/>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Data form development and Wave 1 review</a:t>
              </a:r>
            </a:p>
          </p:txBody>
        </p:sp>
        <p:sp>
          <p:nvSpPr>
            <p:cNvPr id="36" name="TextBox 22">
              <a:extLst>
                <a:ext uri="{FF2B5EF4-FFF2-40B4-BE49-F238E27FC236}">
                  <a16:creationId xmlns:a16="http://schemas.microsoft.com/office/drawing/2014/main" id="{2488CD51-A0FD-0F7E-D46C-6D0C2DED559A}"/>
                </a:ext>
              </a:extLst>
            </p:cNvPr>
            <p:cNvSpPr txBox="1"/>
            <p:nvPr/>
          </p:nvSpPr>
          <p:spPr>
            <a:xfrm>
              <a:off x="42930" y="6069839"/>
              <a:ext cx="4349612"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Summer 2023</a:t>
              </a:r>
              <a:endParaRPr lang="en-US" b="1">
                <a:ea typeface="Calibri"/>
                <a:cs typeface="Calibri"/>
              </a:endParaRPr>
            </a:p>
          </p:txBody>
        </p:sp>
      </p:grpSp>
      <p:grpSp>
        <p:nvGrpSpPr>
          <p:cNvPr id="41" name="Group 23">
            <a:extLst>
              <a:ext uri="{FF2B5EF4-FFF2-40B4-BE49-F238E27FC236}">
                <a16:creationId xmlns:a16="http://schemas.microsoft.com/office/drawing/2014/main" id="{61ED38C4-194D-089B-AEF0-A50E211B69E8}"/>
              </a:ext>
            </a:extLst>
          </p:cNvPr>
          <p:cNvGrpSpPr/>
          <p:nvPr/>
        </p:nvGrpSpPr>
        <p:grpSpPr>
          <a:xfrm>
            <a:off x="8842933" y="5049801"/>
            <a:ext cx="2569570" cy="1093511"/>
            <a:chOff x="-643944" y="6155699"/>
            <a:chExt cx="5139139" cy="2187022"/>
          </a:xfrm>
        </p:grpSpPr>
        <p:sp>
          <p:nvSpPr>
            <p:cNvPr id="39" name="TextBox 24">
              <a:extLst>
                <a:ext uri="{FF2B5EF4-FFF2-40B4-BE49-F238E27FC236}">
                  <a16:creationId xmlns:a16="http://schemas.microsoft.com/office/drawing/2014/main" id="{E29ABAB9-1C54-B808-EDD4-5D83CC77687C}"/>
                </a:ext>
              </a:extLst>
            </p:cNvPr>
            <p:cNvSpPr txBox="1"/>
            <p:nvPr/>
          </p:nvSpPr>
          <p:spPr>
            <a:xfrm>
              <a:off x="-300506" y="7187357"/>
              <a:ext cx="4795701" cy="1155364"/>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ESSI Launch at the 2023 Annual Conference</a:t>
              </a:r>
            </a:p>
          </p:txBody>
        </p:sp>
        <p:sp>
          <p:nvSpPr>
            <p:cNvPr id="40" name="TextBox 25">
              <a:extLst>
                <a:ext uri="{FF2B5EF4-FFF2-40B4-BE49-F238E27FC236}">
                  <a16:creationId xmlns:a16="http://schemas.microsoft.com/office/drawing/2014/main" id="{3EDA261B-827E-A431-90A1-0DFB061FA02A}"/>
                </a:ext>
              </a:extLst>
            </p:cNvPr>
            <p:cNvSpPr txBox="1"/>
            <p:nvPr/>
          </p:nvSpPr>
          <p:spPr>
            <a:xfrm>
              <a:off x="-643944" y="6155699"/>
              <a:ext cx="5134489"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Now</a:t>
              </a:r>
              <a:endParaRPr lang="en-US">
                <a:ea typeface="Calibri" panose="020F0502020204030204"/>
                <a:cs typeface="Calibri" panose="020F0502020204030204"/>
              </a:endParaRPr>
            </a:p>
          </p:txBody>
        </p:sp>
      </p:grpSp>
      <p:grpSp>
        <p:nvGrpSpPr>
          <p:cNvPr id="45" name="Group 26">
            <a:extLst>
              <a:ext uri="{FF2B5EF4-FFF2-40B4-BE49-F238E27FC236}">
                <a16:creationId xmlns:a16="http://schemas.microsoft.com/office/drawing/2014/main" id="{48ED7B4F-02F5-CA89-3C02-B80774196C81}"/>
              </a:ext>
            </a:extLst>
          </p:cNvPr>
          <p:cNvGrpSpPr/>
          <p:nvPr/>
        </p:nvGrpSpPr>
        <p:grpSpPr>
          <a:xfrm>
            <a:off x="1783907" y="3581696"/>
            <a:ext cx="884192" cy="883881"/>
            <a:chOff x="0" y="0"/>
            <a:chExt cx="812800" cy="812800"/>
          </a:xfrm>
        </p:grpSpPr>
        <p:sp>
          <p:nvSpPr>
            <p:cNvPr id="43" name="Freeform 27">
              <a:extLst>
                <a:ext uri="{FF2B5EF4-FFF2-40B4-BE49-F238E27FC236}">
                  <a16:creationId xmlns:a16="http://schemas.microsoft.com/office/drawing/2014/main" id="{CF35A0A4-0039-755F-1B80-EE9788671F5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E6D73"/>
              </a:solidFill>
              <a:prstDash val="solid"/>
              <a:miter/>
            </a:ln>
          </p:spPr>
        </p:sp>
        <p:sp>
          <p:nvSpPr>
            <p:cNvPr id="44" name="TextBox 28">
              <a:extLst>
                <a:ext uri="{FF2B5EF4-FFF2-40B4-BE49-F238E27FC236}">
                  <a16:creationId xmlns:a16="http://schemas.microsoft.com/office/drawing/2014/main" id="{A606DE52-7AEA-D875-08E7-CAEF89B2A74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49" name="Group 29">
            <a:extLst>
              <a:ext uri="{FF2B5EF4-FFF2-40B4-BE49-F238E27FC236}">
                <a16:creationId xmlns:a16="http://schemas.microsoft.com/office/drawing/2014/main" id="{12991AF2-37AF-ABF0-A6E7-8BD0013616B5}"/>
              </a:ext>
            </a:extLst>
          </p:cNvPr>
          <p:cNvGrpSpPr/>
          <p:nvPr/>
        </p:nvGrpSpPr>
        <p:grpSpPr>
          <a:xfrm>
            <a:off x="3318636" y="3593718"/>
            <a:ext cx="916391" cy="883259"/>
            <a:chOff x="0" y="0"/>
            <a:chExt cx="812800" cy="812800"/>
          </a:xfrm>
        </p:grpSpPr>
        <p:sp>
          <p:nvSpPr>
            <p:cNvPr id="47" name="Freeform 30">
              <a:extLst>
                <a:ext uri="{FF2B5EF4-FFF2-40B4-BE49-F238E27FC236}">
                  <a16:creationId xmlns:a16="http://schemas.microsoft.com/office/drawing/2014/main" id="{5F9FCCFC-CDE1-158F-92D3-4784174BF07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58366"/>
              </a:solidFill>
              <a:prstDash val="solid"/>
              <a:miter/>
            </a:ln>
          </p:spPr>
        </p:sp>
        <p:sp>
          <p:nvSpPr>
            <p:cNvPr id="48" name="TextBox 31">
              <a:extLst>
                <a:ext uri="{FF2B5EF4-FFF2-40B4-BE49-F238E27FC236}">
                  <a16:creationId xmlns:a16="http://schemas.microsoft.com/office/drawing/2014/main" id="{09B05717-4F37-8035-B30F-9EC46017B27F}"/>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3" name="Group 32">
            <a:extLst>
              <a:ext uri="{FF2B5EF4-FFF2-40B4-BE49-F238E27FC236}">
                <a16:creationId xmlns:a16="http://schemas.microsoft.com/office/drawing/2014/main" id="{5A56A83E-4867-2006-09C5-749B01529CF0}"/>
              </a:ext>
            </a:extLst>
          </p:cNvPr>
          <p:cNvGrpSpPr/>
          <p:nvPr/>
        </p:nvGrpSpPr>
        <p:grpSpPr>
          <a:xfrm>
            <a:off x="4875641" y="3623071"/>
            <a:ext cx="883569" cy="828664"/>
            <a:chOff x="0" y="0"/>
            <a:chExt cx="812800" cy="812800"/>
          </a:xfrm>
        </p:grpSpPr>
        <p:sp>
          <p:nvSpPr>
            <p:cNvPr id="51" name="Freeform 33">
              <a:extLst>
                <a:ext uri="{FF2B5EF4-FFF2-40B4-BE49-F238E27FC236}">
                  <a16:creationId xmlns:a16="http://schemas.microsoft.com/office/drawing/2014/main" id="{3C44E55E-2C90-2C0F-3437-5E2D4076A0F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9C041"/>
              </a:solidFill>
              <a:prstDash val="solid"/>
              <a:miter/>
            </a:ln>
          </p:spPr>
        </p:sp>
        <p:sp>
          <p:nvSpPr>
            <p:cNvPr id="52" name="TextBox 34">
              <a:extLst>
                <a:ext uri="{FF2B5EF4-FFF2-40B4-BE49-F238E27FC236}">
                  <a16:creationId xmlns:a16="http://schemas.microsoft.com/office/drawing/2014/main" id="{D79088AC-E56F-CE05-7DC1-6C9FD8F87610}"/>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7" name="Group 35">
            <a:extLst>
              <a:ext uri="{FF2B5EF4-FFF2-40B4-BE49-F238E27FC236}">
                <a16:creationId xmlns:a16="http://schemas.microsoft.com/office/drawing/2014/main" id="{4611F907-2B0F-5619-629C-5F523BCC6BED}"/>
              </a:ext>
            </a:extLst>
          </p:cNvPr>
          <p:cNvGrpSpPr/>
          <p:nvPr/>
        </p:nvGrpSpPr>
        <p:grpSpPr>
          <a:xfrm>
            <a:off x="6406553" y="3561522"/>
            <a:ext cx="937232" cy="882016"/>
            <a:chOff x="0" y="0"/>
            <a:chExt cx="812800" cy="812800"/>
          </a:xfrm>
        </p:grpSpPr>
        <p:sp>
          <p:nvSpPr>
            <p:cNvPr id="55" name="Freeform 36">
              <a:extLst>
                <a:ext uri="{FF2B5EF4-FFF2-40B4-BE49-F238E27FC236}">
                  <a16:creationId xmlns:a16="http://schemas.microsoft.com/office/drawing/2014/main" id="{DC840300-7E81-AA58-0D00-05597D83485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48CFAE"/>
              </a:solidFill>
              <a:prstDash val="solid"/>
              <a:miter/>
            </a:ln>
          </p:spPr>
        </p:sp>
        <p:sp>
          <p:nvSpPr>
            <p:cNvPr id="56" name="TextBox 37">
              <a:extLst>
                <a:ext uri="{FF2B5EF4-FFF2-40B4-BE49-F238E27FC236}">
                  <a16:creationId xmlns:a16="http://schemas.microsoft.com/office/drawing/2014/main" id="{0A774E7B-8AA7-34A8-16EF-CD5FBD15F4AE}"/>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1" name="Group 38">
            <a:extLst>
              <a:ext uri="{FF2B5EF4-FFF2-40B4-BE49-F238E27FC236}">
                <a16:creationId xmlns:a16="http://schemas.microsoft.com/office/drawing/2014/main" id="{DC18AB80-E27F-8A26-56BA-D3B27C47BD0B}"/>
              </a:ext>
            </a:extLst>
          </p:cNvPr>
          <p:cNvGrpSpPr/>
          <p:nvPr/>
        </p:nvGrpSpPr>
        <p:grpSpPr>
          <a:xfrm>
            <a:off x="7958720" y="3602654"/>
            <a:ext cx="883570" cy="872527"/>
            <a:chOff x="0" y="0"/>
            <a:chExt cx="812800" cy="812800"/>
          </a:xfrm>
        </p:grpSpPr>
        <p:sp>
          <p:nvSpPr>
            <p:cNvPr id="59" name="Freeform 39">
              <a:extLst>
                <a:ext uri="{FF2B5EF4-FFF2-40B4-BE49-F238E27FC236}">
                  <a16:creationId xmlns:a16="http://schemas.microsoft.com/office/drawing/2014/main" id="{C8B65095-F5C1-98FE-0047-07147B5C5AC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2C92D5"/>
              </a:solidFill>
              <a:prstDash val="solid"/>
              <a:miter/>
            </a:ln>
          </p:spPr>
        </p:sp>
        <p:sp>
          <p:nvSpPr>
            <p:cNvPr id="60" name="TextBox 40">
              <a:extLst>
                <a:ext uri="{FF2B5EF4-FFF2-40B4-BE49-F238E27FC236}">
                  <a16:creationId xmlns:a16="http://schemas.microsoft.com/office/drawing/2014/main" id="{C8564D58-A5C3-1A1D-C763-3908E4C1F8F5}"/>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5" name="Group 41">
            <a:extLst>
              <a:ext uri="{FF2B5EF4-FFF2-40B4-BE49-F238E27FC236}">
                <a16:creationId xmlns:a16="http://schemas.microsoft.com/office/drawing/2014/main" id="{48F2CD97-68B4-2B15-281D-9619EA7125C4}"/>
              </a:ext>
            </a:extLst>
          </p:cNvPr>
          <p:cNvGrpSpPr/>
          <p:nvPr/>
        </p:nvGrpSpPr>
        <p:grpSpPr>
          <a:xfrm>
            <a:off x="9494586" y="3550167"/>
            <a:ext cx="948898" cy="894613"/>
            <a:chOff x="0" y="0"/>
            <a:chExt cx="812800" cy="812800"/>
          </a:xfrm>
        </p:grpSpPr>
        <p:sp>
          <p:nvSpPr>
            <p:cNvPr id="63" name="Freeform 42">
              <a:extLst>
                <a:ext uri="{FF2B5EF4-FFF2-40B4-BE49-F238E27FC236}">
                  <a16:creationId xmlns:a16="http://schemas.microsoft.com/office/drawing/2014/main" id="{978EF1B7-7B22-45D7-9909-0DBC0538D22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1C498B"/>
              </a:solidFill>
              <a:prstDash val="solid"/>
              <a:miter/>
            </a:ln>
          </p:spPr>
        </p:sp>
        <p:sp>
          <p:nvSpPr>
            <p:cNvPr id="64" name="TextBox 43">
              <a:extLst>
                <a:ext uri="{FF2B5EF4-FFF2-40B4-BE49-F238E27FC236}">
                  <a16:creationId xmlns:a16="http://schemas.microsoft.com/office/drawing/2014/main" id="{29A23C5B-47FF-08C2-2E52-B4514997C33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sp>
        <p:nvSpPr>
          <p:cNvPr id="3" name="TextBox 2">
            <a:extLst>
              <a:ext uri="{FF2B5EF4-FFF2-40B4-BE49-F238E27FC236}">
                <a16:creationId xmlns:a16="http://schemas.microsoft.com/office/drawing/2014/main" id="{B5F4F3C7-3634-23BA-9CDD-53123F8398D7}"/>
              </a:ext>
            </a:extLst>
          </p:cNvPr>
          <p:cNvSpPr txBox="1"/>
          <p:nvPr/>
        </p:nvSpPr>
        <p:spPr>
          <a:xfrm>
            <a:off x="2535747" y="5601484"/>
            <a:ext cx="239701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500">
                <a:solidFill>
                  <a:srgbClr val="191919"/>
                </a:solidFill>
                <a:latin typeface="Aileron"/>
              </a:rPr>
              <a:t>ESSI Planning Group and Neonatal CAB formed</a:t>
            </a:r>
            <a:endParaRPr lang="en-US"/>
          </a:p>
        </p:txBody>
      </p:sp>
      <p:sp>
        <p:nvSpPr>
          <p:cNvPr id="6" name="Rectangle 5">
            <a:extLst>
              <a:ext uri="{FF2B5EF4-FFF2-40B4-BE49-F238E27FC236}">
                <a16:creationId xmlns:a16="http://schemas.microsoft.com/office/drawing/2014/main" id="{D07E332C-4452-C8D5-59CC-C21023DE9083}"/>
              </a:ext>
            </a:extLst>
          </p:cNvPr>
          <p:cNvSpPr/>
          <p:nvPr/>
        </p:nvSpPr>
        <p:spPr>
          <a:xfrm>
            <a:off x="1186638" y="1724473"/>
            <a:ext cx="1674253" cy="440028"/>
          </a:xfrm>
          <a:prstGeom prst="rect">
            <a:avLst/>
          </a:prstGeom>
          <a:noFill/>
          <a:ln w="57150">
            <a:solidFill>
              <a:srgbClr val="FE6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C3BBD3E-9448-3652-96A9-ECDE432034D9}"/>
              </a:ext>
            </a:extLst>
          </p:cNvPr>
          <p:cNvSpPr/>
          <p:nvPr/>
        </p:nvSpPr>
        <p:spPr>
          <a:xfrm>
            <a:off x="2479183" y="4990563"/>
            <a:ext cx="2511379" cy="450760"/>
          </a:xfrm>
          <a:prstGeom prst="rect">
            <a:avLst/>
          </a:prstGeom>
          <a:noFill/>
          <a:ln w="57150">
            <a:solidFill>
              <a:srgbClr val="F583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B70F3C-3B7D-DA91-5116-9255F65919E1}"/>
              </a:ext>
            </a:extLst>
          </p:cNvPr>
          <p:cNvSpPr/>
          <p:nvPr/>
        </p:nvSpPr>
        <p:spPr>
          <a:xfrm>
            <a:off x="4346619" y="1717182"/>
            <a:ext cx="2049886" cy="461492"/>
          </a:xfrm>
          <a:prstGeom prst="rect">
            <a:avLst/>
          </a:prstGeom>
          <a:noFill/>
          <a:ln w="57150">
            <a:solidFill>
              <a:srgbClr val="F9C0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D89659A-AD9F-79C0-804E-B7B1FF4486E7}"/>
              </a:ext>
            </a:extLst>
          </p:cNvPr>
          <p:cNvSpPr/>
          <p:nvPr/>
        </p:nvSpPr>
        <p:spPr>
          <a:xfrm>
            <a:off x="5870619" y="4990563"/>
            <a:ext cx="2264534" cy="450760"/>
          </a:xfrm>
          <a:prstGeom prst="rect">
            <a:avLst/>
          </a:prstGeom>
          <a:noFill/>
          <a:ln w="57150">
            <a:solidFill>
              <a:srgbClr val="48CFA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B160BE6-4E67-753A-4940-BD15897B2B40}"/>
              </a:ext>
            </a:extLst>
          </p:cNvPr>
          <p:cNvSpPr/>
          <p:nvPr/>
        </p:nvSpPr>
        <p:spPr>
          <a:xfrm>
            <a:off x="7544873" y="1717183"/>
            <a:ext cx="1760112" cy="440028"/>
          </a:xfrm>
          <a:prstGeom prst="rect">
            <a:avLst/>
          </a:prstGeom>
          <a:noFill/>
          <a:ln w="57150">
            <a:solidFill>
              <a:srgbClr val="2C92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6757764-F111-5B0B-44D6-73C8E8CE8603}"/>
              </a:ext>
            </a:extLst>
          </p:cNvPr>
          <p:cNvSpPr/>
          <p:nvPr/>
        </p:nvSpPr>
        <p:spPr>
          <a:xfrm>
            <a:off x="9530365" y="5022760"/>
            <a:ext cx="1191296" cy="386366"/>
          </a:xfrm>
          <a:prstGeom prst="rect">
            <a:avLst/>
          </a:prstGeom>
          <a:noFill/>
          <a:ln w="57150">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3219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3">
                <a:extLst>
                  <a:ext uri="{96DAC541-7B7A-43D3-8B79-37D633B846F1}">
                    <asvg:svgBlip xmlns:asvg="http://schemas.microsoft.com/office/drawing/2016/SVG/main" r:embed="rId4"/>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534895" y="623754"/>
            <a:ext cx="13461234"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 </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1073259" y="4508640"/>
            <a:ext cx="1805395" cy="1302472"/>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Establish </a:t>
            </a:r>
            <a:r>
              <a:rPr lang="en-US" b="1">
                <a:solidFill>
                  <a:srgbClr val="000000"/>
                </a:solidFill>
                <a:latin typeface="Arial Nova"/>
              </a:rPr>
              <a:t>leadership commitment </a:t>
            </a:r>
            <a:r>
              <a:rPr lang="en-US">
                <a:solidFill>
                  <a:srgbClr val="000000"/>
                </a:solidFill>
                <a:latin typeface="Arial Nova"/>
              </a:rPr>
              <a:t>for ESSI</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1</a:t>
            </a:r>
          </a:p>
        </p:txBody>
      </p:sp>
      <p:sp>
        <p:nvSpPr>
          <p:cNvPr id="23" name="TextBox 23"/>
          <p:cNvSpPr txBox="1"/>
          <p:nvPr/>
        </p:nvSpPr>
        <p:spPr>
          <a:xfrm>
            <a:off x="5151615" y="4592145"/>
            <a:ext cx="1716524" cy="1007199"/>
          </a:xfrm>
          <a:prstGeom prst="rect">
            <a:avLst/>
          </a:prstGeom>
        </p:spPr>
        <p:txBody>
          <a:bodyPr wrap="square" lIns="0" tIns="0" rIns="0" bIns="0" rtlCol="0" anchor="t">
            <a:spAutoFit/>
          </a:bodyPr>
          <a:lstStyle/>
          <a:p>
            <a:pPr algn="ctr">
              <a:lnSpc>
                <a:spcPts val="2697"/>
              </a:lnSpc>
              <a:spcBef>
                <a:spcPct val="0"/>
              </a:spcBef>
            </a:pPr>
            <a:r>
              <a:rPr lang="en-US">
                <a:solidFill>
                  <a:srgbClr val="000000"/>
                </a:solidFill>
                <a:latin typeface="Arial Nova"/>
              </a:rPr>
              <a:t>Schedule regular </a:t>
            </a:r>
            <a:r>
              <a:rPr lang="en-US" b="1">
                <a:solidFill>
                  <a:srgbClr val="000000"/>
                </a:solidFill>
                <a:latin typeface="Arial Nova"/>
              </a:rPr>
              <a:t>ESSI QI team meetings</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3</a:t>
            </a:r>
          </a:p>
        </p:txBody>
      </p:sp>
      <p:sp>
        <p:nvSpPr>
          <p:cNvPr id="31" name="TextBox 31"/>
          <p:cNvSpPr txBox="1"/>
          <p:nvPr/>
        </p:nvSpPr>
        <p:spPr>
          <a:xfrm>
            <a:off x="9386131" y="4509026"/>
            <a:ext cx="1951532" cy="1574983"/>
          </a:xfrm>
          <a:prstGeom prst="rect">
            <a:avLst/>
          </a:prstGeom>
        </p:spPr>
        <p:txBody>
          <a:bodyPr wrap="square" lIns="0" tIns="0" rIns="0" bIns="0" rtlCol="0" anchor="t">
            <a:spAutoFit/>
          </a:bodyPr>
          <a:lstStyle/>
          <a:p>
            <a:pPr algn="ctr">
              <a:lnSpc>
                <a:spcPts val="2510"/>
              </a:lnSpc>
              <a:spcBef>
                <a:spcPct val="0"/>
              </a:spcBef>
            </a:pPr>
            <a:r>
              <a:rPr lang="en-US">
                <a:solidFill>
                  <a:srgbClr val="000000"/>
                </a:solidFill>
                <a:latin typeface="Arial Nova"/>
              </a:rPr>
              <a:t>Complete the</a:t>
            </a:r>
            <a:r>
              <a:rPr lang="en-US" b="1">
                <a:solidFill>
                  <a:srgbClr val="000000"/>
                </a:solidFill>
                <a:latin typeface="Arial Nova"/>
              </a:rPr>
              <a:t> ESSI Teams Readiness Survey</a:t>
            </a:r>
            <a:r>
              <a:rPr lang="en-US">
                <a:solidFill>
                  <a:srgbClr val="000000"/>
                </a:solidFill>
                <a:latin typeface="Arial Nova"/>
              </a:rPr>
              <a:t> if you have not done so already </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5</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1970195"/>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2</a:t>
            </a:r>
          </a:p>
        </p:txBody>
      </p:sp>
      <p:sp>
        <p:nvSpPr>
          <p:cNvPr id="50" name="TextBox 50"/>
          <p:cNvSpPr txBox="1"/>
          <p:nvPr/>
        </p:nvSpPr>
        <p:spPr>
          <a:xfrm>
            <a:off x="7743798" y="1918815"/>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4</a:t>
            </a:r>
          </a:p>
        </p:txBody>
      </p:sp>
      <p:sp>
        <p:nvSpPr>
          <p:cNvPr id="51" name="TextBox 51"/>
          <p:cNvSpPr txBox="1"/>
          <p:nvPr/>
        </p:nvSpPr>
        <p:spPr>
          <a:xfrm>
            <a:off x="3119049" y="3663480"/>
            <a:ext cx="1964546" cy="1398653"/>
          </a:xfrm>
          <a:prstGeom prst="rect">
            <a:avLst/>
          </a:prstGeom>
        </p:spPr>
        <p:txBody>
          <a:bodyPr lIns="0" tIns="0" rIns="0" bIns="0" rtlCol="0" anchor="t">
            <a:spAutoFit/>
          </a:bodyPr>
          <a:lstStyle/>
          <a:p>
            <a:pPr algn="ctr">
              <a:lnSpc>
                <a:spcPts val="2790"/>
              </a:lnSpc>
              <a:spcBef>
                <a:spcPct val="0"/>
              </a:spcBef>
            </a:pPr>
            <a:r>
              <a:rPr lang="en-US">
                <a:solidFill>
                  <a:srgbClr val="000000"/>
                </a:solidFill>
                <a:latin typeface="Arial Nova"/>
              </a:rPr>
              <a:t>Confirm that your </a:t>
            </a:r>
            <a:r>
              <a:rPr lang="en-US" b="1">
                <a:solidFill>
                  <a:srgbClr val="000000"/>
                </a:solidFill>
                <a:latin typeface="Arial Nova"/>
              </a:rPr>
              <a:t>ESSI QI team roster</a:t>
            </a:r>
            <a:r>
              <a:rPr lang="en-US">
                <a:solidFill>
                  <a:srgbClr val="000000"/>
                </a:solidFill>
                <a:latin typeface="Arial Nova"/>
              </a:rPr>
              <a:t> is complete and up-to-date </a:t>
            </a:r>
          </a:p>
        </p:txBody>
      </p:sp>
      <p:sp>
        <p:nvSpPr>
          <p:cNvPr id="53" name="TextBox 53"/>
          <p:cNvSpPr txBox="1"/>
          <p:nvPr/>
        </p:nvSpPr>
        <p:spPr>
          <a:xfrm>
            <a:off x="7126034" y="3007660"/>
            <a:ext cx="2003723" cy="3059877"/>
          </a:xfrm>
          <a:prstGeom prst="rect">
            <a:avLst/>
          </a:prstGeom>
        </p:spPr>
        <p:txBody>
          <a:bodyPr wrap="square" lIns="0" tIns="0" rIns="0" bIns="0" rtlCol="0" anchor="t">
            <a:spAutoFit/>
          </a:bodyPr>
          <a:lstStyle/>
          <a:p>
            <a:pPr algn="ctr">
              <a:lnSpc>
                <a:spcPts val="2417"/>
              </a:lnSpc>
              <a:spcBef>
                <a:spcPct val="0"/>
              </a:spcBef>
            </a:pPr>
            <a:r>
              <a:rPr lang="en-US">
                <a:solidFill>
                  <a:srgbClr val="000000"/>
                </a:solidFill>
                <a:latin typeface="Arial Nova"/>
              </a:rPr>
              <a:t>Review the </a:t>
            </a:r>
            <a:endParaRPr lang="en-US">
              <a:cs typeface="Calibri"/>
            </a:endParaRPr>
          </a:p>
          <a:p>
            <a:pPr algn="ctr">
              <a:lnSpc>
                <a:spcPts val="2417"/>
              </a:lnSpc>
              <a:spcBef>
                <a:spcPct val="0"/>
              </a:spcBef>
            </a:pPr>
            <a:r>
              <a:rPr lang="en-US" b="1">
                <a:solidFill>
                  <a:srgbClr val="000000"/>
                </a:solidFill>
                <a:latin typeface="Arial Nova"/>
              </a:rPr>
              <a:t>ESSI Monthly Patient and Monthly Hospital Data Collection</a:t>
            </a:r>
            <a:r>
              <a:rPr lang="en-US">
                <a:solidFill>
                  <a:srgbClr val="000000"/>
                </a:solidFill>
                <a:latin typeface="Arial Nova"/>
              </a:rPr>
              <a:t> Forms with your team and discuss strategies for data collection </a:t>
            </a:r>
            <a:endParaRPr lang="en-US">
              <a:cs typeface="Calibri"/>
            </a:endParaRPr>
          </a:p>
        </p:txBody>
      </p:sp>
      <p:grpSp>
        <p:nvGrpSpPr>
          <p:cNvPr id="55" name="Group 55"/>
          <p:cNvGrpSpPr/>
          <p:nvPr/>
        </p:nvGrpSpPr>
        <p:grpSpPr>
          <a:xfrm>
            <a:off x="-446727" y="6199640"/>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16613374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2">
                <a:extLst>
                  <a:ext uri="{96DAC541-7B7A-43D3-8B79-37D633B846F1}">
                    <asvg:svgBlip xmlns:asvg="http://schemas.microsoft.com/office/drawing/2016/SVG/main" r:embed="rId3"/>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247940" y="623754"/>
            <a:ext cx="12460531"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973114" y="4445500"/>
            <a:ext cx="2070379" cy="1569148"/>
          </a:xfrm>
          <a:prstGeom prst="rect">
            <a:avLst/>
          </a:prstGeom>
        </p:spPr>
        <p:txBody>
          <a:bodyPr lIns="0" tIns="0" rIns="0" bIns="0" rtlCol="0" anchor="t">
            <a:spAutoFit/>
          </a:bodyPr>
          <a:lstStyle/>
          <a:p>
            <a:pPr algn="ctr">
              <a:lnSpc>
                <a:spcPts val="2510"/>
              </a:lnSpc>
              <a:spcBef>
                <a:spcPct val="0"/>
              </a:spcBef>
            </a:pPr>
            <a:r>
              <a:rPr lang="en-US">
                <a:solidFill>
                  <a:srgbClr val="000000"/>
                </a:solidFill>
                <a:latin typeface="Arial Nova"/>
              </a:rPr>
              <a:t>Review your current safe sleep and respectful care </a:t>
            </a:r>
            <a:r>
              <a:rPr lang="en-US" b="1">
                <a:solidFill>
                  <a:srgbClr val="000000"/>
                </a:solidFill>
                <a:latin typeface="Arial Nova"/>
              </a:rPr>
              <a:t>provider, nursing, and staff education</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6</a:t>
            </a:r>
          </a:p>
        </p:txBody>
      </p:sp>
      <p:sp>
        <p:nvSpPr>
          <p:cNvPr id="23" name="TextBox 23"/>
          <p:cNvSpPr txBox="1"/>
          <p:nvPr/>
        </p:nvSpPr>
        <p:spPr>
          <a:xfrm>
            <a:off x="5075340" y="4508640"/>
            <a:ext cx="1805395" cy="1303370"/>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Begin the QI work by drafting a </a:t>
            </a:r>
            <a:r>
              <a:rPr lang="en-US" b="1">
                <a:solidFill>
                  <a:srgbClr val="000000"/>
                </a:solidFill>
                <a:latin typeface="Arial Nova"/>
              </a:rPr>
              <a:t>30/60/90-day plan</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8</a:t>
            </a:r>
          </a:p>
        </p:txBody>
      </p:sp>
      <p:sp>
        <p:nvSpPr>
          <p:cNvPr id="31" name="TextBox 31"/>
          <p:cNvSpPr txBox="1"/>
          <p:nvPr/>
        </p:nvSpPr>
        <p:spPr>
          <a:xfrm>
            <a:off x="9386742" y="4506383"/>
            <a:ext cx="1805395" cy="1511183"/>
          </a:xfrm>
          <a:prstGeom prst="rect">
            <a:avLst/>
          </a:prstGeom>
        </p:spPr>
        <p:txBody>
          <a:bodyPr lIns="0" tIns="0" rIns="0" bIns="0" rtlCol="0" anchor="t">
            <a:spAutoFit/>
          </a:bodyPr>
          <a:lstStyle/>
          <a:p>
            <a:pPr algn="ctr">
              <a:lnSpc>
                <a:spcPts val="2417"/>
              </a:lnSpc>
              <a:spcBef>
                <a:spcPct val="0"/>
              </a:spcBef>
            </a:pPr>
            <a:r>
              <a:rPr lang="en-US" b="1">
                <a:solidFill>
                  <a:srgbClr val="000000"/>
                </a:solidFill>
                <a:latin typeface="Arial Nova"/>
              </a:rPr>
              <a:t>Energize and educate</a:t>
            </a:r>
            <a:r>
              <a:rPr lang="en-US">
                <a:solidFill>
                  <a:srgbClr val="000000"/>
                </a:solidFill>
                <a:latin typeface="Arial Nova"/>
              </a:rPr>
              <a:t> your hospital team members about ESSI</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10</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113969"/>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7</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9</a:t>
            </a:r>
          </a:p>
        </p:txBody>
      </p:sp>
      <p:sp>
        <p:nvSpPr>
          <p:cNvPr id="51" name="TextBox 51"/>
          <p:cNvSpPr txBox="1"/>
          <p:nvPr/>
        </p:nvSpPr>
        <p:spPr>
          <a:xfrm>
            <a:off x="3191562" y="3415633"/>
            <a:ext cx="1805395" cy="1894621"/>
          </a:xfrm>
          <a:prstGeom prst="rect">
            <a:avLst/>
          </a:prstGeom>
        </p:spPr>
        <p:txBody>
          <a:bodyPr lIns="0" tIns="0" rIns="0" bIns="0" rtlCol="0" anchor="t">
            <a:spAutoFit/>
          </a:bodyPr>
          <a:lstStyle/>
          <a:p>
            <a:pPr algn="ctr">
              <a:lnSpc>
                <a:spcPts val="2510"/>
              </a:lnSpc>
              <a:spcBef>
                <a:spcPct val="0"/>
              </a:spcBef>
            </a:pPr>
            <a:r>
              <a:rPr lang="en-US" sz="1750">
                <a:solidFill>
                  <a:srgbClr val="000000"/>
                </a:solidFill>
                <a:latin typeface="Arial Nova"/>
              </a:rPr>
              <a:t>Review </a:t>
            </a:r>
            <a:r>
              <a:rPr lang="en-US" sz="1750" b="1">
                <a:solidFill>
                  <a:srgbClr val="000000"/>
                </a:solidFill>
                <a:latin typeface="Arial Nova"/>
              </a:rPr>
              <a:t>key ESSI resources </a:t>
            </a:r>
            <a:r>
              <a:rPr lang="en-US" sz="1750">
                <a:solidFill>
                  <a:srgbClr val="000000"/>
                </a:solidFill>
                <a:latin typeface="Arial Nova"/>
              </a:rPr>
              <a:t>including the Key Driver Diagram and the ESSI Online Toolkit</a:t>
            </a:r>
          </a:p>
        </p:txBody>
      </p:sp>
      <p:sp>
        <p:nvSpPr>
          <p:cNvPr id="53" name="TextBox 53"/>
          <p:cNvSpPr txBox="1"/>
          <p:nvPr/>
        </p:nvSpPr>
        <p:spPr>
          <a:xfrm>
            <a:off x="6935482" y="3378226"/>
            <a:ext cx="2280297" cy="2423740"/>
          </a:xfrm>
          <a:prstGeom prst="rect">
            <a:avLst/>
          </a:prstGeom>
        </p:spPr>
        <p:txBody>
          <a:bodyPr wrap="square" lIns="0" tIns="0" rIns="0" bIns="0" rtlCol="0" anchor="t">
            <a:spAutoFit/>
          </a:bodyPr>
          <a:lstStyle/>
          <a:p>
            <a:pPr algn="ctr">
              <a:lnSpc>
                <a:spcPts val="2137"/>
              </a:lnSpc>
            </a:pPr>
            <a:r>
              <a:rPr lang="en-US">
                <a:solidFill>
                  <a:srgbClr val="000000"/>
                </a:solidFill>
                <a:latin typeface="Arial Nova"/>
              </a:rPr>
              <a:t>Attend the </a:t>
            </a:r>
            <a:endParaRPr lang="en-US"/>
          </a:p>
          <a:p>
            <a:pPr algn="ctr">
              <a:lnSpc>
                <a:spcPts val="2137"/>
              </a:lnSpc>
            </a:pPr>
            <a:r>
              <a:rPr lang="en-US" b="1">
                <a:solidFill>
                  <a:srgbClr val="000000"/>
                </a:solidFill>
                <a:latin typeface="Arial Nova"/>
              </a:rPr>
              <a:t>upcoming ESSI webinars:</a:t>
            </a:r>
            <a:endParaRPr lang="en-US"/>
          </a:p>
          <a:p>
            <a:pPr marL="328930" lvl="1" indent="-164465">
              <a:lnSpc>
                <a:spcPts val="2137"/>
              </a:lnSpc>
              <a:buFont typeface="Arial"/>
              <a:buChar char="•"/>
            </a:pPr>
            <a:r>
              <a:rPr lang="en-US">
                <a:solidFill>
                  <a:srgbClr val="000000"/>
                </a:solidFill>
                <a:latin typeface="Arial Nova"/>
              </a:rPr>
              <a:t>ESSI Initiative Launch call</a:t>
            </a:r>
          </a:p>
          <a:p>
            <a:pPr marL="328930" lvl="1" indent="-164465">
              <a:lnSpc>
                <a:spcPts val="2137"/>
              </a:lnSpc>
              <a:buFont typeface="Arial"/>
              <a:buChar char="•"/>
            </a:pPr>
            <a:r>
              <a:rPr lang="en-US">
                <a:solidFill>
                  <a:srgbClr val="000000"/>
                </a:solidFill>
                <a:latin typeface="Arial Nova"/>
              </a:rPr>
              <a:t> QI Team Leads Support Call</a:t>
            </a:r>
          </a:p>
          <a:p>
            <a:pPr marL="328930" lvl="1" indent="-164465">
              <a:lnSpc>
                <a:spcPts val="2137"/>
              </a:lnSpc>
              <a:buFont typeface="Arial"/>
              <a:buChar char="•"/>
            </a:pPr>
            <a:r>
              <a:rPr lang="en-US">
                <a:solidFill>
                  <a:srgbClr val="000000"/>
                </a:solidFill>
                <a:latin typeface="Arial Nova"/>
              </a:rPr>
              <a:t> ESSI Data Training Webinars </a:t>
            </a:r>
          </a:p>
        </p:txBody>
      </p:sp>
      <p:grpSp>
        <p:nvGrpSpPr>
          <p:cNvPr id="55" name="Group 55"/>
          <p:cNvGrpSpPr/>
          <p:nvPr/>
        </p:nvGrpSpPr>
        <p:grpSpPr>
          <a:xfrm>
            <a:off x="-655494" y="6084818"/>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6416117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545840" y="-90158"/>
            <a:ext cx="10972800" cy="1325563"/>
          </a:xfrm>
        </p:spPr>
        <p:txBody>
          <a:bodyPr/>
          <a:lstStyle/>
          <a:p>
            <a:r>
              <a:rPr lang="en-US" sz="4800">
                <a:ea typeface="Lato Medium"/>
                <a:cs typeface="Lato Medium"/>
              </a:rPr>
              <a:t>ESSI Webinar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extLst>
              <p:ext uri="{D42A27DB-BD31-4B8C-83A1-F6EECF244321}">
                <p14:modId xmlns:p14="http://schemas.microsoft.com/office/powerpoint/2010/main" val="1588152870"/>
              </p:ext>
            </p:extLst>
          </p:nvPr>
        </p:nvGraphicFramePr>
        <p:xfrm>
          <a:off x="744794" y="1049581"/>
          <a:ext cx="8425132"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7475456" y="1788088"/>
            <a:ext cx="3962241" cy="2578076"/>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a:cs typeface="Calibri"/>
              </a:rPr>
              <a:t>Visit ilpqc.org/ESSI to register for the calls now!</a:t>
            </a:r>
            <a:endParaRPr lang="en-US" sz="3600"/>
          </a:p>
        </p:txBody>
      </p:sp>
      <p:sp>
        <p:nvSpPr>
          <p:cNvPr id="13" name="TextBox 12">
            <a:extLst>
              <a:ext uri="{FF2B5EF4-FFF2-40B4-BE49-F238E27FC236}">
                <a16:creationId xmlns:a16="http://schemas.microsoft.com/office/drawing/2014/main" id="{2FC08365-C48A-7DB8-BBA6-D9EB552FFD55}"/>
              </a:ext>
            </a:extLst>
          </p:cNvPr>
          <p:cNvSpPr txBox="1"/>
          <p:nvPr/>
        </p:nvSpPr>
        <p:spPr>
          <a:xfrm>
            <a:off x="7688194" y="4438609"/>
            <a:ext cx="363421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ea typeface="Calibri"/>
                <a:cs typeface="Calibri"/>
              </a:rPr>
              <a:t>Physicians stay tuned for MOC in Late 2024 for ESSI!</a:t>
            </a:r>
            <a:endParaRPr lang="en-US" sz="2400"/>
          </a:p>
        </p:txBody>
      </p:sp>
    </p:spTree>
    <p:extLst>
      <p:ext uri="{BB962C8B-B14F-4D97-AF65-F5344CB8AC3E}">
        <p14:creationId xmlns:p14="http://schemas.microsoft.com/office/powerpoint/2010/main" val="11418153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srcRect b="2609"/>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a:solidFill>
                <a:schemeClr val="accent1"/>
              </a:solidFill>
            </a:endParaRPr>
          </a:p>
          <a:p>
            <a:pPr marL="0" indent="0">
              <a:buNone/>
            </a:pPr>
            <a:endParaRPr lang="en-US"/>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a:solidFill>
                  <a:schemeClr val="tx1">
                    <a:lumMod val="75000"/>
                    <a:lumOff val="25000"/>
                  </a:schemeClr>
                </a:solidFill>
              </a:rPr>
              <a:pPr>
                <a:spcAft>
                  <a:spcPts val="600"/>
                </a:spcAft>
              </a:pPr>
              <a:t>49</a:t>
            </a:fld>
            <a:endParaRPr lang="en-US">
              <a:solidFill>
                <a:schemeClr val="tx1">
                  <a:lumMod val="75000"/>
                  <a:lumOff val="25000"/>
                </a:schemeClr>
              </a:solidFill>
            </a:endParaRPr>
          </a:p>
        </p:txBody>
      </p:sp>
    </p:spTree>
    <p:extLst>
      <p:ext uri="{BB962C8B-B14F-4D97-AF65-F5344CB8AC3E}">
        <p14:creationId xmlns:p14="http://schemas.microsoft.com/office/powerpoint/2010/main" val="2086939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FA4E651-C3D8-4DB8-A026-E8531C6AFA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a:xfrm>
            <a:off x="836363" y="4546050"/>
            <a:ext cx="10515600" cy="1286544"/>
          </a:xfrm>
          <a:noFill/>
        </p:spPr>
        <p:txBody>
          <a:bodyPr vert="horz" lIns="91440" tIns="45720" rIns="91440" bIns="45720" rtlCol="0" anchor="b">
            <a:normAutofit fontScale="90000"/>
          </a:bodyPr>
          <a:lstStyle/>
          <a:p>
            <a:pPr algn="ctr">
              <a:lnSpc>
                <a:spcPct val="90000"/>
              </a:lnSpc>
            </a:pPr>
            <a:r>
              <a:rPr lang="en-US" sz="4800">
                <a:solidFill>
                  <a:schemeClr val="tx1"/>
                </a:solidFill>
                <a:ea typeface="+mj-ea"/>
                <a:cs typeface="+mj-cs"/>
              </a:rPr>
              <a:t>ESSI - Equity and Safe Sleep for Infants</a:t>
            </a:r>
            <a:br>
              <a:rPr lang="en-US" sz="5200">
                <a:solidFill>
                  <a:schemeClr val="tx1"/>
                </a:solidFill>
                <a:ea typeface="+mj-ea"/>
                <a:cs typeface="+mj-cs"/>
              </a:rPr>
            </a:br>
            <a:r>
              <a:rPr lang="en-US" sz="5200">
                <a:solidFill>
                  <a:schemeClr val="tx1"/>
                </a:solidFill>
                <a:ea typeface="+mj-ea"/>
                <a:cs typeface="+mj-cs"/>
              </a:rPr>
              <a:t> </a:t>
            </a:r>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a:xfrm>
            <a:off x="839469" y="5572126"/>
            <a:ext cx="10509388" cy="556964"/>
          </a:xfrm>
          <a:noFill/>
        </p:spPr>
        <p:txBody>
          <a:bodyPr vert="horz" lIns="91440" tIns="45720" rIns="91440" bIns="45720" rtlCol="0" anchor="t">
            <a:noAutofit/>
          </a:bodyPr>
          <a:lstStyle/>
          <a:p>
            <a:pPr algn="ctr">
              <a:lnSpc>
                <a:spcPct val="90000"/>
              </a:lnSpc>
            </a:pPr>
            <a:r>
              <a:rPr lang="en-US" sz="3200" dirty="0">
                <a:ea typeface="+mn-ea"/>
                <a:cs typeface="+mn-cs"/>
              </a:rPr>
              <a:t>Rev your engines!</a:t>
            </a:r>
          </a:p>
        </p:txBody>
      </p:sp>
    </p:spTree>
    <p:extLst>
      <p:ext uri="{BB962C8B-B14F-4D97-AF65-F5344CB8AC3E}">
        <p14:creationId xmlns:p14="http://schemas.microsoft.com/office/powerpoint/2010/main" val="36355957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Freeform: Shape 11">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4" name="Freeform: Shape 13">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D725862-D9BC-0176-0EC2-CCE1E0651CF6}"/>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lnSpc>
                <a:spcPct val="90000"/>
              </a:lnSpc>
            </a:pPr>
            <a:r>
              <a:rPr lang="en-US" sz="6100" kern="1200">
                <a:solidFill>
                  <a:schemeClr val="tx1"/>
                </a:solidFill>
                <a:latin typeface="+mj-lt"/>
                <a:ea typeface="+mj-ea"/>
                <a:cs typeface="+mj-cs"/>
              </a:rPr>
              <a:t>Return to the main ballroom for the wrap-up session!</a:t>
            </a:r>
          </a:p>
        </p:txBody>
      </p:sp>
      <p:sp>
        <p:nvSpPr>
          <p:cNvPr id="3" name="Content Placeholder 2">
            <a:extLst>
              <a:ext uri="{FF2B5EF4-FFF2-40B4-BE49-F238E27FC236}">
                <a16:creationId xmlns:a16="http://schemas.microsoft.com/office/drawing/2014/main" id="{6C9274D1-5B42-C3F3-28E1-C27E5991B53C}"/>
              </a:ext>
            </a:extLst>
          </p:cNvPr>
          <p:cNvSpPr>
            <a:spLocks noGrp="1"/>
          </p:cNvSpPr>
          <p:nvPr>
            <p:ph idx="1"/>
          </p:nvPr>
        </p:nvSpPr>
        <p:spPr>
          <a:xfrm>
            <a:off x="1966912" y="5645150"/>
            <a:ext cx="8258176" cy="631825"/>
          </a:xfrm>
        </p:spPr>
        <p:txBody>
          <a:bodyPr vert="horz" lIns="91440" tIns="45720" rIns="91440" bIns="45720" rtlCol="0" anchor="ctr">
            <a:normAutofit/>
          </a:bodyPr>
          <a:lstStyle/>
          <a:p>
            <a:pPr marL="0" indent="0" algn="ctr">
              <a:lnSpc>
                <a:spcPct val="90000"/>
              </a:lnSpc>
              <a:buNone/>
            </a:pPr>
            <a:r>
              <a:rPr lang="en-US" sz="2800" kern="1200">
                <a:latin typeface="+mn-lt"/>
                <a:ea typeface="+mn-ea"/>
                <a:cs typeface="+mn-cs"/>
              </a:rPr>
              <a:t>Must be present for </a:t>
            </a:r>
            <a:r>
              <a:rPr lang="en-US" sz="2800">
                <a:ea typeface="+mn-ea"/>
                <a:cs typeface="+mn-cs"/>
              </a:rPr>
              <a:t>raffle</a:t>
            </a:r>
            <a:r>
              <a:rPr lang="en-US" sz="2800" kern="1200">
                <a:latin typeface="+mn-lt"/>
                <a:ea typeface="+mn-ea"/>
                <a:cs typeface="+mn-cs"/>
              </a:rPr>
              <a:t> and CEUs</a:t>
            </a:r>
          </a:p>
        </p:txBody>
      </p:sp>
      <p:sp>
        <p:nvSpPr>
          <p:cNvPr id="16" name="Rectangle 15">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2E91D297-9D05-16EF-3891-0E6C69C99EBA}"/>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lumMod val="50000"/>
                    <a:lumOff val="50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63A013EC-D0C0-C69D-4DDA-EBB300A2CBEF}"/>
              </a:ext>
            </a:extLst>
          </p:cNvPr>
          <p:cNvSpPr>
            <a:spLocks noGrp="1"/>
          </p:cNvSpPr>
          <p:nvPr>
            <p:ph type="sldNum" sz="quarter" idx="10"/>
          </p:nvPr>
        </p:nvSpPr>
        <p:spPr>
          <a:xfrm>
            <a:off x="10489019" y="6356350"/>
            <a:ext cx="1268818" cy="365125"/>
          </a:xfrm>
        </p:spPr>
        <p:txBody>
          <a:bodyPr vert="horz" lIns="91440" tIns="45720" rIns="91440" bIns="45720" rtlCol="0" anchor="ctr">
            <a:normAutofit/>
          </a:bodyPr>
          <a:lstStyle/>
          <a:p>
            <a:pPr>
              <a:spcAft>
                <a:spcPts val="600"/>
              </a:spcAft>
            </a:pPr>
            <a:fld id="{97033E4B-E3EB-3D46-B2D8-3159663620FA}" type="slidenum">
              <a:rPr lang="en-US">
                <a:solidFill>
                  <a:schemeClr val="tx1">
                    <a:lumMod val="50000"/>
                    <a:lumOff val="50000"/>
                  </a:schemeClr>
                </a:solidFill>
              </a:rPr>
              <a:pPr>
                <a:spcAft>
                  <a:spcPts val="600"/>
                </a:spcAft>
              </a:pPr>
              <a:t>50</a:t>
            </a:fld>
            <a:endParaRPr lang="en-US">
              <a:solidFill>
                <a:schemeClr val="tx1">
                  <a:lumMod val="50000"/>
                  <a:lumOff val="50000"/>
                </a:schemeClr>
              </a:solidFill>
            </a:endParaRPr>
          </a:p>
        </p:txBody>
      </p:sp>
    </p:spTree>
    <p:extLst>
      <p:ext uri="{BB962C8B-B14F-4D97-AF65-F5344CB8AC3E}">
        <p14:creationId xmlns:p14="http://schemas.microsoft.com/office/powerpoint/2010/main" val="11127612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Black and Orange Car Seat · Free Stock Photo">
            <a:extLst>
              <a:ext uri="{FF2B5EF4-FFF2-40B4-BE49-F238E27FC236}">
                <a16:creationId xmlns:a16="http://schemas.microsoft.com/office/drawing/2014/main" id="{DAFBE606-7FC7-49C4-35AD-E7F8C66460CB}"/>
              </a:ext>
            </a:extLst>
          </p:cNvPr>
          <p:cNvPicPr>
            <a:picLocks noChangeAspect="1"/>
          </p:cNvPicPr>
          <p:nvPr/>
        </p:nvPicPr>
        <p:blipFill rotWithShape="1">
          <a:blip r:embed="rId3">
            <a:alphaModFix amt="50000"/>
          </a:blip>
          <a:srcRect/>
          <a:stretch/>
        </p:blipFill>
        <p:spPr>
          <a:xfrm>
            <a:off x="20" y="1"/>
            <a:ext cx="12191980" cy="6857999"/>
          </a:xfrm>
          <a:prstGeom prst="rect">
            <a:avLst/>
          </a:prstGeom>
        </p:spPr>
      </p:pic>
      <p:sp>
        <p:nvSpPr>
          <p:cNvPr id="2" name="Title 1">
            <a:extLst>
              <a:ext uri="{FF2B5EF4-FFF2-40B4-BE49-F238E27FC236}">
                <a16:creationId xmlns:a16="http://schemas.microsoft.com/office/drawing/2014/main" id="{0BE17DCB-A8F8-6312-7CC0-B9B84CE03C29}"/>
              </a:ext>
            </a:extLst>
          </p:cNvPr>
          <p:cNvSpPr>
            <a:spLocks noGrp="1"/>
          </p:cNvSpPr>
          <p:nvPr>
            <p:ph type="title"/>
          </p:nvPr>
        </p:nvSpPr>
        <p:spPr>
          <a:xfrm>
            <a:off x="1524000" y="1122362"/>
            <a:ext cx="9144000" cy="2900518"/>
          </a:xfrm>
        </p:spPr>
        <p:txBody>
          <a:bodyPr vert="horz" lIns="91440" tIns="45720" rIns="91440" bIns="45720" rtlCol="0" anchor="b">
            <a:normAutofit/>
          </a:bodyPr>
          <a:lstStyle/>
          <a:p>
            <a:pPr algn="ctr">
              <a:lnSpc>
                <a:spcPct val="90000"/>
              </a:lnSpc>
            </a:pPr>
            <a:r>
              <a:rPr lang="en-US" sz="6000">
                <a:solidFill>
                  <a:srgbClr val="FFFFFF"/>
                </a:solidFill>
                <a:ea typeface="+mj-ea"/>
                <a:cs typeface="+mj-cs"/>
              </a:rPr>
              <a:t>Look Under Your Seat </a:t>
            </a:r>
          </a:p>
        </p:txBody>
      </p:sp>
      <p:sp>
        <p:nvSpPr>
          <p:cNvPr id="5" name="Footer Placeholder 4">
            <a:extLst>
              <a:ext uri="{FF2B5EF4-FFF2-40B4-BE49-F238E27FC236}">
                <a16:creationId xmlns:a16="http://schemas.microsoft.com/office/drawing/2014/main" id="{475B4B8E-2C04-6E84-AEFA-610CF3D9D135}"/>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defRPr/>
            </a:pPr>
            <a:r>
              <a:rPr lang="en-US" kern="1200">
                <a:solidFill>
                  <a:srgbClr val="FFFFFF"/>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06276F4D-91A4-D091-2EFE-9A1748660AE2}"/>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rgbClr val="FFFFFF"/>
                </a:solidFill>
                <a:latin typeface="Calibri" panose="020F0502020204030204"/>
              </a:rPr>
              <a:pPr>
                <a:spcAft>
                  <a:spcPts val="600"/>
                </a:spcAft>
                <a:defRPr/>
              </a:pPr>
              <a:t>51</a:t>
            </a:fld>
            <a:endParaRPr lang="en-US">
              <a:solidFill>
                <a:srgbClr val="FFFFFF"/>
              </a:solidFill>
              <a:latin typeface="Calibri" panose="020F0502020204030204"/>
            </a:endParaRPr>
          </a:p>
        </p:txBody>
      </p:sp>
    </p:spTree>
    <p:extLst>
      <p:ext uri="{BB962C8B-B14F-4D97-AF65-F5344CB8AC3E}">
        <p14:creationId xmlns:p14="http://schemas.microsoft.com/office/powerpoint/2010/main" val="355754961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74"/>
        <p:cNvGrpSpPr/>
        <p:nvPr/>
      </p:nvGrpSpPr>
      <p:grpSpPr>
        <a:xfrm>
          <a:off x="0" y="0"/>
          <a:ext cx="0" cy="0"/>
          <a:chOff x="0" y="0"/>
          <a:chExt cx="0" cy="0"/>
        </a:xfrm>
      </p:grpSpPr>
      <p:sp>
        <p:nvSpPr>
          <p:cNvPr id="2175" name="Google Shape;2175;p5"/>
          <p:cNvSpPr txBox="1">
            <a:spLocks noGrp="1"/>
          </p:cNvSpPr>
          <p:nvPr>
            <p:ph type="body" idx="1"/>
          </p:nvPr>
        </p:nvSpPr>
        <p:spPr>
          <a:xfrm>
            <a:off x="7302725" y="2293511"/>
            <a:ext cx="4629600" cy="3372564"/>
          </a:xfrm>
          <a:prstGeom prst="rect">
            <a:avLst/>
          </a:prstGeom>
          <a:noFill/>
          <a:ln>
            <a:noFill/>
          </a:ln>
        </p:spPr>
        <p:txBody>
          <a:bodyPr spcFirstLastPara="1" wrap="square" lIns="91425" tIns="45700" rIns="91425" bIns="45700" anchor="t" anchorCtr="0">
            <a:noAutofit/>
          </a:bodyPr>
          <a:lstStyle/>
          <a:p>
            <a:pPr marL="0" indent="0" algn="ctr">
              <a:spcBef>
                <a:spcPts val="0"/>
              </a:spcBef>
              <a:buSzPts val="2400"/>
              <a:buNone/>
            </a:pPr>
            <a:r>
              <a:rPr lang="en-US" sz="2900"/>
              <a:t>The goal of the ESSI initiative is to better equip hospitals to address the issues that contribute to these disparities in infant mortality.</a:t>
            </a:r>
          </a:p>
          <a:p>
            <a:pPr marL="0" lvl="0" indent="0" algn="ctr">
              <a:lnSpc>
                <a:spcPct val="100000"/>
              </a:lnSpc>
              <a:spcBef>
                <a:spcPts val="0"/>
              </a:spcBef>
              <a:spcAft>
                <a:spcPts val="0"/>
              </a:spcAft>
              <a:buSzPts val="2400"/>
              <a:buNone/>
            </a:pPr>
            <a:endParaRPr lang="en-US" sz="2900"/>
          </a:p>
          <a:p>
            <a:pPr marL="0" indent="0" algn="ctr">
              <a:spcBef>
                <a:spcPts val="0"/>
              </a:spcBef>
              <a:buSzPts val="2400"/>
              <a:buNone/>
            </a:pPr>
            <a:r>
              <a:rPr lang="en-US" sz="3600" b="1"/>
              <a:t>Let's get started!</a:t>
            </a:r>
          </a:p>
          <a:p>
            <a:pPr marL="228600" indent="-76200">
              <a:spcBef>
                <a:spcPts val="2000"/>
              </a:spcBef>
              <a:buSzPts val="2400"/>
              <a:buNone/>
            </a:pPr>
            <a:endParaRPr lang="en-US"/>
          </a:p>
          <a:p>
            <a:pPr marL="228600" indent="-50800">
              <a:spcBef>
                <a:spcPts val="2000"/>
              </a:spcBef>
              <a:buSzPts val="2800"/>
              <a:buNone/>
            </a:pPr>
            <a:endParaRPr lang="en-US" sz="2800"/>
          </a:p>
        </p:txBody>
      </p:sp>
      <p:sp>
        <p:nvSpPr>
          <p:cNvPr id="2176" name="Google Shape;2176;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6</a:t>
            </a:fld>
            <a:endParaRPr/>
          </a:p>
        </p:txBody>
      </p:sp>
      <p:sp>
        <p:nvSpPr>
          <p:cNvPr id="2177" name="Google Shape;2177;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78" name="Google Shape;2178;p5" descr="https://usc-powerpoint.officeapps.live.com/pods/GetClipboardImage.ashx?Id=5ceb49b5-a84b-43cc-a243-53b54dce9c7e&amp;DC=PUS6&amp;pkey=72ad52c9-342b-4945-8f9f-de143e77756c&amp;wdwaccluster=PUS6"/>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179" name="Google Shape;2179;p5"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498" y="-3747"/>
            <a:ext cx="6865495" cy="6853003"/>
          </a:xfrm>
          <a:prstGeom prst="rect">
            <a:avLst/>
          </a:prstGeom>
          <a:noFill/>
          <a:ln>
            <a:noFill/>
          </a:ln>
        </p:spPr>
      </p:pic>
      <p:sp>
        <p:nvSpPr>
          <p:cNvPr id="2180" name="Google Shape;2180;p5"/>
          <p:cNvSpPr txBox="1"/>
          <p:nvPr/>
        </p:nvSpPr>
        <p:spPr>
          <a:xfrm>
            <a:off x="1526498" y="1722003"/>
            <a:ext cx="3817495" cy="341627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400" b="0" i="0" u="none" strike="noStrike" cap="none">
                <a:solidFill>
                  <a:srgbClr val="444C55"/>
                </a:solidFill>
                <a:latin typeface="Calibri"/>
                <a:ea typeface="Calibri"/>
                <a:cs typeface="Calibri"/>
                <a:sym typeface="Calibri"/>
              </a:rPr>
              <a:t> ILPQC has an opportunity to prevent infant deaths and reduce racial disparities through a quality framework. </a:t>
            </a:r>
            <a:r>
              <a:rPr lang="en-US" sz="2400">
                <a:solidFill>
                  <a:srgbClr val="444C55"/>
                </a:solidFill>
                <a:latin typeface="Calibri"/>
                <a:ea typeface="Calibri"/>
                <a:cs typeface="Calibri"/>
                <a:sym typeface="Calibri"/>
              </a:rPr>
              <a:t>ESSI</a:t>
            </a:r>
            <a:r>
              <a:rPr lang="en-US" sz="2400" b="0" i="0" u="none" strike="noStrike" cap="none">
                <a:solidFill>
                  <a:srgbClr val="444C55"/>
                </a:solidFill>
                <a:latin typeface="Calibri"/>
                <a:ea typeface="Calibri"/>
                <a:cs typeface="Calibri"/>
                <a:sym typeface="Calibri"/>
              </a:rPr>
              <a:t> will address infant safe sleep environment, racial equity, social determinants of health, and other contributing factors. ​</a:t>
            </a:r>
            <a:endParaRPr sz="1600" b="0" i="0" u="none" strike="noStrike" cap="none">
              <a:solidFill>
                <a:srgbClr val="444C55"/>
              </a:solidFill>
              <a:latin typeface="Calibri"/>
              <a:ea typeface="Calibri"/>
              <a:cs typeface="Calibri"/>
              <a:sym typeface="Calibri"/>
            </a:endParaRPr>
          </a:p>
        </p:txBody>
      </p:sp>
      <p:sp>
        <p:nvSpPr>
          <p:cNvPr id="2181" name="Google Shape;2181;p5"/>
          <p:cNvSpPr txBox="1">
            <a:spLocks noGrp="1"/>
          </p:cNvSpPr>
          <p:nvPr>
            <p:ph type="title"/>
          </p:nvPr>
        </p:nvSpPr>
        <p:spPr>
          <a:xfrm>
            <a:off x="284813" y="2863"/>
            <a:ext cx="4342263"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1"/>
              </a:buClr>
              <a:buSzPts val="3600"/>
              <a:buFont typeface="Calibri"/>
              <a:buNone/>
            </a:pPr>
            <a:r>
              <a:rPr lang="en-US">
                <a:solidFill>
                  <a:schemeClr val="lt1"/>
                </a:solidFill>
              </a:rPr>
              <a:t>ESSI Initiative Vision</a:t>
            </a:r>
            <a:endParaRPr/>
          </a:p>
        </p:txBody>
      </p:sp>
    </p:spTree>
    <p:extLst>
      <p:ext uri="{BB962C8B-B14F-4D97-AF65-F5344CB8AC3E}">
        <p14:creationId xmlns:p14="http://schemas.microsoft.com/office/powerpoint/2010/main" val="37266385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7</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474241"/>
            <a:ext cx="7457964" cy="568232"/>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ESSI Newborn Care Plan is documented in the discharge summary.</a:t>
            </a: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a:stretch>
              <a:fillRect t="-16582"/>
            </a:stretch>
          </a:blipFill>
        </p:spPr>
      </p:sp>
    </p:spTree>
    <p:extLst>
      <p:ext uri="{BB962C8B-B14F-4D97-AF65-F5344CB8AC3E}">
        <p14:creationId xmlns:p14="http://schemas.microsoft.com/office/powerpoint/2010/main" val="1514756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FAC69-62AA-D40E-C4BD-DAD5BF599C69}"/>
              </a:ext>
            </a:extLst>
          </p:cNvPr>
          <p:cNvSpPr>
            <a:spLocks noGrp="1"/>
          </p:cNvSpPr>
          <p:nvPr>
            <p:ph type="title"/>
          </p:nvPr>
        </p:nvSpPr>
        <p:spPr>
          <a:xfrm>
            <a:off x="250167" y="135087"/>
            <a:ext cx="11519139" cy="1325563"/>
          </a:xfrm>
        </p:spPr>
        <p:txBody>
          <a:bodyPr/>
          <a:lstStyle/>
          <a:p>
            <a:r>
              <a:rPr lang="en-US" sz="4800">
                <a:ea typeface="Lato Medium"/>
                <a:cs typeface="Lato Medium"/>
              </a:rPr>
              <a:t>ESSI Initiative Timeline</a:t>
            </a:r>
            <a:endParaRPr lang="en-US" sz="4800"/>
          </a:p>
        </p:txBody>
      </p:sp>
      <p:sp>
        <p:nvSpPr>
          <p:cNvPr id="4" name="Slide Number Placeholder 3">
            <a:extLst>
              <a:ext uri="{FF2B5EF4-FFF2-40B4-BE49-F238E27FC236}">
                <a16:creationId xmlns:a16="http://schemas.microsoft.com/office/drawing/2014/main" id="{A6804321-19C3-4E7A-6787-14BA1FA8B8B7}"/>
              </a:ext>
            </a:extLst>
          </p:cNvPr>
          <p:cNvSpPr>
            <a:spLocks noGrp="1"/>
          </p:cNvSpPr>
          <p:nvPr>
            <p:ph type="sldNum" sz="quarter" idx="10"/>
          </p:nvPr>
        </p:nvSpPr>
        <p:spPr/>
        <p:txBody>
          <a:bodyPr/>
          <a:lstStyle/>
          <a:p>
            <a:fld id="{97033E4B-E3EB-3D46-B2D8-3159663620FA}" type="slidenum">
              <a:rPr lang="en-US" dirty="0" smtClean="0"/>
              <a:pPr/>
              <a:t>8</a:t>
            </a:fld>
            <a:endParaRPr lang="en-US"/>
          </a:p>
        </p:txBody>
      </p:sp>
      <p:sp>
        <p:nvSpPr>
          <p:cNvPr id="5" name="Footer Placeholder 4">
            <a:extLst>
              <a:ext uri="{FF2B5EF4-FFF2-40B4-BE49-F238E27FC236}">
                <a16:creationId xmlns:a16="http://schemas.microsoft.com/office/drawing/2014/main" id="{8DE7F429-2A58-C1E6-E11A-1744A5DACB80}"/>
              </a:ext>
            </a:extLst>
          </p:cNvPr>
          <p:cNvSpPr>
            <a:spLocks noGrp="1"/>
          </p:cNvSpPr>
          <p:nvPr>
            <p:ph type="ftr" sz="quarter" idx="11"/>
          </p:nvPr>
        </p:nvSpPr>
        <p:spPr/>
        <p:txBody>
          <a:bodyPr/>
          <a:lstStyle/>
          <a:p>
            <a:pPr algn="l"/>
            <a:r>
              <a:rPr lang="en-US"/>
              <a:t>Illinois Perinatal Quality Collaborative</a:t>
            </a:r>
          </a:p>
        </p:txBody>
      </p:sp>
      <p:sp>
        <p:nvSpPr>
          <p:cNvPr id="7" name="Freeform 2">
            <a:extLst>
              <a:ext uri="{FF2B5EF4-FFF2-40B4-BE49-F238E27FC236}">
                <a16:creationId xmlns:a16="http://schemas.microsoft.com/office/drawing/2014/main" id="{34AC275E-5089-514E-9C9A-2E2AEA5984DC}"/>
              </a:ext>
            </a:extLst>
          </p:cNvPr>
          <p:cNvSpPr/>
          <p:nvPr/>
        </p:nvSpPr>
        <p:spPr>
          <a:xfrm>
            <a:off x="1413242" y="3217237"/>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3">
            <a:extLst>
              <a:ext uri="{FF2B5EF4-FFF2-40B4-BE49-F238E27FC236}">
                <a16:creationId xmlns:a16="http://schemas.microsoft.com/office/drawing/2014/main" id="{1E94A74E-F48D-9964-7DBC-266D53D79BD7}"/>
              </a:ext>
            </a:extLst>
          </p:cNvPr>
          <p:cNvSpPr/>
          <p:nvPr/>
        </p:nvSpPr>
        <p:spPr>
          <a:xfrm rot="10800000">
            <a:off x="2956120" y="4028641"/>
            <a:ext cx="1635941" cy="817970"/>
          </a:xfrm>
          <a:custGeom>
            <a:avLst/>
            <a:gdLst/>
            <a:ahLst/>
            <a:cxnLst/>
            <a:rect l="l" t="t" r="r" b="b"/>
            <a:pathLst>
              <a:path w="2453911" h="1226955">
                <a:moveTo>
                  <a:pt x="0" y="0"/>
                </a:moveTo>
                <a:lnTo>
                  <a:pt x="2453910" y="0"/>
                </a:lnTo>
                <a:lnTo>
                  <a:pt x="2453910"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11" name="Freeform 4">
            <a:extLst>
              <a:ext uri="{FF2B5EF4-FFF2-40B4-BE49-F238E27FC236}">
                <a16:creationId xmlns:a16="http://schemas.microsoft.com/office/drawing/2014/main" id="{354E5D08-CD9E-1C3A-A822-3CBB50E73276}"/>
              </a:ext>
            </a:extLst>
          </p:cNvPr>
          <p:cNvSpPr/>
          <p:nvPr/>
        </p:nvSpPr>
        <p:spPr>
          <a:xfrm>
            <a:off x="4502557" y="3217237"/>
            <a:ext cx="1642507" cy="821253"/>
          </a:xfrm>
          <a:custGeom>
            <a:avLst/>
            <a:gdLst/>
            <a:ahLst/>
            <a:cxnLst/>
            <a:rect l="l" t="t" r="r" b="b"/>
            <a:pathLst>
              <a:path w="2463760" h="1231880">
                <a:moveTo>
                  <a:pt x="0" y="0"/>
                </a:moveTo>
                <a:lnTo>
                  <a:pt x="2463760" y="0"/>
                </a:lnTo>
                <a:lnTo>
                  <a:pt x="2463760" y="1231880"/>
                </a:lnTo>
                <a:lnTo>
                  <a:pt x="0" y="123188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3" name="Freeform 5">
            <a:extLst>
              <a:ext uri="{FF2B5EF4-FFF2-40B4-BE49-F238E27FC236}">
                <a16:creationId xmlns:a16="http://schemas.microsoft.com/office/drawing/2014/main" id="{A9A9B183-D094-30AD-0D2B-7B5645C5E40B}"/>
              </a:ext>
            </a:extLst>
          </p:cNvPr>
          <p:cNvSpPr/>
          <p:nvPr/>
        </p:nvSpPr>
        <p:spPr>
          <a:xfrm rot="10800000">
            <a:off x="6061764"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5" name="Freeform 6">
            <a:extLst>
              <a:ext uri="{FF2B5EF4-FFF2-40B4-BE49-F238E27FC236}">
                <a16:creationId xmlns:a16="http://schemas.microsoft.com/office/drawing/2014/main" id="{894DB040-2BC8-265B-339B-5C68F24AE12F}"/>
              </a:ext>
            </a:extLst>
          </p:cNvPr>
          <p:cNvSpPr/>
          <p:nvPr/>
        </p:nvSpPr>
        <p:spPr>
          <a:xfrm>
            <a:off x="7608823" y="3220520"/>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17" name="Freeform 7">
            <a:extLst>
              <a:ext uri="{FF2B5EF4-FFF2-40B4-BE49-F238E27FC236}">
                <a16:creationId xmlns:a16="http://schemas.microsoft.com/office/drawing/2014/main" id="{2EACCEB5-D6C9-3D1D-8AEF-85B292D8DE79}"/>
              </a:ext>
            </a:extLst>
          </p:cNvPr>
          <p:cNvSpPr/>
          <p:nvPr/>
        </p:nvSpPr>
        <p:spPr>
          <a:xfrm rot="10800000">
            <a:off x="9164905"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21" name="Group 8">
            <a:extLst>
              <a:ext uri="{FF2B5EF4-FFF2-40B4-BE49-F238E27FC236}">
                <a16:creationId xmlns:a16="http://schemas.microsoft.com/office/drawing/2014/main" id="{9963B85D-33FB-DD61-B9B5-C10C10D00B65}"/>
              </a:ext>
            </a:extLst>
          </p:cNvPr>
          <p:cNvGrpSpPr/>
          <p:nvPr/>
        </p:nvGrpSpPr>
        <p:grpSpPr>
          <a:xfrm>
            <a:off x="399397" y="1815881"/>
            <a:ext cx="3764272" cy="1315724"/>
            <a:chOff x="-1404790" y="176355"/>
            <a:chExt cx="7528544" cy="2631448"/>
          </a:xfrm>
        </p:grpSpPr>
        <p:sp>
          <p:nvSpPr>
            <p:cNvPr id="19" name="TextBox 9">
              <a:extLst>
                <a:ext uri="{FF2B5EF4-FFF2-40B4-BE49-F238E27FC236}">
                  <a16:creationId xmlns:a16="http://schemas.microsoft.com/office/drawing/2014/main" id="{8F56D947-B18E-6292-FB32-17E6BBE1C7B7}"/>
                </a:ext>
              </a:extLst>
            </p:cNvPr>
            <p:cNvSpPr txBox="1"/>
            <p:nvPr/>
          </p:nvSpPr>
          <p:spPr>
            <a:xfrm>
              <a:off x="-1404790" y="1083997"/>
              <a:ext cx="7528544" cy="1723806"/>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Why ESSI? - Understanding the importance of safe sleep and equity at ILPQC's Annual Conference </a:t>
              </a:r>
            </a:p>
          </p:txBody>
        </p:sp>
        <p:sp>
          <p:nvSpPr>
            <p:cNvPr id="20" name="TextBox 10">
              <a:extLst>
                <a:ext uri="{FF2B5EF4-FFF2-40B4-BE49-F238E27FC236}">
                  <a16:creationId xmlns:a16="http://schemas.microsoft.com/office/drawing/2014/main" id="{A9936A2B-2042-0897-3CCF-AC6DEB6DE9D0}"/>
                </a:ext>
              </a:extLst>
            </p:cNvPr>
            <p:cNvSpPr txBox="1"/>
            <p:nvPr/>
          </p:nvSpPr>
          <p:spPr>
            <a:xfrm>
              <a:off x="-757414" y="176355"/>
              <a:ext cx="5063558"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Fall 2022</a:t>
              </a:r>
            </a:p>
          </p:txBody>
        </p:sp>
      </p:grpSp>
      <p:grpSp>
        <p:nvGrpSpPr>
          <p:cNvPr id="25" name="Group 11">
            <a:extLst>
              <a:ext uri="{FF2B5EF4-FFF2-40B4-BE49-F238E27FC236}">
                <a16:creationId xmlns:a16="http://schemas.microsoft.com/office/drawing/2014/main" id="{84391E0C-4D3A-09E7-2ABA-36598B801C9B}"/>
              </a:ext>
            </a:extLst>
          </p:cNvPr>
          <p:cNvGrpSpPr/>
          <p:nvPr/>
        </p:nvGrpSpPr>
        <p:grpSpPr>
          <a:xfrm>
            <a:off x="4341990" y="1809890"/>
            <a:ext cx="2103630" cy="1324475"/>
            <a:chOff x="0" y="188487"/>
            <a:chExt cx="4207261" cy="2648950"/>
          </a:xfrm>
        </p:grpSpPr>
        <p:sp>
          <p:nvSpPr>
            <p:cNvPr id="23" name="TextBox 12">
              <a:extLst>
                <a:ext uri="{FF2B5EF4-FFF2-40B4-BE49-F238E27FC236}">
                  <a16:creationId xmlns:a16="http://schemas.microsoft.com/office/drawing/2014/main" id="{01161B8F-C665-1E6B-2E22-400EFC600810}"/>
                </a:ext>
              </a:extLst>
            </p:cNvPr>
            <p:cNvSpPr txBox="1"/>
            <p:nvPr/>
          </p:nvSpPr>
          <p:spPr>
            <a:xfrm>
              <a:off x="71278" y="1113631"/>
              <a:ext cx="4135983" cy="1723806"/>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Aims, Measures, and Key Driver Diagram development</a:t>
              </a:r>
            </a:p>
          </p:txBody>
        </p:sp>
        <p:sp>
          <p:nvSpPr>
            <p:cNvPr id="24" name="TextBox 13">
              <a:extLst>
                <a:ext uri="{FF2B5EF4-FFF2-40B4-BE49-F238E27FC236}">
                  <a16:creationId xmlns:a16="http://schemas.microsoft.com/office/drawing/2014/main" id="{378FB9EC-AB26-B1B0-02BD-AE745AFFB293}"/>
                </a:ext>
              </a:extLst>
            </p:cNvPr>
            <p:cNvSpPr txBox="1"/>
            <p:nvPr/>
          </p:nvSpPr>
          <p:spPr>
            <a:xfrm>
              <a:off x="0" y="188487"/>
              <a:ext cx="413598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Spring 2023</a:t>
              </a:r>
            </a:p>
          </p:txBody>
        </p:sp>
      </p:grpSp>
      <p:grpSp>
        <p:nvGrpSpPr>
          <p:cNvPr id="29" name="Group 14">
            <a:extLst>
              <a:ext uri="{FF2B5EF4-FFF2-40B4-BE49-F238E27FC236}">
                <a16:creationId xmlns:a16="http://schemas.microsoft.com/office/drawing/2014/main" id="{92440943-7A96-A0EC-DC0D-7F0D07EA8C64}"/>
              </a:ext>
            </a:extLst>
          </p:cNvPr>
          <p:cNvGrpSpPr/>
          <p:nvPr/>
        </p:nvGrpSpPr>
        <p:grpSpPr>
          <a:xfrm>
            <a:off x="7204287" y="1809890"/>
            <a:ext cx="2447522" cy="1325566"/>
            <a:chOff x="686874" y="188487"/>
            <a:chExt cx="6054141" cy="2627980"/>
          </a:xfrm>
        </p:grpSpPr>
        <p:sp>
          <p:nvSpPr>
            <p:cNvPr id="27" name="TextBox 15">
              <a:extLst>
                <a:ext uri="{FF2B5EF4-FFF2-40B4-BE49-F238E27FC236}">
                  <a16:creationId xmlns:a16="http://schemas.microsoft.com/office/drawing/2014/main" id="{5B87A825-28AC-19DC-186C-BA7D37E81650}"/>
                </a:ext>
              </a:extLst>
            </p:cNvPr>
            <p:cNvSpPr txBox="1"/>
            <p:nvPr/>
          </p:nvSpPr>
          <p:spPr>
            <a:xfrm>
              <a:off x="901521" y="1090483"/>
              <a:ext cx="5839494" cy="1725984"/>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Toolkit development with Neonatal CAB and ESSI Planning Group</a:t>
              </a:r>
            </a:p>
          </p:txBody>
        </p:sp>
        <p:sp>
          <p:nvSpPr>
            <p:cNvPr id="28" name="TextBox 16">
              <a:extLst>
                <a:ext uri="{FF2B5EF4-FFF2-40B4-BE49-F238E27FC236}">
                  <a16:creationId xmlns:a16="http://schemas.microsoft.com/office/drawing/2014/main" id="{0240693A-8F53-8305-D292-AD3FA691E14C}"/>
                </a:ext>
              </a:extLst>
            </p:cNvPr>
            <p:cNvSpPr txBox="1"/>
            <p:nvPr/>
          </p:nvSpPr>
          <p:spPr>
            <a:xfrm>
              <a:off x="686874" y="188487"/>
              <a:ext cx="583949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Fall 2023</a:t>
              </a:r>
              <a:endParaRPr lang="en-US" sz="2000" b="1">
                <a:ea typeface="Calibri"/>
                <a:cs typeface="Calibri"/>
              </a:endParaRPr>
            </a:p>
          </p:txBody>
        </p:sp>
      </p:grpSp>
      <p:grpSp>
        <p:nvGrpSpPr>
          <p:cNvPr id="33" name="Group 17">
            <a:extLst>
              <a:ext uri="{FF2B5EF4-FFF2-40B4-BE49-F238E27FC236}">
                <a16:creationId xmlns:a16="http://schemas.microsoft.com/office/drawing/2014/main" id="{F52E758F-ED55-139F-868B-B928D126A7EC}"/>
              </a:ext>
            </a:extLst>
          </p:cNvPr>
          <p:cNvGrpSpPr/>
          <p:nvPr/>
        </p:nvGrpSpPr>
        <p:grpSpPr>
          <a:xfrm>
            <a:off x="2371501" y="5053156"/>
            <a:ext cx="2805179" cy="798964"/>
            <a:chOff x="-590282" y="-348131"/>
            <a:chExt cx="5610357" cy="1597928"/>
          </a:xfrm>
        </p:grpSpPr>
        <p:sp>
          <p:nvSpPr>
            <p:cNvPr id="31" name="TextBox 18">
              <a:extLst>
                <a:ext uri="{FF2B5EF4-FFF2-40B4-BE49-F238E27FC236}">
                  <a16:creationId xmlns:a16="http://schemas.microsoft.com/office/drawing/2014/main" id="{B00CCD8F-9409-7F56-6C3B-CBD3C4B762FE}"/>
                </a:ext>
              </a:extLst>
            </p:cNvPr>
            <p:cNvSpPr txBox="1"/>
            <p:nvPr/>
          </p:nvSpPr>
          <p:spPr>
            <a:xfrm>
              <a:off x="0" y="705801"/>
              <a:ext cx="4086357" cy="543996"/>
            </a:xfrm>
            <a:prstGeom prst="rect">
              <a:avLst/>
            </a:prstGeom>
          </p:spPr>
          <p:txBody>
            <a:bodyPr lIns="0" tIns="0" rIns="0" bIns="0" rtlCol="0" anchor="t">
              <a:spAutoFit/>
            </a:bodyPr>
            <a:lstStyle/>
            <a:p>
              <a:pPr algn="ctr">
                <a:lnSpc>
                  <a:spcPts val="2299"/>
                </a:lnSpc>
              </a:pPr>
              <a:endParaRPr lang="en-US" sz="1500" spc="45">
                <a:solidFill>
                  <a:srgbClr val="191919"/>
                </a:solidFill>
                <a:latin typeface="Aileron"/>
              </a:endParaRPr>
            </a:p>
          </p:txBody>
        </p:sp>
        <p:sp>
          <p:nvSpPr>
            <p:cNvPr id="32" name="TextBox 19">
              <a:extLst>
                <a:ext uri="{FF2B5EF4-FFF2-40B4-BE49-F238E27FC236}">
                  <a16:creationId xmlns:a16="http://schemas.microsoft.com/office/drawing/2014/main" id="{CECEA562-D78B-7FC3-7F3F-C08CB7AF5614}"/>
                </a:ext>
              </a:extLst>
            </p:cNvPr>
            <p:cNvSpPr txBox="1"/>
            <p:nvPr/>
          </p:nvSpPr>
          <p:spPr>
            <a:xfrm>
              <a:off x="-590282" y="-348131"/>
              <a:ext cx="5610357"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Winter 2022/23</a:t>
              </a:r>
            </a:p>
          </p:txBody>
        </p:sp>
      </p:grpSp>
      <p:grpSp>
        <p:nvGrpSpPr>
          <p:cNvPr id="37" name="Group 20">
            <a:extLst>
              <a:ext uri="{FF2B5EF4-FFF2-40B4-BE49-F238E27FC236}">
                <a16:creationId xmlns:a16="http://schemas.microsoft.com/office/drawing/2014/main" id="{DE01A65F-5D1D-9A0E-9734-348694F860D1}"/>
              </a:ext>
            </a:extLst>
          </p:cNvPr>
          <p:cNvGrpSpPr/>
          <p:nvPr/>
        </p:nvGrpSpPr>
        <p:grpSpPr>
          <a:xfrm>
            <a:off x="5867695" y="5054389"/>
            <a:ext cx="2268000" cy="1104649"/>
            <a:chOff x="-62964" y="6069839"/>
            <a:chExt cx="4536000" cy="2209298"/>
          </a:xfrm>
        </p:grpSpPr>
        <p:sp>
          <p:nvSpPr>
            <p:cNvPr id="35" name="TextBox 21">
              <a:extLst>
                <a:ext uri="{FF2B5EF4-FFF2-40B4-BE49-F238E27FC236}">
                  <a16:creationId xmlns:a16="http://schemas.microsoft.com/office/drawing/2014/main" id="{53BCC135-7316-5956-0C96-6C92A1A248BB}"/>
                </a:ext>
              </a:extLst>
            </p:cNvPr>
            <p:cNvSpPr txBox="1"/>
            <p:nvPr/>
          </p:nvSpPr>
          <p:spPr>
            <a:xfrm>
              <a:off x="-62964" y="7123773"/>
              <a:ext cx="4536000" cy="1155364"/>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Data form development and Wave 1 review</a:t>
              </a:r>
            </a:p>
          </p:txBody>
        </p:sp>
        <p:sp>
          <p:nvSpPr>
            <p:cNvPr id="36" name="TextBox 22">
              <a:extLst>
                <a:ext uri="{FF2B5EF4-FFF2-40B4-BE49-F238E27FC236}">
                  <a16:creationId xmlns:a16="http://schemas.microsoft.com/office/drawing/2014/main" id="{2488CD51-A0FD-0F7E-D46C-6D0C2DED559A}"/>
                </a:ext>
              </a:extLst>
            </p:cNvPr>
            <p:cNvSpPr txBox="1"/>
            <p:nvPr/>
          </p:nvSpPr>
          <p:spPr>
            <a:xfrm>
              <a:off x="42930" y="6069839"/>
              <a:ext cx="4349612"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Summer 2023</a:t>
              </a:r>
              <a:endParaRPr lang="en-US" b="1">
                <a:ea typeface="Calibri"/>
                <a:cs typeface="Calibri"/>
              </a:endParaRPr>
            </a:p>
          </p:txBody>
        </p:sp>
      </p:grpSp>
      <p:grpSp>
        <p:nvGrpSpPr>
          <p:cNvPr id="41" name="Group 23">
            <a:extLst>
              <a:ext uri="{FF2B5EF4-FFF2-40B4-BE49-F238E27FC236}">
                <a16:creationId xmlns:a16="http://schemas.microsoft.com/office/drawing/2014/main" id="{61ED38C4-194D-089B-AEF0-A50E211B69E8}"/>
              </a:ext>
            </a:extLst>
          </p:cNvPr>
          <p:cNvGrpSpPr/>
          <p:nvPr/>
        </p:nvGrpSpPr>
        <p:grpSpPr>
          <a:xfrm>
            <a:off x="8842933" y="5049801"/>
            <a:ext cx="2569570" cy="1093511"/>
            <a:chOff x="-643944" y="6155699"/>
            <a:chExt cx="5139139" cy="2187022"/>
          </a:xfrm>
        </p:grpSpPr>
        <p:sp>
          <p:nvSpPr>
            <p:cNvPr id="39" name="TextBox 24">
              <a:extLst>
                <a:ext uri="{FF2B5EF4-FFF2-40B4-BE49-F238E27FC236}">
                  <a16:creationId xmlns:a16="http://schemas.microsoft.com/office/drawing/2014/main" id="{E29ABAB9-1C54-B808-EDD4-5D83CC77687C}"/>
                </a:ext>
              </a:extLst>
            </p:cNvPr>
            <p:cNvSpPr txBox="1"/>
            <p:nvPr/>
          </p:nvSpPr>
          <p:spPr>
            <a:xfrm>
              <a:off x="-300506" y="7187357"/>
              <a:ext cx="4795701" cy="1155364"/>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ESSI Launch at the 2023 Annual Conference</a:t>
              </a:r>
            </a:p>
          </p:txBody>
        </p:sp>
        <p:sp>
          <p:nvSpPr>
            <p:cNvPr id="40" name="TextBox 25">
              <a:extLst>
                <a:ext uri="{FF2B5EF4-FFF2-40B4-BE49-F238E27FC236}">
                  <a16:creationId xmlns:a16="http://schemas.microsoft.com/office/drawing/2014/main" id="{3EDA261B-827E-A431-90A1-0DFB061FA02A}"/>
                </a:ext>
              </a:extLst>
            </p:cNvPr>
            <p:cNvSpPr txBox="1"/>
            <p:nvPr/>
          </p:nvSpPr>
          <p:spPr>
            <a:xfrm>
              <a:off x="-643944" y="6155699"/>
              <a:ext cx="5134489"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Now</a:t>
              </a:r>
              <a:endParaRPr lang="en-US">
                <a:ea typeface="Calibri" panose="020F0502020204030204"/>
                <a:cs typeface="Calibri" panose="020F0502020204030204"/>
              </a:endParaRPr>
            </a:p>
          </p:txBody>
        </p:sp>
      </p:grpSp>
      <p:grpSp>
        <p:nvGrpSpPr>
          <p:cNvPr id="45" name="Group 26">
            <a:extLst>
              <a:ext uri="{FF2B5EF4-FFF2-40B4-BE49-F238E27FC236}">
                <a16:creationId xmlns:a16="http://schemas.microsoft.com/office/drawing/2014/main" id="{48ED7B4F-02F5-CA89-3C02-B80774196C81}"/>
              </a:ext>
            </a:extLst>
          </p:cNvPr>
          <p:cNvGrpSpPr/>
          <p:nvPr/>
        </p:nvGrpSpPr>
        <p:grpSpPr>
          <a:xfrm>
            <a:off x="1783907" y="3581696"/>
            <a:ext cx="884192" cy="883881"/>
            <a:chOff x="0" y="0"/>
            <a:chExt cx="812800" cy="812800"/>
          </a:xfrm>
        </p:grpSpPr>
        <p:sp>
          <p:nvSpPr>
            <p:cNvPr id="43" name="Freeform 27">
              <a:extLst>
                <a:ext uri="{FF2B5EF4-FFF2-40B4-BE49-F238E27FC236}">
                  <a16:creationId xmlns:a16="http://schemas.microsoft.com/office/drawing/2014/main" id="{CF35A0A4-0039-755F-1B80-EE9788671F5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E6D73"/>
              </a:solidFill>
              <a:prstDash val="solid"/>
              <a:miter/>
            </a:ln>
          </p:spPr>
        </p:sp>
        <p:sp>
          <p:nvSpPr>
            <p:cNvPr id="44" name="TextBox 28">
              <a:extLst>
                <a:ext uri="{FF2B5EF4-FFF2-40B4-BE49-F238E27FC236}">
                  <a16:creationId xmlns:a16="http://schemas.microsoft.com/office/drawing/2014/main" id="{A606DE52-7AEA-D875-08E7-CAEF89B2A74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49" name="Group 29">
            <a:extLst>
              <a:ext uri="{FF2B5EF4-FFF2-40B4-BE49-F238E27FC236}">
                <a16:creationId xmlns:a16="http://schemas.microsoft.com/office/drawing/2014/main" id="{12991AF2-37AF-ABF0-A6E7-8BD0013616B5}"/>
              </a:ext>
            </a:extLst>
          </p:cNvPr>
          <p:cNvGrpSpPr/>
          <p:nvPr/>
        </p:nvGrpSpPr>
        <p:grpSpPr>
          <a:xfrm>
            <a:off x="3318636" y="3593718"/>
            <a:ext cx="916391" cy="883259"/>
            <a:chOff x="0" y="0"/>
            <a:chExt cx="812800" cy="812800"/>
          </a:xfrm>
        </p:grpSpPr>
        <p:sp>
          <p:nvSpPr>
            <p:cNvPr id="47" name="Freeform 30">
              <a:extLst>
                <a:ext uri="{FF2B5EF4-FFF2-40B4-BE49-F238E27FC236}">
                  <a16:creationId xmlns:a16="http://schemas.microsoft.com/office/drawing/2014/main" id="{5F9FCCFC-CDE1-158F-92D3-4784174BF07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58366"/>
              </a:solidFill>
              <a:prstDash val="solid"/>
              <a:miter/>
            </a:ln>
          </p:spPr>
        </p:sp>
        <p:sp>
          <p:nvSpPr>
            <p:cNvPr id="48" name="TextBox 31">
              <a:extLst>
                <a:ext uri="{FF2B5EF4-FFF2-40B4-BE49-F238E27FC236}">
                  <a16:creationId xmlns:a16="http://schemas.microsoft.com/office/drawing/2014/main" id="{09B05717-4F37-8035-B30F-9EC46017B27F}"/>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3" name="Group 32">
            <a:extLst>
              <a:ext uri="{FF2B5EF4-FFF2-40B4-BE49-F238E27FC236}">
                <a16:creationId xmlns:a16="http://schemas.microsoft.com/office/drawing/2014/main" id="{5A56A83E-4867-2006-09C5-749B01529CF0}"/>
              </a:ext>
            </a:extLst>
          </p:cNvPr>
          <p:cNvGrpSpPr/>
          <p:nvPr/>
        </p:nvGrpSpPr>
        <p:grpSpPr>
          <a:xfrm>
            <a:off x="4875641" y="3623071"/>
            <a:ext cx="883569" cy="828664"/>
            <a:chOff x="0" y="0"/>
            <a:chExt cx="812800" cy="812800"/>
          </a:xfrm>
        </p:grpSpPr>
        <p:sp>
          <p:nvSpPr>
            <p:cNvPr id="51" name="Freeform 33">
              <a:extLst>
                <a:ext uri="{FF2B5EF4-FFF2-40B4-BE49-F238E27FC236}">
                  <a16:creationId xmlns:a16="http://schemas.microsoft.com/office/drawing/2014/main" id="{3C44E55E-2C90-2C0F-3437-5E2D4076A0F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9C041"/>
              </a:solidFill>
              <a:prstDash val="solid"/>
              <a:miter/>
            </a:ln>
          </p:spPr>
        </p:sp>
        <p:sp>
          <p:nvSpPr>
            <p:cNvPr id="52" name="TextBox 34">
              <a:extLst>
                <a:ext uri="{FF2B5EF4-FFF2-40B4-BE49-F238E27FC236}">
                  <a16:creationId xmlns:a16="http://schemas.microsoft.com/office/drawing/2014/main" id="{D79088AC-E56F-CE05-7DC1-6C9FD8F87610}"/>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7" name="Group 35">
            <a:extLst>
              <a:ext uri="{FF2B5EF4-FFF2-40B4-BE49-F238E27FC236}">
                <a16:creationId xmlns:a16="http://schemas.microsoft.com/office/drawing/2014/main" id="{4611F907-2B0F-5619-629C-5F523BCC6BED}"/>
              </a:ext>
            </a:extLst>
          </p:cNvPr>
          <p:cNvGrpSpPr/>
          <p:nvPr/>
        </p:nvGrpSpPr>
        <p:grpSpPr>
          <a:xfrm>
            <a:off x="6406553" y="3561522"/>
            <a:ext cx="937232" cy="882016"/>
            <a:chOff x="0" y="0"/>
            <a:chExt cx="812800" cy="812800"/>
          </a:xfrm>
        </p:grpSpPr>
        <p:sp>
          <p:nvSpPr>
            <p:cNvPr id="55" name="Freeform 36">
              <a:extLst>
                <a:ext uri="{FF2B5EF4-FFF2-40B4-BE49-F238E27FC236}">
                  <a16:creationId xmlns:a16="http://schemas.microsoft.com/office/drawing/2014/main" id="{DC840300-7E81-AA58-0D00-05597D83485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48CFAE"/>
              </a:solidFill>
              <a:prstDash val="solid"/>
              <a:miter/>
            </a:ln>
          </p:spPr>
        </p:sp>
        <p:sp>
          <p:nvSpPr>
            <p:cNvPr id="56" name="TextBox 37">
              <a:extLst>
                <a:ext uri="{FF2B5EF4-FFF2-40B4-BE49-F238E27FC236}">
                  <a16:creationId xmlns:a16="http://schemas.microsoft.com/office/drawing/2014/main" id="{0A774E7B-8AA7-34A8-16EF-CD5FBD15F4AE}"/>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1" name="Group 38">
            <a:extLst>
              <a:ext uri="{FF2B5EF4-FFF2-40B4-BE49-F238E27FC236}">
                <a16:creationId xmlns:a16="http://schemas.microsoft.com/office/drawing/2014/main" id="{DC18AB80-E27F-8A26-56BA-D3B27C47BD0B}"/>
              </a:ext>
            </a:extLst>
          </p:cNvPr>
          <p:cNvGrpSpPr/>
          <p:nvPr/>
        </p:nvGrpSpPr>
        <p:grpSpPr>
          <a:xfrm>
            <a:off x="7958720" y="3602654"/>
            <a:ext cx="883570" cy="872527"/>
            <a:chOff x="0" y="0"/>
            <a:chExt cx="812800" cy="812800"/>
          </a:xfrm>
        </p:grpSpPr>
        <p:sp>
          <p:nvSpPr>
            <p:cNvPr id="59" name="Freeform 39">
              <a:extLst>
                <a:ext uri="{FF2B5EF4-FFF2-40B4-BE49-F238E27FC236}">
                  <a16:creationId xmlns:a16="http://schemas.microsoft.com/office/drawing/2014/main" id="{C8B65095-F5C1-98FE-0047-07147B5C5AC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2C92D5"/>
              </a:solidFill>
              <a:prstDash val="solid"/>
              <a:miter/>
            </a:ln>
          </p:spPr>
        </p:sp>
        <p:sp>
          <p:nvSpPr>
            <p:cNvPr id="60" name="TextBox 40">
              <a:extLst>
                <a:ext uri="{FF2B5EF4-FFF2-40B4-BE49-F238E27FC236}">
                  <a16:creationId xmlns:a16="http://schemas.microsoft.com/office/drawing/2014/main" id="{C8564D58-A5C3-1A1D-C763-3908E4C1F8F5}"/>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5" name="Group 41">
            <a:extLst>
              <a:ext uri="{FF2B5EF4-FFF2-40B4-BE49-F238E27FC236}">
                <a16:creationId xmlns:a16="http://schemas.microsoft.com/office/drawing/2014/main" id="{48F2CD97-68B4-2B15-281D-9619EA7125C4}"/>
              </a:ext>
            </a:extLst>
          </p:cNvPr>
          <p:cNvGrpSpPr/>
          <p:nvPr/>
        </p:nvGrpSpPr>
        <p:grpSpPr>
          <a:xfrm>
            <a:off x="9494586" y="3550167"/>
            <a:ext cx="948898" cy="894613"/>
            <a:chOff x="0" y="0"/>
            <a:chExt cx="812800" cy="812800"/>
          </a:xfrm>
        </p:grpSpPr>
        <p:sp>
          <p:nvSpPr>
            <p:cNvPr id="63" name="Freeform 42">
              <a:extLst>
                <a:ext uri="{FF2B5EF4-FFF2-40B4-BE49-F238E27FC236}">
                  <a16:creationId xmlns:a16="http://schemas.microsoft.com/office/drawing/2014/main" id="{978EF1B7-7B22-45D7-9909-0DBC0538D22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1C498B"/>
              </a:solidFill>
              <a:prstDash val="solid"/>
              <a:miter/>
            </a:ln>
          </p:spPr>
        </p:sp>
        <p:sp>
          <p:nvSpPr>
            <p:cNvPr id="64" name="TextBox 43">
              <a:extLst>
                <a:ext uri="{FF2B5EF4-FFF2-40B4-BE49-F238E27FC236}">
                  <a16:creationId xmlns:a16="http://schemas.microsoft.com/office/drawing/2014/main" id="{29A23C5B-47FF-08C2-2E52-B4514997C33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sp>
        <p:nvSpPr>
          <p:cNvPr id="3" name="TextBox 2">
            <a:extLst>
              <a:ext uri="{FF2B5EF4-FFF2-40B4-BE49-F238E27FC236}">
                <a16:creationId xmlns:a16="http://schemas.microsoft.com/office/drawing/2014/main" id="{B5F4F3C7-3634-23BA-9CDD-53123F8398D7}"/>
              </a:ext>
            </a:extLst>
          </p:cNvPr>
          <p:cNvSpPr txBox="1"/>
          <p:nvPr/>
        </p:nvSpPr>
        <p:spPr>
          <a:xfrm>
            <a:off x="2535747" y="5601484"/>
            <a:ext cx="239701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500">
                <a:solidFill>
                  <a:srgbClr val="191919"/>
                </a:solidFill>
                <a:latin typeface="Aileron"/>
              </a:rPr>
              <a:t>ESSI Planning Group and Neonatal CAB formed</a:t>
            </a:r>
            <a:endParaRPr lang="en-US"/>
          </a:p>
        </p:txBody>
      </p:sp>
      <p:sp>
        <p:nvSpPr>
          <p:cNvPr id="6" name="Rectangle 5">
            <a:extLst>
              <a:ext uri="{FF2B5EF4-FFF2-40B4-BE49-F238E27FC236}">
                <a16:creationId xmlns:a16="http://schemas.microsoft.com/office/drawing/2014/main" id="{D07E332C-4452-C8D5-59CC-C21023DE9083}"/>
              </a:ext>
            </a:extLst>
          </p:cNvPr>
          <p:cNvSpPr/>
          <p:nvPr/>
        </p:nvSpPr>
        <p:spPr>
          <a:xfrm>
            <a:off x="1186638" y="1724473"/>
            <a:ext cx="1674253" cy="440028"/>
          </a:xfrm>
          <a:prstGeom prst="rect">
            <a:avLst/>
          </a:prstGeom>
          <a:noFill/>
          <a:ln w="57150">
            <a:solidFill>
              <a:srgbClr val="FE6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C3BBD3E-9448-3652-96A9-ECDE432034D9}"/>
              </a:ext>
            </a:extLst>
          </p:cNvPr>
          <p:cNvSpPr/>
          <p:nvPr/>
        </p:nvSpPr>
        <p:spPr>
          <a:xfrm>
            <a:off x="2479183" y="4990563"/>
            <a:ext cx="2511379" cy="450760"/>
          </a:xfrm>
          <a:prstGeom prst="rect">
            <a:avLst/>
          </a:prstGeom>
          <a:noFill/>
          <a:ln w="57150">
            <a:solidFill>
              <a:srgbClr val="F583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B70F3C-3B7D-DA91-5116-9255F65919E1}"/>
              </a:ext>
            </a:extLst>
          </p:cNvPr>
          <p:cNvSpPr/>
          <p:nvPr/>
        </p:nvSpPr>
        <p:spPr>
          <a:xfrm>
            <a:off x="4346619" y="1717182"/>
            <a:ext cx="2049886" cy="461492"/>
          </a:xfrm>
          <a:prstGeom prst="rect">
            <a:avLst/>
          </a:prstGeom>
          <a:noFill/>
          <a:ln w="57150">
            <a:solidFill>
              <a:srgbClr val="F9C0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D89659A-AD9F-79C0-804E-B7B1FF4486E7}"/>
              </a:ext>
            </a:extLst>
          </p:cNvPr>
          <p:cNvSpPr/>
          <p:nvPr/>
        </p:nvSpPr>
        <p:spPr>
          <a:xfrm>
            <a:off x="5870619" y="4990563"/>
            <a:ext cx="2264534" cy="450760"/>
          </a:xfrm>
          <a:prstGeom prst="rect">
            <a:avLst/>
          </a:prstGeom>
          <a:noFill/>
          <a:ln w="57150">
            <a:solidFill>
              <a:srgbClr val="48CFA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B160BE6-4E67-753A-4940-BD15897B2B40}"/>
              </a:ext>
            </a:extLst>
          </p:cNvPr>
          <p:cNvSpPr/>
          <p:nvPr/>
        </p:nvSpPr>
        <p:spPr>
          <a:xfrm>
            <a:off x="7544873" y="1717183"/>
            <a:ext cx="1760112" cy="440028"/>
          </a:xfrm>
          <a:prstGeom prst="rect">
            <a:avLst/>
          </a:prstGeom>
          <a:noFill/>
          <a:ln w="57150">
            <a:solidFill>
              <a:srgbClr val="2C92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6757764-F111-5B0B-44D6-73C8E8CE8603}"/>
              </a:ext>
            </a:extLst>
          </p:cNvPr>
          <p:cNvSpPr/>
          <p:nvPr/>
        </p:nvSpPr>
        <p:spPr>
          <a:xfrm>
            <a:off x="9530365" y="5022760"/>
            <a:ext cx="1191296" cy="386366"/>
          </a:xfrm>
          <a:prstGeom prst="rect">
            <a:avLst/>
          </a:prstGeom>
          <a:noFill/>
          <a:ln w="57150">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46828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AE700-1499-46B3-C70A-C723802CD680}"/>
              </a:ext>
            </a:extLst>
          </p:cNvPr>
          <p:cNvSpPr>
            <a:spLocks noGrp="1"/>
          </p:cNvSpPr>
          <p:nvPr>
            <p:ph type="title"/>
          </p:nvPr>
        </p:nvSpPr>
        <p:spPr>
          <a:xfrm>
            <a:off x="754984" y="334644"/>
            <a:ext cx="10595768" cy="1076914"/>
          </a:xfrm>
        </p:spPr>
        <p:txBody>
          <a:bodyPr anchor="ctr">
            <a:normAutofit/>
          </a:bodyPr>
          <a:lstStyle/>
          <a:p>
            <a:r>
              <a:rPr lang="en-US" sz="4800">
                <a:ea typeface="Lato Medium"/>
                <a:cs typeface="Lato Medium"/>
              </a:rPr>
              <a:t>A Collaborative Effort to Build ESSI</a:t>
            </a:r>
            <a:endParaRPr lang="en-US" sz="4800"/>
          </a:p>
        </p:txBody>
      </p:sp>
      <p:sp>
        <p:nvSpPr>
          <p:cNvPr id="20" name="Rectangle 19">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2">
            <a:extLst>
              <a:ext uri="{FF2B5EF4-FFF2-40B4-BE49-F238E27FC236}">
                <a16:creationId xmlns:a16="http://schemas.microsoft.com/office/drawing/2014/main" id="{98AEAD99-3E06-8D3F-3F0C-CDC9176523B6}"/>
              </a:ext>
            </a:extLst>
          </p:cNvPr>
          <p:cNvSpPr/>
          <p:nvPr/>
        </p:nvSpPr>
        <p:spPr>
          <a:xfrm>
            <a:off x="351408" y="1704305"/>
            <a:ext cx="5244016" cy="5056124"/>
          </a:xfrm>
          <a:custGeom>
            <a:avLst/>
            <a:gdLst/>
            <a:ahLst/>
            <a:cxnLst/>
            <a:rect l="l" t="t" r="r" b="b"/>
            <a:pathLst>
              <a:path w="8679397" h="8636000">
                <a:moveTo>
                  <a:pt x="0" y="0"/>
                </a:moveTo>
                <a:lnTo>
                  <a:pt x="8679397" y="0"/>
                </a:lnTo>
                <a:lnTo>
                  <a:pt x="8679397" y="8636000"/>
                </a:lnTo>
                <a:lnTo>
                  <a:pt x="0" y="8636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TextBox 3">
            <a:extLst>
              <a:ext uri="{FF2B5EF4-FFF2-40B4-BE49-F238E27FC236}">
                <a16:creationId xmlns:a16="http://schemas.microsoft.com/office/drawing/2014/main" id="{6DCB2364-A5B2-FB37-162C-58D7616BFAA3}"/>
              </a:ext>
            </a:extLst>
          </p:cNvPr>
          <p:cNvSpPr txBox="1"/>
          <p:nvPr/>
        </p:nvSpPr>
        <p:spPr>
          <a:xfrm>
            <a:off x="2052890" y="5715799"/>
            <a:ext cx="1435992"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Advisory</a:t>
            </a:r>
            <a:r>
              <a:rPr lang="en-US" sz="1550" spc="60">
                <a:solidFill>
                  <a:srgbClr val="FFFFFF"/>
                </a:solidFill>
                <a:latin typeface="Aileron Bold"/>
              </a:rPr>
              <a:t> </a:t>
            </a:r>
            <a:endParaRPr lang="en-US" sz="1999" spc="77">
              <a:solidFill>
                <a:srgbClr val="FFFFFF"/>
              </a:solidFill>
              <a:latin typeface="Aileron Bold"/>
            </a:endParaRPr>
          </a:p>
        </p:txBody>
      </p:sp>
      <p:sp>
        <p:nvSpPr>
          <p:cNvPr id="11" name="TextBox 4">
            <a:extLst>
              <a:ext uri="{FF2B5EF4-FFF2-40B4-BE49-F238E27FC236}">
                <a16:creationId xmlns:a16="http://schemas.microsoft.com/office/drawing/2014/main" id="{33B71E7D-B0CF-32BF-4481-78C694C53404}"/>
              </a:ext>
            </a:extLst>
          </p:cNvPr>
          <p:cNvSpPr txBox="1"/>
          <p:nvPr/>
        </p:nvSpPr>
        <p:spPr>
          <a:xfrm>
            <a:off x="3486349" y="2535267"/>
            <a:ext cx="1560397"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Community Advisory Board</a:t>
            </a:r>
            <a:endParaRPr lang="en-US" b="1" spc="77">
              <a:solidFill>
                <a:srgbClr val="FFFFFF"/>
              </a:solidFill>
              <a:latin typeface="Aileron Bold"/>
            </a:endParaRPr>
          </a:p>
        </p:txBody>
      </p:sp>
      <p:sp>
        <p:nvSpPr>
          <p:cNvPr id="13" name="TextBox 5">
            <a:extLst>
              <a:ext uri="{FF2B5EF4-FFF2-40B4-BE49-F238E27FC236}">
                <a16:creationId xmlns:a16="http://schemas.microsoft.com/office/drawing/2014/main" id="{50A7250D-02AB-B054-06E1-32E9F8FC55C0}"/>
              </a:ext>
            </a:extLst>
          </p:cNvPr>
          <p:cNvSpPr txBox="1"/>
          <p:nvPr/>
        </p:nvSpPr>
        <p:spPr>
          <a:xfrm>
            <a:off x="3941129" y="4719273"/>
            <a:ext cx="1153831"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ESSI </a:t>
            </a:r>
            <a:r>
              <a:rPr lang="en-US" b="1" spc="60">
                <a:solidFill>
                  <a:srgbClr val="FFFFFF"/>
                </a:solidFill>
                <a:latin typeface="Aileron Bold"/>
              </a:rPr>
              <a:t>Planning</a:t>
            </a:r>
            <a:r>
              <a:rPr lang="en-US" b="1" kern="1200" spc="60">
                <a:solidFill>
                  <a:srgbClr val="FFFFFF"/>
                </a:solidFill>
                <a:latin typeface="Aileron Bold"/>
                <a:ea typeface="+mn-ea"/>
                <a:cs typeface="+mn-cs"/>
              </a:rPr>
              <a:t> Group</a:t>
            </a:r>
            <a:endParaRPr lang="en-US" b="1" spc="77">
              <a:solidFill>
                <a:srgbClr val="FFFFFF"/>
              </a:solidFill>
              <a:latin typeface="Aileron Bold"/>
            </a:endParaRPr>
          </a:p>
        </p:txBody>
      </p:sp>
      <p:sp>
        <p:nvSpPr>
          <p:cNvPr id="15" name="TextBox 6">
            <a:extLst>
              <a:ext uri="{FF2B5EF4-FFF2-40B4-BE49-F238E27FC236}">
                <a16:creationId xmlns:a16="http://schemas.microsoft.com/office/drawing/2014/main" id="{63237A5A-8FBE-2248-7DAF-97A8D25F57D1}"/>
              </a:ext>
            </a:extLst>
          </p:cNvPr>
          <p:cNvSpPr txBox="1"/>
          <p:nvPr/>
        </p:nvSpPr>
        <p:spPr>
          <a:xfrm>
            <a:off x="706096" y="4226521"/>
            <a:ext cx="9307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Wave 1 Teams</a:t>
            </a:r>
            <a:endParaRPr lang="en-US" b="1" spc="77">
              <a:solidFill>
                <a:srgbClr val="FFFFFF"/>
              </a:solidFill>
              <a:latin typeface="Aileron Bold"/>
            </a:endParaRPr>
          </a:p>
        </p:txBody>
      </p:sp>
      <p:sp>
        <p:nvSpPr>
          <p:cNvPr id="17" name="TextBox 7">
            <a:extLst>
              <a:ext uri="{FF2B5EF4-FFF2-40B4-BE49-F238E27FC236}">
                <a16:creationId xmlns:a16="http://schemas.microsoft.com/office/drawing/2014/main" id="{9694707D-377A-FF99-AFDB-26A575A618C3}"/>
              </a:ext>
            </a:extLst>
          </p:cNvPr>
          <p:cNvSpPr txBox="1"/>
          <p:nvPr/>
        </p:nvSpPr>
        <p:spPr>
          <a:xfrm>
            <a:off x="1741292" y="2487959"/>
            <a:ext cx="9180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ILPQC Central</a:t>
            </a:r>
            <a:endParaRPr lang="en-US" b="1" spc="77">
              <a:solidFill>
                <a:srgbClr val="FFFFFF"/>
              </a:solidFill>
              <a:latin typeface="Aileron Bold"/>
            </a:endParaRPr>
          </a:p>
        </p:txBody>
      </p:sp>
      <p:sp>
        <p:nvSpPr>
          <p:cNvPr id="6" name="Freeform 13">
            <a:extLst>
              <a:ext uri="{FF2B5EF4-FFF2-40B4-BE49-F238E27FC236}">
                <a16:creationId xmlns:a16="http://schemas.microsoft.com/office/drawing/2014/main" id="{055E55DF-27B4-B9A8-84BB-DC4C1522901C}"/>
              </a:ext>
            </a:extLst>
          </p:cNvPr>
          <p:cNvSpPr/>
          <p:nvPr/>
        </p:nvSpPr>
        <p:spPr>
          <a:xfrm>
            <a:off x="2152402" y="3854494"/>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stretch>
              <a:fillRect t="-16582"/>
            </a:stretch>
          </a:blipFill>
        </p:spPr>
      </p:sp>
      <p:sp>
        <p:nvSpPr>
          <p:cNvPr id="4" name="TextBox 3">
            <a:extLst>
              <a:ext uri="{FF2B5EF4-FFF2-40B4-BE49-F238E27FC236}">
                <a16:creationId xmlns:a16="http://schemas.microsoft.com/office/drawing/2014/main" id="{3D49CA6C-78ED-3124-7EE3-BBDDC9988910}"/>
              </a:ext>
            </a:extLst>
          </p:cNvPr>
          <p:cNvSpPr txBox="1"/>
          <p:nvPr/>
        </p:nvSpPr>
        <p:spPr>
          <a:xfrm>
            <a:off x="5956126" y="4933166"/>
            <a:ext cx="590602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Neonatologists, pediatricians, family practice physicians, nurses, doulas, public health and QI professionals representing diverse perspectives from around the state who collaborate on the development and planning of the ESSI initiative</a:t>
            </a:r>
          </a:p>
        </p:txBody>
      </p:sp>
      <p:sp>
        <p:nvSpPr>
          <p:cNvPr id="5" name="Rectangle 4">
            <a:extLst>
              <a:ext uri="{FF2B5EF4-FFF2-40B4-BE49-F238E27FC236}">
                <a16:creationId xmlns:a16="http://schemas.microsoft.com/office/drawing/2014/main" id="{19C1D751-08DD-BD76-1181-C434C9849C27}"/>
              </a:ext>
            </a:extLst>
          </p:cNvPr>
          <p:cNvSpPr/>
          <p:nvPr/>
        </p:nvSpPr>
        <p:spPr>
          <a:xfrm>
            <a:off x="6607480" y="2171178"/>
            <a:ext cx="4290163" cy="532356"/>
          </a:xfrm>
          <a:prstGeom prst="rect">
            <a:avLst/>
          </a:prstGeom>
          <a:solidFill>
            <a:srgbClr val="F9C04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cs typeface="Calibri"/>
              </a:rPr>
              <a:t>Neonatal Community Advisory Board</a:t>
            </a:r>
          </a:p>
        </p:txBody>
      </p:sp>
      <p:sp>
        <p:nvSpPr>
          <p:cNvPr id="8" name="Rectangle 7">
            <a:extLst>
              <a:ext uri="{FF2B5EF4-FFF2-40B4-BE49-F238E27FC236}">
                <a16:creationId xmlns:a16="http://schemas.microsoft.com/office/drawing/2014/main" id="{6E760B7B-BD6C-24E2-33A9-EF4A040B086A}"/>
              </a:ext>
            </a:extLst>
          </p:cNvPr>
          <p:cNvSpPr/>
          <p:nvPr/>
        </p:nvSpPr>
        <p:spPr>
          <a:xfrm>
            <a:off x="6617918" y="4227535"/>
            <a:ext cx="4279724" cy="553232"/>
          </a:xfrm>
          <a:prstGeom prst="rect">
            <a:avLst/>
          </a:prstGeom>
          <a:solidFill>
            <a:srgbClr val="4AB1B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cs typeface="Calibri"/>
              </a:rPr>
              <a:t>ESSI Planning Group</a:t>
            </a:r>
            <a:endParaRPr lang="en-US" sz="2000" b="1"/>
          </a:p>
        </p:txBody>
      </p:sp>
      <p:sp>
        <p:nvSpPr>
          <p:cNvPr id="12" name="TextBox 11">
            <a:extLst>
              <a:ext uri="{FF2B5EF4-FFF2-40B4-BE49-F238E27FC236}">
                <a16:creationId xmlns:a16="http://schemas.microsoft.com/office/drawing/2014/main" id="{FFCC26E6-1C5C-8419-8626-BD0157947192}"/>
              </a:ext>
            </a:extLst>
          </p:cNvPr>
          <p:cNvSpPr txBox="1"/>
          <p:nvPr/>
        </p:nvSpPr>
        <p:spPr>
          <a:xfrm>
            <a:off x="6032739" y="2840966"/>
            <a:ext cx="5748067"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Community partners representing diverse perspectives from around the state who meet regularly with ILPQC to collaborate on current and future QI initiatives </a:t>
            </a:r>
          </a:p>
        </p:txBody>
      </p:sp>
    </p:spTree>
    <p:extLst>
      <p:ext uri="{BB962C8B-B14F-4D97-AF65-F5344CB8AC3E}">
        <p14:creationId xmlns:p14="http://schemas.microsoft.com/office/powerpoint/2010/main" val="1522616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51</Slides>
  <Notes>25</Notes>
  <HiddenSlides>0</HiddenSlides>
  <ScaleCrop>false</ScaleCrop>
  <HeadingPairs>
    <vt:vector size="4" baseType="variant">
      <vt:variant>
        <vt:lpstr>Theme</vt:lpstr>
      </vt:variant>
      <vt:variant>
        <vt:i4>3</vt:i4>
      </vt:variant>
      <vt:variant>
        <vt:lpstr>Slide Titles</vt:lpstr>
      </vt:variant>
      <vt:variant>
        <vt:i4>51</vt:i4>
      </vt:variant>
    </vt:vector>
  </HeadingPairs>
  <TitlesOfParts>
    <vt:vector size="54" baseType="lpstr">
      <vt:lpstr>1_Office Theme</vt:lpstr>
      <vt:lpstr>Office Theme</vt:lpstr>
      <vt:lpstr>3_Office Theme</vt:lpstr>
      <vt:lpstr>Neonatal Breakout Session:  Getting Ready for 2024 </vt:lpstr>
      <vt:lpstr>Neonatal Breakout Overview</vt:lpstr>
      <vt:lpstr>Let’s Play a Game?</vt:lpstr>
      <vt:lpstr>ILPQC BINGO Rules</vt:lpstr>
      <vt:lpstr>ESSI - Equity and Safe Sleep for Infants  </vt:lpstr>
      <vt:lpstr>ESSI Initiative Vision</vt:lpstr>
      <vt:lpstr>ESSI Initiative Aims</vt:lpstr>
      <vt:lpstr>ESSI Initiative Timeline</vt:lpstr>
      <vt:lpstr>A Collaborative Effort to Build ESSI</vt:lpstr>
      <vt:lpstr>ESSI Planning Group and Community Advisory Board THANK YOU!</vt:lpstr>
      <vt:lpstr>Building ESSI Together</vt:lpstr>
      <vt:lpstr> Thank you for your feedback!</vt:lpstr>
      <vt:lpstr>ESSI Key Driver Diagram and Toolkit</vt:lpstr>
      <vt:lpstr>PowerPoint Presentation</vt:lpstr>
      <vt:lpstr>Key Driver Diagram</vt:lpstr>
      <vt:lpstr>PowerPoint Presentation</vt:lpstr>
      <vt:lpstr>The ILPQC ESSI Toolkit</vt:lpstr>
      <vt:lpstr>PowerPoint Presentation</vt:lpstr>
      <vt:lpstr>PowerPoint Presentation</vt:lpstr>
      <vt:lpstr>Key Driver Diagram</vt:lpstr>
      <vt:lpstr>PowerPoint Presentation</vt:lpstr>
      <vt:lpstr>PowerPoint Presentation</vt:lpstr>
      <vt:lpstr>PowerPoint Presentation</vt:lpstr>
      <vt:lpstr>Key Driver Diagram</vt:lpstr>
      <vt:lpstr>PowerPoint Presentation</vt:lpstr>
      <vt:lpstr>PowerPoint Presentation</vt:lpstr>
      <vt:lpstr>Key Driver Diagram</vt:lpstr>
      <vt:lpstr>PowerPoint Presentation</vt:lpstr>
      <vt:lpstr>PowerPoint Presentation</vt:lpstr>
      <vt:lpstr>PowerPoint Presentation</vt:lpstr>
      <vt:lpstr>PowerPoint Presentation</vt:lpstr>
      <vt:lpstr>PowerPoint Presentation</vt:lpstr>
      <vt:lpstr>Key Driver Diagram</vt:lpstr>
      <vt:lpstr>PowerPoint Presentation</vt:lpstr>
      <vt:lpstr>PowerPoint Presentation</vt:lpstr>
      <vt:lpstr>Key Driver Diagram</vt:lpstr>
      <vt:lpstr>PowerPoint Presentation</vt:lpstr>
      <vt:lpstr>PowerPoint Presentation</vt:lpstr>
      <vt:lpstr>ESSI 10 Steps to Getting Started</vt:lpstr>
      <vt:lpstr>PowerPoint Presentation</vt:lpstr>
      <vt:lpstr>PowerPoint Presentation</vt:lpstr>
      <vt:lpstr> 10 Stops on the Road to ESSI</vt:lpstr>
      <vt:lpstr>10 Stops on the Road to ESSI </vt:lpstr>
      <vt:lpstr>Put the Pedal to the Metal!</vt:lpstr>
      <vt:lpstr>Are we there yet?</vt:lpstr>
      <vt:lpstr>PowerPoint Presentation</vt:lpstr>
      <vt:lpstr>PowerPoint Presentation</vt:lpstr>
      <vt:lpstr>ESSI Webinars</vt:lpstr>
      <vt:lpstr>PowerPoint Presentation</vt:lpstr>
      <vt:lpstr>Return to the main ballroom for the wrap-up session!</vt:lpstr>
      <vt:lpstr>Look Under Your Sea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Todd Hilgert</dc:creator>
  <cp:revision>6</cp:revision>
  <dcterms:created xsi:type="dcterms:W3CDTF">2021-05-17T13:14:11Z</dcterms:created>
  <dcterms:modified xsi:type="dcterms:W3CDTF">2023-11-10T15:46:05Z</dcterms:modified>
</cp:coreProperties>
</file>